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media/image25.svg" ContentType="image/svg+xml"/>
  <Override PartName="/ppt/media/image27.svg" ContentType="image/svg+xml"/>
  <Override PartName="/ppt/media/image29.svg" ContentType="image/svg+xml"/>
  <Override PartName="/ppt/media/image5.svg" ContentType="image/svg+xml"/>
  <Override PartName="/ppt/media/image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7" r:id="rId3"/>
    <p:sldMasterId id="2147483661" r:id="rId4"/>
    <p:sldMasterId id="2147483672" r:id="rId5"/>
    <p:sldMasterId id="2147483687" r:id="rId6"/>
    <p:sldMasterId id="2147483693" r:id="rId7"/>
  </p:sldMasterIdLst>
  <p:notesMasterIdLst>
    <p:notesMasterId r:id="rId9"/>
  </p:notesMasterIdLst>
  <p:handoutMasterIdLst>
    <p:handoutMasterId r:id="rId55"/>
  </p:handoutMasterIdLst>
  <p:sldIdLst>
    <p:sldId id="16766343" r:id="rId8"/>
    <p:sldId id="16775831" r:id="rId10"/>
    <p:sldId id="16766387" r:id="rId11"/>
    <p:sldId id="16766348" r:id="rId12"/>
    <p:sldId id="16766355" r:id="rId13"/>
    <p:sldId id="16766356" r:id="rId14"/>
    <p:sldId id="16766381" r:id="rId15"/>
    <p:sldId id="16775832" r:id="rId16"/>
    <p:sldId id="16775834" r:id="rId17"/>
    <p:sldId id="16775835" r:id="rId18"/>
    <p:sldId id="16775836" r:id="rId19"/>
    <p:sldId id="16775837" r:id="rId20"/>
    <p:sldId id="16775873" r:id="rId21"/>
    <p:sldId id="16775872" r:id="rId22"/>
    <p:sldId id="16775846" r:id="rId23"/>
    <p:sldId id="16775840" r:id="rId24"/>
    <p:sldId id="16775842" r:id="rId25"/>
    <p:sldId id="16766377" r:id="rId26"/>
    <p:sldId id="16766359" r:id="rId27"/>
    <p:sldId id="16766360" r:id="rId28"/>
    <p:sldId id="16766361" r:id="rId29"/>
    <p:sldId id="16766362" r:id="rId30"/>
    <p:sldId id="16766363" r:id="rId31"/>
    <p:sldId id="16775823" r:id="rId32"/>
    <p:sldId id="16775847" r:id="rId33"/>
    <p:sldId id="16775849" r:id="rId34"/>
    <p:sldId id="16775850" r:id="rId35"/>
    <p:sldId id="16775851" r:id="rId36"/>
    <p:sldId id="16775852" r:id="rId37"/>
    <p:sldId id="16775853" r:id="rId38"/>
    <p:sldId id="16775854" r:id="rId39"/>
    <p:sldId id="16775855" r:id="rId40"/>
    <p:sldId id="16775856" r:id="rId41"/>
    <p:sldId id="16775857" r:id="rId42"/>
    <p:sldId id="16775858" r:id="rId43"/>
    <p:sldId id="16775859" r:id="rId44"/>
    <p:sldId id="16775860" r:id="rId45"/>
    <p:sldId id="16775861" r:id="rId46"/>
    <p:sldId id="16775862" r:id="rId47"/>
    <p:sldId id="16775864" r:id="rId48"/>
    <p:sldId id="16775865" r:id="rId49"/>
    <p:sldId id="16775866" r:id="rId50"/>
    <p:sldId id="16775867" r:id="rId51"/>
    <p:sldId id="16775868" r:id="rId52"/>
    <p:sldId id="16775869" r:id="rId53"/>
    <p:sldId id="16775870" r:id="rId54"/>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10" userDrawn="1">
          <p15:clr>
            <a:srgbClr val="A4A3A4"/>
          </p15:clr>
        </p15:guide>
        <p15:guide id="2" pos="302" userDrawn="1">
          <p15:clr>
            <a:srgbClr val="A4A3A4"/>
          </p15:clr>
        </p15:guide>
        <p15:guide id="3" pos="7287" userDrawn="1">
          <p15:clr>
            <a:srgbClr val="A4A3A4"/>
          </p15:clr>
        </p15:guide>
        <p15:guide id="5" orient="horz" pos="40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74E443-3BB3-787E-B574-072AB4333137}" name="siri zhu" initials="siri zhu " userId="siri zhu" providerId="None"/>
  <p188:author id="{1F8CB94E-4D3E-70EC-AD7A-3D70CA1FE373}" name="Ge,  aoqi" initials="Ga" userId="S::gea03@pfizer.com::137c556b-5dab-4106-b46c-72e7fbdd080d" providerId="AD"/>
  <p188:author id="{7BC3F282-5B4D-D97A-0338-4A85119400B4}" name="admin" initials="admin" userId="admin" providerId="None"/>
  <p188:author id="{9F95EDB8-A57C-768D-5587-27E98D171609}" name="Miao, Zuyuan" initials="ZM" userId="S::MIAOZ11@pfizer.com::0590ab38-e192-4666-88c6-83008ac78607" providerId="AD"/>
  <p188:author id="{94DCC1CE-76D6-6BF2-C80B-C33B8D75FC3A}" name="Miao, Zuyuan" initials="MZ" userId="S::miaoz11@pfizer.com::0590ab38-e192-4666-88c6-83008ac78607" providerId="AD"/>
  <p188:author id="{0A53C00A-4CC7-A1F9-95AD-FC2277E4B983}" name="Julia Titova (HCG)" initials="JT(" userId="S::julia.titova@hcg-int.com::89e71d8a-0f07-4d57-bb27-bf9eced3ee62" providerId="AD"/>
  <p188:author id="{8D473C12-900D-5FF0-4093-CB3FEE3B67E8}" name="Michelle Porcuna (HCG)" initials="MP" userId="S::michelle.porcuna@hcg-int.com::a3fc02a8-09f3-4cf4-ba65-cee3ac44198f" providerId="AD"/>
  <p188:author id="{C7B54419-D498-61F9-0335-0CD8055B6FEC}" name="Stacy Zarraga (HCG)" initials="" userId="S::stacy.zarraga@hcg-int.com::25a87d97-0b1b-4faf-bf80-15a2f840af35" providerId="AD"/>
  <p188:author id="{D77DAA1E-4114-0138-306B-F35E7F81F1D7}" name="Kamat, Shweta" initials="KS" userId="S::kamats09@pfizer.com::2ae6083b-c313-483b-b42d-30e7095b3c2e" providerId="AD"/>
  <p188:author id="{FB0D3622-6378-08CA-F4A3-85C7236A4CA7}" name="Camille Bautista (HCG)" initials="CB" userId="S::CBautista@hcg-int.com::6c09f99b-f30e-4cc7-8eac-08224f1faffb" providerId="AD"/>
  <p188:author id="{84B96542-C97B-60BF-FE00-7CE181A1FC48}" name="Vanessa Schneider (HCG)" initials="VS" userId="S::vanessa.schneider@hcg-int.com::30726c75-e394-491c-8266-3aa26ccd6f6f" providerId="AD"/>
  <p188:author id="{B961CF55-0881-E4B6-A598-CDE58B2AB1B3}" name="Steve Marasigan (HCG)" initials="" userId="S::steve.marasigan@hcg-int.com::e69bcd13-5fc9-4f77-b953-1739e3fe96ed" providerId="AD"/>
  <p188:author id="{0273B059-D9E7-1C95-A465-E9BF2BA81E03}" name="Camille Bautista (HCG)" initials="CB(" userId="S::cbautista@hcg-int.com::6c09f99b-f30e-4cc7-8eac-08224f1faffb" providerId="AD"/>
  <p188:author id="{D671235D-03D1-37F6-487D-D8BCAF1627C9}" name="El Kalash, Wael" initials="EKW" userId="S::ELKALW@pfizer.com::6a2e65d1-dfd3-4280-8376-94966f4ff6db" providerId="AD"/>
  <p188:author id="{4F001D5E-FB58-E2DE-F89A-653CA8ED23CA}" name="Livia Hookes (HCG)" initials="LH" userId="S::livia.hookes@hcg-int.com::eb52657f-d445-47e5-a137-4fa0236cde14" providerId="AD"/>
  <p188:author id="{08EE839C-8C1B-243D-721F-9D29A92802EF}" name="Cathryn Raimond (HCG)" initials="CR" userId="S::cathryn.raimond@hcg-int.com::6397190c-00db-48d8-9e31-b60ab667cc14" providerId="AD"/>
  <p188:author id="{2102B1A1-29D0-42E3-EA8E-51CCE839E43B}" name="Helena Alvarez" initials="HA" userId="S::helalvar2@publicisgroupe.net::00e12f94-b873-4498-ab17-492a0ba7b2c8" providerId="AD"/>
  <p188:author id="{370209B9-03F6-0BB0-E428-8A61270E901A}" name="Seren Orsman (HCG)" initials="SO(" userId="S::seren.orsman@hcg-int.com::cbcf329f-5a28-43cb-bc1b-90e1b7acfd02" providerId="AD"/>
  <p188:author id="{2328E4DE-3EB2-E87E-7ABD-3921110C3667}" name="Yuan L" initials="YL" userId="bbc050b622eed203" providerId="Windows Live"/>
  <p188:author id="{700A10E1-7528-FDD1-4737-FDA3C3ACE2CD}" name="Ilyanna Casciaro (HCG)" initials="IC" userId="S::ilyanna.casciaro@hcg-int.com::bc8e6a06-29dc-46f5-868f-edf531e5b378" providerId="AD"/>
  <p188:author id="{F5B865E8-0E73-E755-A3E2-D301CB779675}" name="Enitan Sawyerr (HCG)" initials="ES(" userId="S::enitan.sawyerr@hcg-int.com::0f51b393-2395-48c2-b577-dde81e49cbc1" providerId="AD"/>
  <p188:author id="{6C03F9EC-9E72-50C9-DDA1-D42EF39F767D}" name="Ana Palomero" initials="AP" userId="S::anapalom1@publicisgroupe.net::9ac266b1-d2b6-4eaf-9267-f2d0b2c5e947" providerId="AD"/>
  <p188:author id="{75FBDDF9-C019-4FCA-385D-6DAED30BD103}" name="Beverley Bowen (HCG)" initials="" userId="S::bbowen@hcg-int.com::03f4c789-6267-4b6e-b962-387c5025fa7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33E"/>
    <a:srgbClr val="E6F9F3"/>
    <a:srgbClr val="CEF4E7"/>
    <a:srgbClr val="B8F1D9"/>
    <a:srgbClr val="D9D9D9"/>
    <a:srgbClr val="03C987"/>
    <a:srgbClr val="A6A6A6"/>
    <a:srgbClr val="EBF2F6"/>
    <a:srgbClr val="444671"/>
    <a:srgbClr val="03C8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p:scale>
          <a:sx n="1" d="2"/>
          <a:sy n="1" d="2"/>
        </p:scale>
        <p:origin x="0" y="0"/>
      </p:cViewPr>
      <p:guideLst>
        <p:guide orient="horz" pos="710"/>
        <p:guide pos="302"/>
        <p:guide pos="7287"/>
        <p:guide orient="horz" pos="4076"/>
      </p:guideLst>
    </p:cSldViewPr>
  </p:slide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2" Type="http://schemas.openxmlformats.org/officeDocument/2006/relationships/customXml" Target="../customXml/item3.xml"/><Relationship Id="rId61" Type="http://schemas.openxmlformats.org/officeDocument/2006/relationships/customXml" Target="../customXml/item2.xml"/><Relationship Id="rId60" Type="http://schemas.openxmlformats.org/officeDocument/2006/relationships/customXml" Target="../customXml/item1.xml"/><Relationship Id="rId6" Type="http://schemas.openxmlformats.org/officeDocument/2006/relationships/slideMaster" Target="slideMasters/slideMaster5.xml"/><Relationship Id="rId59" Type="http://schemas.microsoft.com/office/2018/10/relationships/authors" Target="authors.xml"/><Relationship Id="rId58" Type="http://schemas.openxmlformats.org/officeDocument/2006/relationships/tableStyles" Target="tableStyles.xml"/><Relationship Id="rId57" Type="http://schemas.openxmlformats.org/officeDocument/2006/relationships/viewProps" Target="viewProps.xml"/><Relationship Id="rId56" Type="http://schemas.openxmlformats.org/officeDocument/2006/relationships/presProps" Target="presProps.xml"/><Relationship Id="rId55" Type="http://schemas.openxmlformats.org/officeDocument/2006/relationships/handoutMaster" Target="handoutMasters/handoutMaster1.xml"/><Relationship Id="rId54" Type="http://schemas.openxmlformats.org/officeDocument/2006/relationships/slide" Target="slides/slide46.xml"/><Relationship Id="rId53" Type="http://schemas.openxmlformats.org/officeDocument/2006/relationships/slide" Target="slides/slide45.xml"/><Relationship Id="rId52" Type="http://schemas.openxmlformats.org/officeDocument/2006/relationships/slide" Target="slides/slide44.xml"/><Relationship Id="rId51" Type="http://schemas.openxmlformats.org/officeDocument/2006/relationships/slide" Target="slides/slide43.xml"/><Relationship Id="rId50" Type="http://schemas.openxmlformats.org/officeDocument/2006/relationships/slide" Target="slides/slide42.xml"/><Relationship Id="rId5" Type="http://schemas.openxmlformats.org/officeDocument/2006/relationships/slideMaster" Target="slideMasters/slideMaster4.xml"/><Relationship Id="rId49" Type="http://schemas.openxmlformats.org/officeDocument/2006/relationships/slide" Target="slides/slide41.xml"/><Relationship Id="rId48" Type="http://schemas.openxmlformats.org/officeDocument/2006/relationships/slide" Target="slides/slide40.xml"/><Relationship Id="rId47" Type="http://schemas.openxmlformats.org/officeDocument/2006/relationships/slide" Target="slides/slide39.xml"/><Relationship Id="rId46" Type="http://schemas.openxmlformats.org/officeDocument/2006/relationships/slide" Target="slides/slide38.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4" Type="http://schemas.microsoft.com/office/2011/relationships/chartColorStyle" Target="colors14.xml"/><Relationship Id="rId3" Type="http://schemas.microsoft.com/office/2011/relationships/chartStyle" Target="style14.xml"/><Relationship Id="rId2" Type="http://schemas.openxmlformats.org/officeDocument/2006/relationships/themeOverride" Target="../theme/themeOverride3.xml"/><Relationship Id="rId1" Type="http://schemas.openxmlformats.org/officeDocument/2006/relationships/package" Target="../embeddings/Workbook14.xlsx"/></Relationships>
</file>

<file path=ppt/charts/_rels/chart15.xml.rels><?xml version="1.0" encoding="UTF-8" standalone="yes"?>
<Relationships xmlns="http://schemas.openxmlformats.org/package/2006/relationships"><Relationship Id="rId4" Type="http://schemas.microsoft.com/office/2011/relationships/chartColorStyle" Target="colors15.xml"/><Relationship Id="rId3" Type="http://schemas.microsoft.com/office/2011/relationships/chartStyle" Target="style15.xml"/><Relationship Id="rId2" Type="http://schemas.openxmlformats.org/officeDocument/2006/relationships/themeOverride" Target="../theme/themeOverride4.xml"/><Relationship Id="rId1" Type="http://schemas.openxmlformats.org/officeDocument/2006/relationships/package" Target="../embeddings/Workbook15.xlsx"/></Relationships>
</file>

<file path=ppt/charts/_rels/chart16.xml.rels><?xml version="1.0" encoding="UTF-8" standalone="yes"?>
<Relationships xmlns="http://schemas.openxmlformats.org/package/2006/relationships"><Relationship Id="rId4" Type="http://schemas.microsoft.com/office/2011/relationships/chartColorStyle" Target="colors16.xml"/><Relationship Id="rId3" Type="http://schemas.microsoft.com/office/2011/relationships/chartStyle" Target="style16.xml"/><Relationship Id="rId2" Type="http://schemas.openxmlformats.org/officeDocument/2006/relationships/themeOverride" Target="../theme/themeOverride5.xml"/><Relationship Id="rId1" Type="http://schemas.openxmlformats.org/officeDocument/2006/relationships/package" Target="../embeddings/Workbook16.xlsx"/></Relationships>
</file>

<file path=ppt/charts/_rels/chart17.xml.rels><?xml version="1.0" encoding="UTF-8" standalone="yes"?>
<Relationships xmlns="http://schemas.openxmlformats.org/package/2006/relationships"><Relationship Id="rId4" Type="http://schemas.microsoft.com/office/2011/relationships/chartColorStyle" Target="colors17.xml"/><Relationship Id="rId3" Type="http://schemas.microsoft.com/office/2011/relationships/chartStyle" Target="style17.xml"/><Relationship Id="rId2" Type="http://schemas.openxmlformats.org/officeDocument/2006/relationships/themeOverride" Target="../theme/themeOverride6.xml"/><Relationship Id="rId1" Type="http://schemas.openxmlformats.org/officeDocument/2006/relationships/package" Target="../embeddings/Workbook17.xlsx"/></Relationships>
</file>

<file path=ppt/charts/_rels/chart18.xml.rels><?xml version="1.0" encoding="UTF-8" standalone="yes"?>
<Relationships xmlns="http://schemas.openxmlformats.org/package/2006/relationships"><Relationship Id="rId4" Type="http://schemas.microsoft.com/office/2011/relationships/chartColorStyle" Target="colors18.xml"/><Relationship Id="rId3" Type="http://schemas.microsoft.com/office/2011/relationships/chartStyle" Target="style18.xml"/><Relationship Id="rId2" Type="http://schemas.openxmlformats.org/officeDocument/2006/relationships/themeOverride" Target="../theme/themeOverride7.xml"/><Relationship Id="rId1" Type="http://schemas.openxmlformats.org/officeDocument/2006/relationships/package" Target="../embeddings/Workbook18.xlsx"/></Relationships>
</file>

<file path=ppt/charts/_rels/chart19.xml.rels><?xml version="1.0" encoding="UTF-8" standalone="yes"?>
<Relationships xmlns="http://schemas.openxmlformats.org/package/2006/relationships"><Relationship Id="rId4" Type="http://schemas.microsoft.com/office/2011/relationships/chartColorStyle" Target="colors19.xml"/><Relationship Id="rId3" Type="http://schemas.microsoft.com/office/2011/relationships/chartStyle" Target="style19.xml"/><Relationship Id="rId2" Type="http://schemas.openxmlformats.org/officeDocument/2006/relationships/themeOverride" Target="../theme/themeOverride8.xml"/><Relationship Id="rId1" Type="http://schemas.openxmlformats.org/officeDocument/2006/relationships/package" Target="../embeddings/Workbook19.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Workbook20.xlsx"/></Relationships>
</file>

<file path=ppt/charts/_rels/chart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Workbook21.xlsx"/></Relationships>
</file>

<file path=ppt/charts/_rels/chart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Workbook22.xlsx"/></Relationships>
</file>

<file path=ppt/charts/_rels/chart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Workbook23.xlsx"/></Relationships>
</file>

<file path=ppt/charts/_rels/chart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Workbook24.xlsx"/></Relationships>
</file>

<file path=ppt/charts/_rels/chart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Workbook25.xlsx"/></Relationships>
</file>

<file path=ppt/charts/_rels/chart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Workbook26.xlsx"/></Relationships>
</file>

<file path=ppt/charts/_rels/chart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Workbook27.xlsx"/></Relationships>
</file>

<file path=ppt/charts/_rels/chart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Workbook28.xlsx"/></Relationships>
</file>

<file path=ppt/charts/_rels/chart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Workbook29.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1.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2.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accent1">
                  <a:lumMod val="20000"/>
                  <a:lumOff val="80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644</c:v>
                </c:pt>
                <c:pt idx="1">
                  <c:v>0.356</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bd98f76d-71dd-4420-a205-60f68f099c27}"/>
      </c:ext>
    </c:extLst>
  </c:chart>
  <c:spPr>
    <a:noFill/>
    <a:ln>
      <a:noFill/>
    </a:ln>
    <a:effectLst/>
  </c:spPr>
  <c:txPr>
    <a:bodyPr/>
    <a:lstStyle/>
    <a:p>
      <a:pPr>
        <a:defRPr lang="zh-CN"/>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528164101901"/>
          <c:y val="0.109670806235865"/>
          <c:w val="0.443778117759843"/>
          <c:h val="0.758724226281097"/>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extLst>
      <c:ext uri="{0b15fc19-7d7d-44ad-8c2d-2c3a37ce22c3}">
        <chartProps xmlns="https://web.wps.cn/et/2018/main" chartId="{9fb37530-9b10-4b09-8499-da9049343739}"/>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大肠杆菌</c:v>
                </c:pt>
                <c:pt idx="1">
                  <c:v>克雷伯氏菌属</c:v>
                </c:pt>
                <c:pt idx="2">
                  <c:v>肠杆菌属</c:v>
                </c:pt>
                <c:pt idx="3">
                  <c:v>其他肠杆菌</c:v>
                </c:pt>
                <c:pt idx="4">
                  <c:v>鲍曼不动杆菌</c:v>
                </c:pt>
                <c:pt idx="5">
                  <c:v>铜绿假单胞菌</c:v>
                </c:pt>
                <c:pt idx="6">
                  <c:v>SMA</c:v>
                </c:pt>
              </c:strCache>
            </c:strRef>
          </c:cat>
          <c:val>
            <c:numRef>
              <c:f>Sheet1!$B$2:$B$8</c:f>
              <c:numCache>
                <c:formatCode>General</c:formatCode>
                <c:ptCount val="7"/>
                <c:pt idx="0">
                  <c:v>12</c:v>
                </c:pt>
                <c:pt idx="1">
                  <c:v>29</c:v>
                </c:pt>
                <c:pt idx="2">
                  <c:v>5</c:v>
                </c:pt>
                <c:pt idx="3">
                  <c:v>14</c:v>
                </c:pt>
                <c:pt idx="4">
                  <c:v>42</c:v>
                </c:pt>
                <c:pt idx="5">
                  <c:v>25</c:v>
                </c:pt>
                <c:pt idx="6">
                  <c:v>19</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耐药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fb1cbdd9-5a8c-4cda-955c-9ef40ddf1e47}"/>
      </c:ext>
    </c:extLst>
  </c:chart>
  <c:spPr>
    <a:noFill/>
    <a:ln>
      <a:noFill/>
    </a:ln>
    <a:effectLst/>
  </c:spPr>
  <c:txPr>
    <a:bodyPr/>
    <a:lstStyle/>
    <a:p>
      <a:pPr>
        <a:defRPr lang="zh-CN" sz="800">
          <a:solidFill>
            <a:schemeClr val="tx1"/>
          </a:solidFill>
        </a:defRPr>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19872783013"/>
          <c:y val="0.153841876529141"/>
          <c:w val="0.842311653486334"/>
          <c:h val="0.733406557155817"/>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鲍曼不动杆菌</c:v>
                </c:pt>
                <c:pt idx="1">
                  <c:v>铜绿假单胞菌</c:v>
                </c:pt>
                <c:pt idx="2">
                  <c:v>肺炎克雷伯菌</c:v>
                </c:pt>
                <c:pt idx="3">
                  <c:v>大肠埃希菌</c:v>
                </c:pt>
              </c:strCache>
            </c:strRef>
          </c:cat>
          <c:val>
            <c:numRef>
              <c:f>Sheet1!$B$2:$B$5</c:f>
              <c:numCache>
                <c:formatCode>General</c:formatCode>
                <c:ptCount val="4"/>
                <c:pt idx="0">
                  <c:v>32</c:v>
                </c:pt>
                <c:pt idx="1">
                  <c:v>10</c:v>
                </c:pt>
                <c:pt idx="2">
                  <c:v>17</c:v>
                </c:pt>
                <c:pt idx="3">
                  <c:v>3</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耐药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9e3b821e-76b2-4188-9899-0e4f383d7663}"/>
      </c:ext>
    </c:extLst>
  </c:chart>
  <c:spPr>
    <a:noFill/>
    <a:ln>
      <a:noFill/>
    </a:ln>
    <a:effectLst/>
  </c:spPr>
  <c:txPr>
    <a:bodyPr/>
    <a:lstStyle/>
    <a:p>
      <a:pPr>
        <a:defRPr lang="zh-CN" sz="800">
          <a:solidFill>
            <a:schemeClr val="tx1"/>
          </a:solidFill>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14040426273"/>
          <c:y val="0.0943319013452691"/>
          <c:w val="0.679798753506109"/>
          <c:h val="0.790762919210457"/>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MA</c:v>
                </c:pt>
              </c:strCache>
            </c:strRef>
          </c:cat>
          <c:val>
            <c:numRef>
              <c:f>Sheet1!$B$2</c:f>
              <c:numCache>
                <c:formatCode>General</c:formatCode>
                <c:ptCount val="1"/>
                <c:pt idx="0">
                  <c:v>12</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max val="35"/>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d1c5d5ff-0def-4d0c-96ab-d376f379cb52}"/>
      </c:ext>
    </c:extLst>
  </c:chart>
  <c:spPr>
    <a:noFill/>
    <a:ln>
      <a:noFill/>
    </a:ln>
    <a:effectLst/>
  </c:spPr>
  <c:txPr>
    <a:bodyPr/>
    <a:lstStyle/>
    <a:p>
      <a:pPr>
        <a:defRPr lang="zh-CN" sz="800">
          <a:solidFill>
            <a:schemeClr val="tx1"/>
          </a:solidFill>
        </a:defRPr>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747134584546"/>
          <c:y val="0.178783433642805"/>
          <c:w val="0.886044045275591"/>
          <c:h val="0.710181460473438"/>
        </c:manualLayout>
      </c:layout>
      <c:barChart>
        <c:barDir val="col"/>
        <c:grouping val="clustered"/>
        <c:varyColors val="0"/>
        <c:ser>
          <c:idx val="0"/>
          <c:order val="0"/>
          <c:tx>
            <c:strRef>
              <c:f>Sheet1!$B$1</c:f>
              <c:strCache>
                <c:ptCount val="1"/>
                <c:pt idx="0">
                  <c:v>CRE</c:v>
                </c:pt>
              </c:strCache>
            </c:strRef>
          </c:tx>
          <c:spPr>
            <a:solidFill>
              <a:srgbClr val="08C886"/>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CU</c:v>
                </c:pt>
                <c:pt idx="1">
                  <c:v>医院</c:v>
                </c:pt>
                <c:pt idx="2">
                  <c:v>30天死亡率</c:v>
                </c:pt>
                <c:pt idx="3">
                  <c:v>60天死亡率</c:v>
                </c:pt>
              </c:strCache>
            </c:strRef>
          </c:cat>
          <c:val>
            <c:numRef>
              <c:f>Sheet1!$B$2:$B$5</c:f>
              <c:numCache>
                <c:formatCode>General</c:formatCode>
                <c:ptCount val="4"/>
                <c:pt idx="0">
                  <c:v>42</c:v>
                </c:pt>
                <c:pt idx="1">
                  <c:v>55</c:v>
                </c:pt>
                <c:pt idx="2">
                  <c:v>31</c:v>
                </c:pt>
                <c:pt idx="3">
                  <c:v>46</c:v>
                </c:pt>
              </c:numCache>
            </c:numRef>
          </c:val>
        </c:ser>
        <c:ser>
          <c:idx val="1"/>
          <c:order val="1"/>
          <c:tx>
            <c:strRef>
              <c:f>Sheet1!$C$1</c:f>
              <c:strCache>
                <c:ptCount val="1"/>
                <c:pt idx="0">
                  <c:v>CSE</c:v>
                </c:pt>
              </c:strCache>
            </c:strRef>
          </c:tx>
          <c:spPr>
            <a:solidFill>
              <a:srgbClr val="08C886">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CU</c:v>
                </c:pt>
                <c:pt idx="1">
                  <c:v>医院</c:v>
                </c:pt>
                <c:pt idx="2">
                  <c:v>30天死亡率</c:v>
                </c:pt>
                <c:pt idx="3">
                  <c:v>60天死亡率</c:v>
                </c:pt>
              </c:strCache>
            </c:strRef>
          </c:cat>
          <c:val>
            <c:numRef>
              <c:f>Sheet1!$C$2:$C$5</c:f>
              <c:numCache>
                <c:formatCode>General</c:formatCode>
                <c:ptCount val="4"/>
                <c:pt idx="0">
                  <c:v>27</c:v>
                </c:pt>
                <c:pt idx="1">
                  <c:v>38</c:v>
                </c:pt>
                <c:pt idx="2">
                  <c:v>17</c:v>
                </c:pt>
                <c:pt idx="3">
                  <c:v>29</c:v>
                </c:pt>
              </c:numCache>
            </c:numRef>
          </c:val>
        </c:ser>
        <c:dLbls>
          <c:showLegendKey val="0"/>
          <c:showVal val="0"/>
          <c:showCatName val="0"/>
          <c:showSerName val="0"/>
          <c:showPercent val="0"/>
          <c:showBubbleSize val="0"/>
        </c:dLbls>
        <c:gapWidth val="219"/>
        <c:overlap val="-27"/>
        <c:axId val="787006240"/>
        <c:axId val="787009600"/>
      </c:barChart>
      <c:catAx>
        <c:axId val="787006240"/>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9600"/>
        <c:crosses val="autoZero"/>
        <c:auto val="1"/>
        <c:lblAlgn val="ctr"/>
        <c:lblOffset val="100"/>
        <c:noMultiLvlLbl val="0"/>
      </c:catAx>
      <c:valAx>
        <c:axId val="787009600"/>
        <c:scaling>
          <c:orientation val="minMax"/>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死亡率（</a:t>
                </a:r>
                <a:r>
                  <a:rPr lang="en-US"/>
                  <a:t>%</a:t>
                </a:r>
                <a:r>
                  <a:rPr lang="zh-CN"/>
                  <a:t>）</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624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legend>
    <c:plotVisOnly val="1"/>
    <c:dispBlanksAs val="gap"/>
    <c:showDLblsOverMax val="0"/>
    <c:extLst>
      <c:ext uri="{0b15fc19-7d7d-44ad-8c2d-2c3a37ce22c3}">
        <chartProps xmlns="https://web.wps.cn/et/2018/main" chartId="{68bf3611-483a-4f84-afd8-4a54513bedd5}"/>
      </c:ext>
    </c:extLst>
  </c:chart>
  <c:spPr>
    <a:noFill/>
    <a:ln>
      <a:noFill/>
    </a:ln>
    <a:effectLst/>
  </c:spPr>
  <c:txPr>
    <a:bodyPr/>
    <a:lstStyle/>
    <a:p>
      <a:pPr>
        <a:defRPr lang="zh-CN" sz="1100">
          <a:solidFill>
            <a:schemeClr val="tx1"/>
          </a:solidFill>
        </a:defRPr>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多重耐药菌检出率</c:v>
                </c:pt>
              </c:strCache>
            </c:strRef>
          </c:tx>
          <c:spPr>
            <a:solidFill>
              <a:schemeClr val="tx2">
                <a:lumMod val="10000"/>
                <a:lumOff val="90000"/>
              </a:schemeClr>
            </a:solidFill>
          </c:spPr>
          <c:explosion val="0"/>
          <c:dPt>
            <c:idx val="0"/>
            <c:bubble3D val="0"/>
            <c:spPr>
              <a:solidFill>
                <a:srgbClr val="00033E"/>
              </a:solidFill>
              <a:ln w="19050">
                <a:solidFill>
                  <a:schemeClr val="lt1"/>
                </a:solidFill>
              </a:ln>
              <a:effectLst/>
            </c:spPr>
          </c:dPt>
          <c:dPt>
            <c:idx val="1"/>
            <c:bubble3D val="0"/>
            <c:spPr>
              <a:solidFill>
                <a:srgbClr val="00033E">
                  <a:lumMod val="10000"/>
                  <a:lumOff val="90000"/>
                </a:srgb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529</c:v>
                </c:pt>
                <c:pt idx="1">
                  <c:v>0.471</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ba0ba741-b13a-4ba1-9cc7-2dcc4ea57c1e}"/>
      </c:ext>
    </c:extLst>
  </c:chart>
  <c:spPr>
    <a:noFill/>
    <a:ln>
      <a:noFill/>
    </a:ln>
    <a:effectLst/>
  </c:spPr>
  <c:txPr>
    <a:bodyPr/>
    <a:lstStyle/>
    <a:p>
      <a:pPr>
        <a:defRPr lang="zh-CN"/>
      </a:pP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多重耐药菌检出率</c:v>
                </c:pt>
              </c:strCache>
            </c:strRef>
          </c:tx>
          <c:spPr>
            <a:solidFill>
              <a:schemeClr val="tx2">
                <a:lumMod val="10000"/>
                <a:lumOff val="90000"/>
              </a:schemeClr>
            </a:solidFill>
          </c:spPr>
          <c:explosion val="0"/>
          <c:dPt>
            <c:idx val="0"/>
            <c:bubble3D val="0"/>
            <c:spPr>
              <a:solidFill>
                <a:srgbClr val="08C886"/>
              </a:solidFill>
              <a:ln w="19050">
                <a:solidFill>
                  <a:schemeClr val="lt1"/>
                </a:solidFill>
              </a:ln>
              <a:effectLst/>
            </c:spPr>
          </c:dPt>
          <c:dPt>
            <c:idx val="1"/>
            <c:bubble3D val="0"/>
            <c:spPr>
              <a:solidFill>
                <a:srgbClr val="08C886">
                  <a:lumMod val="20000"/>
                  <a:lumOff val="80000"/>
                </a:srgb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426</c:v>
                </c:pt>
                <c:pt idx="1">
                  <c:v>0.574</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ec9338f1-407c-402a-b6d3-de17d3d38a0f}"/>
      </c:ext>
    </c:extLst>
  </c:chart>
  <c:spPr>
    <a:noFill/>
    <a:ln>
      <a:noFill/>
    </a:ln>
    <a:effectLst/>
  </c:spPr>
  <c:txPr>
    <a:bodyPr/>
    <a:lstStyle/>
    <a:p>
      <a:pPr>
        <a:defRPr lang="zh-CN"/>
      </a:pP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8682653984788"/>
          <c:y val="0.112949094154899"/>
          <c:w val="0.636245176810582"/>
          <c:h val="0.764011928307803"/>
        </c:manualLayout>
      </c:layout>
      <c:doughnutChart>
        <c:varyColors val="1"/>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showDLblsOverMax val="0"/>
    <c:extLst>
      <c:ext uri="{0b15fc19-7d7d-44ad-8c2d-2c3a37ce22c3}">
        <chartProps xmlns="https://web.wps.cn/et/2018/main" chartId="{7be4be11-da70-4aad-a3b6-04e34ebceaf4}"/>
      </c:ext>
    </c:extLst>
  </c:chart>
  <c:spPr>
    <a:noFill/>
    <a:ln>
      <a:noFill/>
    </a:ln>
    <a:effectLst/>
  </c:spPr>
  <c:txPr>
    <a:bodyPr/>
    <a:lstStyle/>
    <a:p>
      <a:pPr>
        <a:defRPr lang="zh-CN"/>
      </a:pP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5532732321503"/>
          <c:y val="0.136802336429307"/>
          <c:w val="0.764030963520864"/>
          <c:h val="0.759718919971115"/>
        </c:manualLayout>
      </c:layout>
      <c:barChart>
        <c:barDir val="col"/>
        <c:grouping val="clustered"/>
        <c:varyColors val="0"/>
        <c:ser>
          <c:idx val="0"/>
          <c:order val="0"/>
          <c:tx>
            <c:strRef>
              <c:f>Sheet1!$B$1</c:f>
              <c:strCache>
                <c:ptCount val="1"/>
                <c:pt idx="0">
                  <c:v>费用</c:v>
                </c:pt>
              </c:strCache>
            </c:strRef>
          </c:tx>
          <c:spPr>
            <a:solidFill>
              <a:srgbClr val="000D45"/>
            </a:solidFill>
            <a:ln>
              <a:noFill/>
            </a:ln>
            <a:effectLst/>
          </c:spPr>
          <c:invertIfNegative val="0"/>
          <c:dPt>
            <c:idx val="0"/>
            <c:invertIfNegative val="0"/>
            <c:bubble3D val="0"/>
            <c:spPr>
              <a:solidFill>
                <a:srgbClr val="08C886"/>
              </a:solidFill>
              <a:ln>
                <a:noFill/>
              </a:ln>
              <a:effectLst/>
            </c:spPr>
          </c:dPt>
          <c:dPt>
            <c:idx val="1"/>
            <c:invertIfNegative val="0"/>
            <c:bubble3D val="0"/>
            <c:spPr>
              <a:solidFill>
                <a:srgbClr val="08C886">
                  <a:lumMod val="20000"/>
                  <a:lumOff val="80000"/>
                </a:srgb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感染患者</c:v>
                </c:pt>
                <c:pt idx="1">
                  <c:v>非感染组</c:v>
                </c:pt>
              </c:strCache>
            </c:strRef>
          </c:cat>
          <c:val>
            <c:numRef>
              <c:f>Sheet1!$B$2:$B$3</c:f>
              <c:numCache>
                <c:formatCode>General</c:formatCode>
                <c:ptCount val="2"/>
                <c:pt idx="0">
                  <c:v>179175.5</c:v>
                </c:pt>
                <c:pt idx="1">
                  <c:v>143154.48</c:v>
                </c:pt>
              </c:numCache>
            </c:numRef>
          </c:val>
        </c:ser>
        <c:dLbls>
          <c:showLegendKey val="0"/>
          <c:showVal val="1"/>
          <c:showCatName val="0"/>
          <c:showSerName val="0"/>
          <c:showPercent val="0"/>
          <c:showBubbleSize val="0"/>
        </c:dLbls>
        <c:gapWidth val="219"/>
        <c:overlap val="-27"/>
        <c:axId val="268065951"/>
        <c:axId val="268067871"/>
      </c:barChart>
      <c:catAx>
        <c:axId val="268065951"/>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7871"/>
        <c:crosses val="autoZero"/>
        <c:auto val="1"/>
        <c:lblAlgn val="ctr"/>
        <c:lblOffset val="100"/>
        <c:noMultiLvlLbl val="0"/>
      </c:catAx>
      <c:valAx>
        <c:axId val="268067871"/>
        <c:scaling>
          <c:orientation val="minMax"/>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r>
                  <a:rPr lang="zh-CN"/>
                  <a:t>费用（元）</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5951"/>
        <c:crosses val="autoZero"/>
        <c:crossBetween val="between"/>
      </c:valAx>
      <c:spPr>
        <a:noFill/>
        <a:ln>
          <a:noFill/>
        </a:ln>
        <a:effectLst/>
      </c:spPr>
    </c:plotArea>
    <c:plotVisOnly val="1"/>
    <c:dispBlanksAs val="gap"/>
    <c:showDLblsOverMax val="0"/>
    <c:extLst>
      <c:ext uri="{0b15fc19-7d7d-44ad-8c2d-2c3a37ce22c3}">
        <chartProps xmlns="https://web.wps.cn/et/2018/main" chartId="{86b61060-4b25-4d2b-89d5-e7bc82cb5e65}"/>
      </c:ext>
    </c:extLst>
  </c:chart>
  <c:spPr>
    <a:noFill/>
    <a:ln>
      <a:noFill/>
    </a:ln>
    <a:effectLst/>
  </c:spPr>
  <c:txPr>
    <a:bodyPr/>
    <a:lstStyle/>
    <a:p>
      <a:pPr>
        <a:defRPr lang="zh-CN" sz="1200">
          <a:solidFill>
            <a:schemeClr val="tx1"/>
          </a:solidFill>
        </a:defRPr>
      </a:pP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03153460819"/>
          <c:y val="0.136802336429307"/>
          <c:w val="0.829248405323081"/>
          <c:h val="0.759718919971115"/>
        </c:manualLayout>
      </c:layout>
      <c:barChart>
        <c:barDir val="col"/>
        <c:grouping val="clustered"/>
        <c:varyColors val="0"/>
        <c:ser>
          <c:idx val="0"/>
          <c:order val="0"/>
          <c:tx>
            <c:strRef>
              <c:f>Sheet1!$B$1</c:f>
              <c:strCache>
                <c:ptCount val="1"/>
                <c:pt idx="0">
                  <c:v>产NDM-1肠杆菌感染患者</c:v>
                </c:pt>
              </c:strCache>
            </c:strRef>
          </c:tx>
          <c:spPr>
            <a:solidFill>
              <a:srgbClr val="08C886"/>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总住院时间</c:v>
                </c:pt>
                <c:pt idx="1">
                  <c:v>ICU住院时间</c:v>
                </c:pt>
              </c:strCache>
            </c:strRef>
          </c:cat>
          <c:val>
            <c:numRef>
              <c:f>Sheet1!$B$2:$B$3</c:f>
              <c:numCache>
                <c:formatCode>General</c:formatCode>
                <c:ptCount val="2"/>
                <c:pt idx="0">
                  <c:v>44</c:v>
                </c:pt>
                <c:pt idx="1">
                  <c:v>32.5</c:v>
                </c:pt>
              </c:numCache>
            </c:numRef>
          </c:val>
        </c:ser>
        <c:ser>
          <c:idx val="1"/>
          <c:order val="1"/>
          <c:tx>
            <c:strRef>
              <c:f>Sheet1!$C$1</c:f>
              <c:strCache>
                <c:ptCount val="1"/>
                <c:pt idx="0">
                  <c:v>配对病例对照</c:v>
                </c:pt>
              </c:strCache>
            </c:strRef>
          </c:tx>
          <c:spPr>
            <a:solidFill>
              <a:srgbClr val="08C886">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总住院时间</c:v>
                </c:pt>
                <c:pt idx="1">
                  <c:v>ICU住院时间</c:v>
                </c:pt>
              </c:strCache>
            </c:strRef>
          </c:cat>
          <c:val>
            <c:numRef>
              <c:f>Sheet1!$C$2:$C$3</c:f>
              <c:numCache>
                <c:formatCode>General</c:formatCode>
                <c:ptCount val="2"/>
                <c:pt idx="0">
                  <c:v>13.3</c:v>
                </c:pt>
                <c:pt idx="1">
                  <c:v>8.3</c:v>
                </c:pt>
              </c:numCache>
            </c:numRef>
          </c:val>
        </c:ser>
        <c:dLbls>
          <c:showLegendKey val="0"/>
          <c:showVal val="1"/>
          <c:showCatName val="0"/>
          <c:showSerName val="0"/>
          <c:showPercent val="0"/>
          <c:showBubbleSize val="0"/>
        </c:dLbls>
        <c:gapWidth val="219"/>
        <c:overlap val="-27"/>
        <c:axId val="268065951"/>
        <c:axId val="268067871"/>
      </c:barChart>
      <c:catAx>
        <c:axId val="268065951"/>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7871"/>
        <c:crosses val="autoZero"/>
        <c:auto val="1"/>
        <c:lblAlgn val="ctr"/>
        <c:lblOffset val="100"/>
        <c:noMultiLvlLbl val="0"/>
      </c:catAx>
      <c:valAx>
        <c:axId val="268067871"/>
        <c:scaling>
          <c:orientation val="minMax"/>
          <c:max val="55"/>
          <c:min val="0"/>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r>
                  <a:rPr lang="zh-CN"/>
                  <a:t>住院时间（天）</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5951"/>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legend>
    <c:plotVisOnly val="1"/>
    <c:dispBlanksAs val="gap"/>
    <c:showDLblsOverMax val="0"/>
    <c:extLst>
      <c:ext uri="{0b15fc19-7d7d-44ad-8c2d-2c3a37ce22c3}">
        <chartProps xmlns="https://web.wps.cn/et/2018/main" chartId="{84ea1b40-4aaf-40e7-895f-a09218ebb991}"/>
      </c:ext>
    </c:extLst>
  </c:chart>
  <c:spPr>
    <a:noFill/>
    <a:ln>
      <a:noFill/>
    </a:ln>
    <a:effectLst/>
  </c:spPr>
  <c:txPr>
    <a:bodyPr/>
    <a:lstStyle/>
    <a:p>
      <a:pPr>
        <a:defRPr lang="zh-CN" sz="1200">
          <a:solidFill>
            <a:schemeClr val="tx1"/>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accent1">
                  <a:lumMod val="20000"/>
                  <a:lumOff val="80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4949</c:v>
                </c:pt>
                <c:pt idx="1">
                  <c:v>0.5051</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25a153a9-73d7-458f-a9ab-5c4b7714db98}"/>
      </c:ext>
    </c:extLst>
  </c:chart>
  <c:spPr>
    <a:noFill/>
    <a:ln>
      <a:noFill/>
    </a:ln>
    <a:effectLst/>
  </c:spPr>
  <c:txPr>
    <a:bodyPr/>
    <a:lstStyle/>
    <a:p>
      <a:pPr>
        <a:defRPr lang="zh-CN"/>
      </a:pP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435591865993"/>
          <c:y val="0.0654756723365263"/>
          <c:w val="0.682696025422761"/>
          <c:h val="0.78082205606109"/>
        </c:manualLayout>
      </c:layout>
      <c:lineChart>
        <c:grouping val="standard"/>
        <c:varyColors val="0"/>
        <c:ser>
          <c:idx val="0"/>
          <c:order val="0"/>
          <c:tx>
            <c:strRef>
              <c:f>Sheet1!$B$1</c:f>
              <c:strCache>
                <c:ptCount val="1"/>
                <c:pt idx="0">
                  <c:v>系列 1</c:v>
                </c:pt>
              </c:strCache>
            </c:strRef>
          </c:tx>
          <c:spPr>
            <a:ln w="444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General</c:formatCode>
                <c:ptCount val="3"/>
                <c:pt idx="0">
                  <c:v>7.2</c:v>
                </c:pt>
                <c:pt idx="1">
                  <c:v>8.6</c:v>
                </c:pt>
                <c:pt idx="2">
                  <c:v>14.4</c:v>
                </c:pt>
              </c:numCache>
            </c:numRef>
          </c:val>
          <c:smooth val="0"/>
        </c:ser>
        <c:dLbls>
          <c:showLegendKey val="0"/>
          <c:showVal val="1"/>
          <c:showCatName val="0"/>
          <c:showSerName val="0"/>
          <c:showPercent val="0"/>
          <c:showBubbleSize val="0"/>
        </c:dLbls>
        <c:marker val="0"/>
        <c:smooth val="0"/>
        <c:axId val="787005760"/>
        <c:axId val="787002400"/>
      </c:lineChart>
      <c:catAx>
        <c:axId val="787005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2400"/>
        <c:crosses val="autoZero"/>
        <c:auto val="1"/>
        <c:lblAlgn val="ctr"/>
        <c:lblOffset val="100"/>
        <c:noMultiLvlLbl val="0"/>
      </c:catAx>
      <c:valAx>
        <c:axId val="787002400"/>
        <c:scaling>
          <c:orientation val="minMax"/>
        </c:scaling>
        <c:delete val="0"/>
        <c:axPos val="l"/>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检出率（</a:t>
                </a:r>
                <a:r>
                  <a:rPr lang="en-US"/>
                  <a:t>%</a:t>
                </a:r>
                <a:r>
                  <a:rPr lang="zh-CN"/>
                  <a:t>）</a:t>
                </a:r>
                <a:endParaRPr lang="zh-CN"/>
              </a:p>
            </c:rich>
          </c:tx>
          <c:layout>
            <c:manualLayout>
              <c:xMode val="edge"/>
              <c:yMode val="edge"/>
              <c:x val="0.011691377103067"/>
              <c:y val="0.266869861518839"/>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5760"/>
        <c:crosses val="autoZero"/>
        <c:crossBetween val="between"/>
      </c:valAx>
      <c:spPr>
        <a:noFill/>
        <a:ln>
          <a:noFill/>
        </a:ln>
        <a:effectLst/>
      </c:spPr>
    </c:plotArea>
    <c:plotVisOnly val="1"/>
    <c:dispBlanksAs val="gap"/>
    <c:showDLblsOverMax val="0"/>
    <c:extLst>
      <c:ext uri="{0b15fc19-7d7d-44ad-8c2d-2c3a37ce22c3}">
        <chartProps xmlns="https://web.wps.cn/et/2018/main" chartId="{49fbe46a-1dc4-41a5-b7c2-608acee10086}"/>
      </c:ext>
    </c:extLst>
  </c:chart>
  <c:spPr>
    <a:noFill/>
    <a:ln>
      <a:noFill/>
    </a:ln>
    <a:effectLst/>
  </c:spPr>
  <c:txPr>
    <a:bodyPr/>
    <a:lstStyle/>
    <a:p>
      <a:pPr>
        <a:defRPr lang="zh-CN" sz="1100">
          <a:solidFill>
            <a:schemeClr val="tx1"/>
          </a:solidFill>
        </a:defRPr>
      </a:pP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bg1">
                  <a:lumMod val="75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2</c:v>
                </c:pt>
                <c:pt idx="1">
                  <c:v>0.8</c:v>
                </c:pt>
              </c:numCache>
            </c:numRef>
          </c:val>
        </c:ser>
        <c:dLbls>
          <c:showLegendKey val="0"/>
          <c:showVal val="1"/>
          <c:showCatName val="0"/>
          <c:showSerName val="0"/>
          <c:showPercent val="0"/>
          <c:showBubbleSize val="0"/>
          <c:showLeaderLines val="1"/>
        </c:dLbls>
        <c:firstSliceAng val="0"/>
        <c:holeSize val="69"/>
      </c:doughnutChart>
      <c:spPr>
        <a:noFill/>
        <a:ln>
          <a:noFill/>
        </a:ln>
        <a:effectLst/>
      </c:spPr>
    </c:plotArea>
    <c:plotVisOnly val="1"/>
    <c:dispBlanksAs val="gap"/>
    <c:showDLblsOverMax val="0"/>
    <c:extLst>
      <c:ext uri="{0b15fc19-7d7d-44ad-8c2d-2c3a37ce22c3}">
        <chartProps xmlns="https://web.wps.cn/et/2018/main" chartId="{8d699bdc-b3af-43ca-954f-27bb6a86d16b}"/>
      </c:ext>
    </c:extLst>
  </c:chart>
  <c:spPr>
    <a:noFill/>
    <a:ln>
      <a:noFill/>
    </a:ln>
    <a:effectLst/>
  </c:spPr>
  <c:txPr>
    <a:bodyPr/>
    <a:lstStyle/>
    <a:p>
      <a:pPr>
        <a:defRPr lang="zh-CN"/>
      </a:pP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4410530275"/>
          <c:y val="0.0657733379350141"/>
          <c:w val="0.757400094241702"/>
          <c:h val="0.779825628967946"/>
        </c:manualLayout>
      </c:layout>
      <c:lineChart>
        <c:grouping val="standard"/>
        <c:varyColors val="0"/>
        <c:ser>
          <c:idx val="0"/>
          <c:order val="0"/>
          <c:tx>
            <c:strRef>
              <c:f>Sheet1!$B$1</c:f>
              <c:strCache>
                <c:ptCount val="1"/>
                <c:pt idx="0">
                  <c:v>系列 1</c:v>
                </c:pt>
              </c:strCache>
            </c:strRef>
          </c:tx>
          <c:spPr>
            <a:ln w="44450"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B$2:$B$5</c:f>
              <c:numCache>
                <c:formatCode>General</c:formatCode>
                <c:ptCount val="4"/>
                <c:pt idx="0">
                  <c:v>2.35</c:v>
                </c:pt>
                <c:pt idx="1">
                  <c:v>2.41</c:v>
                </c:pt>
                <c:pt idx="2">
                  <c:v>2.44</c:v>
                </c:pt>
                <c:pt idx="3">
                  <c:v>3.05</c:v>
                </c:pt>
              </c:numCache>
            </c:numRef>
          </c:val>
          <c:smooth val="0"/>
        </c:ser>
        <c:dLbls>
          <c:showLegendKey val="0"/>
          <c:showVal val="1"/>
          <c:showCatName val="0"/>
          <c:showSerName val="0"/>
          <c:showPercent val="0"/>
          <c:showBubbleSize val="0"/>
        </c:dLbls>
        <c:marker val="1"/>
        <c:smooth val="0"/>
        <c:axId val="268073151"/>
        <c:axId val="268063551"/>
      </c:lineChart>
      <c:catAx>
        <c:axId val="26807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268063551"/>
        <c:crosses val="autoZero"/>
        <c:auto val="1"/>
        <c:lblAlgn val="ctr"/>
        <c:lblOffset val="100"/>
        <c:noMultiLvlLbl val="0"/>
      </c:catAx>
      <c:valAx>
        <c:axId val="268063551"/>
        <c:scaling>
          <c:orientation val="minMax"/>
          <c:max val="5"/>
        </c:scaling>
        <c:delete val="0"/>
        <c:axPos val="l"/>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检出率（</a:t>
                </a:r>
                <a:r>
                  <a:rPr lang="en-US"/>
                  <a:t>%</a:t>
                </a:r>
                <a:r>
                  <a:rPr lang="zh-CN"/>
                  <a:t>）</a:t>
                </a:r>
                <a:endParaRPr lang="zh-CN"/>
              </a:p>
            </c:rich>
          </c:tx>
          <c:layout>
            <c:manualLayout>
              <c:xMode val="edge"/>
              <c:yMode val="edge"/>
              <c:x val="0.0355154186787798"/>
              <c:y val="0.265810004938217"/>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268073151"/>
        <c:crosses val="autoZero"/>
        <c:crossBetween val="between"/>
      </c:valAx>
      <c:spPr>
        <a:noFill/>
        <a:ln>
          <a:noFill/>
        </a:ln>
        <a:effectLst/>
      </c:spPr>
    </c:plotArea>
    <c:plotVisOnly val="1"/>
    <c:dispBlanksAs val="gap"/>
    <c:showDLblsOverMax val="0"/>
    <c:extLst>
      <c:ext uri="{0b15fc19-7d7d-44ad-8c2d-2c3a37ce22c3}">
        <chartProps xmlns="https://web.wps.cn/et/2018/main" chartId="{1f2f50ae-3a1b-4308-a124-c5485cb2b524}"/>
      </c:ext>
    </c:extLst>
  </c:chart>
  <c:spPr>
    <a:noFill/>
    <a:ln>
      <a:noFill/>
    </a:ln>
    <a:effectLst/>
  </c:spPr>
  <c:txPr>
    <a:bodyPr/>
    <a:lstStyle/>
    <a:p>
      <a:pPr>
        <a:defRPr lang="zh-CN" sz="1100">
          <a:solidFill>
            <a:schemeClr val="tx1"/>
          </a:solidFill>
        </a:defRPr>
      </a:pP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0745125609298838"/>
          <c:y val="0.359083165290027"/>
          <c:w val="0.918490004795474"/>
          <c:h val="0.422105935457018"/>
        </c:manualLayout>
      </c:layout>
      <c:barChart>
        <c:barDir val="col"/>
        <c:grouping val="clustered"/>
        <c:varyColors val="0"/>
        <c:ser>
          <c:idx val="0"/>
          <c:order val="0"/>
          <c:tx>
            <c:strRef>
              <c:f>Sheet1!$B$1</c:f>
              <c:strCache>
                <c:ptCount val="1"/>
                <c:pt idx="0">
                  <c:v>ATM/AVI</c:v>
                </c:pt>
              </c:strCache>
            </c:strRef>
          </c:tx>
          <c:spPr>
            <a:solidFill>
              <a:schemeClr val="accent6">
                <a:shade val="76000"/>
              </a:schemeClr>
            </a:solidFill>
            <a:ln>
              <a:noFill/>
            </a:ln>
            <a:effectLst/>
          </c:spPr>
          <c:invertIfNegative val="0"/>
          <c:dPt>
            <c:idx val="0"/>
            <c:invertIfNegative val="0"/>
            <c:bubble3D val="0"/>
            <c:spPr>
              <a:solidFill>
                <a:schemeClr val="accent6">
                  <a:shade val="65000"/>
                </a:schemeClr>
              </a:solidFill>
              <a:ln>
                <a:noFill/>
              </a:ln>
              <a:effectLst/>
            </c:spPr>
          </c:dPt>
          <c:dPt>
            <c:idx val="1"/>
            <c:invertIfNegative val="0"/>
            <c:bubble3D val="0"/>
            <c:spPr>
              <a:solidFill>
                <a:schemeClr val="accent6">
                  <a:shade val="65000"/>
                </a:schemeClr>
              </a:solidFill>
              <a:ln>
                <a:noFill/>
              </a:ln>
              <a:effectLst/>
            </c:spPr>
          </c:dPt>
          <c:dPt>
            <c:idx val="4"/>
            <c:invertIfNegative val="0"/>
            <c:bubble3D val="0"/>
            <c:spPr>
              <a:solidFill>
                <a:schemeClr val="accent6">
                  <a:shade val="65000"/>
                </a:schemeClr>
              </a:solidFill>
              <a:ln>
                <a:noFill/>
              </a:ln>
              <a:effectLst/>
            </c:spPr>
          </c:dPt>
          <c:dLbls>
            <c:dLbl>
              <c:idx val="4"/>
              <c:layout/>
              <c:numFmt formatCode="General" sourceLinked="1"/>
              <c:spPr>
                <a:noFill/>
                <a:ln>
                  <a:noFill/>
                </a:ln>
                <a:effectLst/>
              </c:spPr>
              <c:txPr>
                <a:bodyPr rot="0" spcFirstLastPara="1" vertOverflow="ellipsis" vert="horz" wrap="square" lIns="38100" tIns="19050" rIns="38100" bIns="19050" anchor="ctr" anchorCtr="1"/>
                <a:lstStyle/>
                <a:p>
                  <a:pPr algn="ctr">
                    <a:defRPr lang="zh-CN" sz="1100" b="0" i="0" u="none" strike="noStrike" kern="1200" baseline="0">
                      <a:solidFill>
                        <a:schemeClr val="accent2"/>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accent2"/>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KPC组
（n=147）</c:v>
                </c:pt>
                <c:pt idx="1">
                  <c:v>   
   MBL组
（n=118）</c:v>
                </c:pt>
                <c:pt idx="2">
                  <c:v>
KPC+MBL组
（n=23）</c:v>
                </c:pt>
                <c:pt idx="3">
                  <c:v>  
  非CP组
（n=24）</c:v>
                </c:pt>
                <c:pt idx="4">
                  <c:v> 
总体分离株
（n=312）</c:v>
                </c:pt>
              </c:strCache>
            </c:strRef>
          </c:cat>
          <c:val>
            <c:numRef>
              <c:f>Sheet1!$B$2:$B$6</c:f>
              <c:numCache>
                <c:formatCode>0.0%</c:formatCode>
                <c:ptCount val="5"/>
                <c:pt idx="0">
                  <c:v>0</c:v>
                </c:pt>
                <c:pt idx="1">
                  <c:v>0</c:v>
                </c:pt>
                <c:pt idx="2">
                  <c:v>0</c:v>
                </c:pt>
                <c:pt idx="3">
                  <c:v>0</c:v>
                </c:pt>
                <c:pt idx="4">
                  <c:v>0</c:v>
                </c:pt>
              </c:numCache>
            </c:numRef>
          </c:val>
        </c:ser>
        <c:ser>
          <c:idx val="1"/>
          <c:order val="1"/>
          <c:tx>
            <c:strRef>
              <c:f>Sheet1!$C$1</c:f>
              <c:strCache>
                <c:ptCount val="1"/>
                <c:pt idx="0">
                  <c:v>ATM</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KPC组
（n=147）</c:v>
                </c:pt>
                <c:pt idx="1">
                  <c:v>   
   MBL组
（n=118）</c:v>
                </c:pt>
                <c:pt idx="2">
                  <c:v>
KPC+MBL组
（n=23）</c:v>
                </c:pt>
                <c:pt idx="3">
                  <c:v>  
  非CP组
（n=24）</c:v>
                </c:pt>
                <c:pt idx="4">
                  <c:v> 
总体分离株
（n=312）</c:v>
                </c:pt>
              </c:strCache>
            </c:strRef>
          </c:cat>
          <c:val>
            <c:numRef>
              <c:f>Sheet1!$C$2:$C$6</c:f>
              <c:numCache>
                <c:formatCode>0.0%</c:formatCode>
                <c:ptCount val="5"/>
                <c:pt idx="0">
                  <c:v>1</c:v>
                </c:pt>
                <c:pt idx="1">
                  <c:v>0.788</c:v>
                </c:pt>
                <c:pt idx="2">
                  <c:v>1</c:v>
                </c:pt>
                <c:pt idx="3">
                  <c:v>0.792</c:v>
                </c:pt>
                <c:pt idx="4">
                  <c:v>0.904</c:v>
                </c:pt>
              </c:numCache>
            </c:numRef>
          </c:val>
        </c:ser>
        <c:dLbls>
          <c:showLegendKey val="0"/>
          <c:showVal val="1"/>
          <c:showCatName val="0"/>
          <c:showSerName val="0"/>
          <c:showPercent val="0"/>
          <c:showBubbleSize val="0"/>
        </c:dLbls>
        <c:gapWidth val="131"/>
        <c:overlap val="-99"/>
        <c:axId val="919634992"/>
        <c:axId val="919635552"/>
      </c:barChart>
      <c:catAx>
        <c:axId val="919634992"/>
        <c:scaling>
          <c:orientation val="minMax"/>
        </c:scaling>
        <c:delete val="0"/>
        <c:axPos val="b"/>
        <c:numFmt formatCode="General" sourceLinked="1"/>
        <c:majorTickMark val="out"/>
        <c:minorTickMark val="none"/>
        <c:tickLblPos val="nextTo"/>
        <c:spPr>
          <a:noFill/>
          <a:ln w="9525" cap="flat" cmpd="sng" algn="ctr">
            <a:solidFill>
              <a:sysClr val="window" lastClr="FFFFFF">
                <a:lumMod val="50000"/>
              </a:sysClr>
            </a:solidFill>
            <a:round/>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919635552"/>
        <c:crosses val="autoZero"/>
        <c:auto val="1"/>
        <c:lblAlgn val="ctr"/>
        <c:lblOffset val="100"/>
        <c:tickLblSkip val="1"/>
        <c:noMultiLvlLbl val="0"/>
      </c:catAx>
      <c:valAx>
        <c:axId val="919635552"/>
        <c:scaling>
          <c:orientation val="minMax"/>
          <c:max val="1"/>
          <c:min val="0"/>
        </c:scaling>
        <c:delete val="0"/>
        <c:axPos val="l"/>
        <c:title>
          <c:tx>
            <c:rich>
              <a:bodyPr rot="-54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sz="1100"/>
                  <a:t>耐药率</a:t>
                </a:r>
                <a:endParaRPr lang="en-US" sz="1100"/>
              </a:p>
            </c:rich>
          </c:tx>
          <c:layout>
            <c:manualLayout>
              <c:xMode val="edge"/>
              <c:yMode val="edge"/>
              <c:x val="0"/>
              <c:y val="0.501531550280232"/>
            </c:manualLayout>
          </c:layout>
          <c:overlay val="0"/>
          <c:spPr>
            <a:noFill/>
            <a:ln>
              <a:noFill/>
            </a:ln>
            <a:effectLst/>
          </c:spPr>
        </c:title>
        <c:numFmt formatCode="0.0%" sourceLinked="1"/>
        <c:majorTickMark val="out"/>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91963499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56f19147-dcc1-4b63-bd98-d5cdf0a020e3}"/>
      </c:ext>
    </c:extLst>
  </c:chart>
  <c:spPr>
    <a:noFill/>
    <a:ln>
      <a:noFill/>
    </a:ln>
    <a:effectLst/>
  </c:spPr>
  <c:txPr>
    <a:bodyPr/>
    <a:lstStyle/>
    <a:p>
      <a:pPr>
        <a:defRPr lang="zh-CN" sz="1000">
          <a:latin typeface="Pfizer Tomorrow" charset="0"/>
          <a:ea typeface="微软雅黑" panose="020B0503020204020204" charset="-122"/>
          <a:cs typeface="+mn-ea"/>
          <a:sym typeface="Pfizer Tomorrow" charset="0"/>
        </a:defRPr>
      </a:pP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79164082848"/>
          <c:y val="0.137404580152672"/>
          <c:w val="0.836735706312787"/>
          <c:h val="0.68871925360475"/>
        </c:manualLayout>
      </c:layout>
      <c:barChart>
        <c:barDir val="col"/>
        <c:grouping val="clustered"/>
        <c:varyColors val="0"/>
        <c:ser>
          <c:idx val="0"/>
          <c:order val="0"/>
          <c:tx>
            <c:strRef>
              <c:f>Sheet1!$B$1</c:f>
              <c:strCache>
                <c:ptCount val="1"/>
                <c:pt idx="0">
                  <c:v>系列 1</c:v>
                </c:pt>
              </c:strCache>
            </c:strRef>
          </c:tx>
          <c:spPr>
            <a:solidFill>
              <a:srgbClr val="00C987"/>
            </a:solidFill>
            <a:ln>
              <a:noFill/>
            </a:ln>
            <a:effectLst/>
          </c:spPr>
          <c:invertIfNegative val="0"/>
          <c:dPt>
            <c:idx val="0"/>
            <c:invertIfNegative val="0"/>
            <c:bubble3D val="0"/>
            <c:spPr>
              <a:solidFill>
                <a:srgbClr val="00C987"/>
              </a:solidFill>
              <a:ln>
                <a:noFill/>
              </a:ln>
              <a:effectLst/>
            </c:spPr>
          </c:dPt>
          <c:dPt>
            <c:idx val="1"/>
            <c:invertIfNegative val="0"/>
            <c:bubble3D val="0"/>
            <c:spPr>
              <a:solidFill>
                <a:srgbClr val="00C987"/>
              </a:solidFill>
              <a:ln>
                <a:noFill/>
              </a:ln>
              <a:effectLst/>
            </c:spPr>
          </c:dPt>
          <c:dPt>
            <c:idx val="2"/>
            <c:invertIfNegative val="0"/>
            <c:bubble3D val="0"/>
            <c:spPr>
              <a:solidFill>
                <a:srgbClr val="00C987"/>
              </a:solidFill>
              <a:ln>
                <a:noFill/>
              </a:ln>
              <a:effectLst/>
            </c:spPr>
          </c:dPt>
          <c:dPt>
            <c:idx val="3"/>
            <c:invertIfNegative val="0"/>
            <c:bubble3D val="0"/>
            <c:spPr>
              <a:solidFill>
                <a:srgbClr val="00C987"/>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BL-CRE_x000b_（347株）</c:v>
                </c:pt>
                <c:pt idx="1">
                  <c:v>OXA-48 CRE_x000b_（205株）</c:v>
                </c:pt>
                <c:pt idx="2">
                  <c:v>KPC-CRE_x000b_（473株）</c:v>
                </c:pt>
                <c:pt idx="3">
                  <c:v>总CRE
  (1098株）</c:v>
                </c:pt>
              </c:strCache>
            </c:strRef>
          </c:cat>
          <c:val>
            <c:numRef>
              <c:f>Sheet1!$B$2:$B$5</c:f>
              <c:numCache>
                <c:formatCode>0.0%</c:formatCode>
                <c:ptCount val="4"/>
                <c:pt idx="0">
                  <c:v>1</c:v>
                </c:pt>
                <c:pt idx="1">
                  <c:v>1</c:v>
                </c:pt>
                <c:pt idx="2">
                  <c:v>0.998</c:v>
                </c:pt>
                <c:pt idx="3">
                  <c:v>0.996</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500" b="1" i="0" u="none" strike="noStrike" kern="1200" baseline="0">
                <a:solidFill>
                  <a:schemeClr val="tx1"/>
                </a:solidFill>
                <a:latin typeface="+mn-lt"/>
                <a:ea typeface="+mn-ea"/>
                <a:cs typeface="+mn-ea"/>
                <a:sym typeface="+mn-lt"/>
              </a:defRPr>
            </a:pPr>
          </a:p>
        </c:txPr>
        <c:crossAx val="1433231951"/>
        <c:crosses val="autoZero"/>
        <c:auto val="1"/>
        <c:lblAlgn val="ctr"/>
        <c:lblOffset val="100"/>
        <c:noMultiLvlLbl val="0"/>
      </c:catAx>
      <c:valAx>
        <c:axId val="1433231951"/>
        <c:scaling>
          <c:orientation val="minMax"/>
          <c:max val="1"/>
          <c:min val="0"/>
        </c:scaling>
        <c:delete val="0"/>
        <c:axPos val="l"/>
        <c:title>
          <c:tx>
            <c:rich>
              <a:bodyPr rot="-54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r>
                  <a:rPr lang="zh-CN" altLang="en-US" sz="1100" dirty="0"/>
                  <a:t>敏感率</a:t>
                </a:r>
                <a:endParaRPr lang="zh-CN" sz="1100" dirty="0"/>
              </a:p>
            </c:rich>
          </c:tx>
          <c:layout>
            <c:manualLayout>
              <c:xMode val="edge"/>
              <c:yMode val="edge"/>
              <c:x val="0.00107812567047616"/>
              <c:y val="0.308561394097126"/>
            </c:manualLayout>
          </c:layout>
          <c:overlay val="0"/>
          <c:spPr>
            <a:noFill/>
            <a:ln>
              <a:noFill/>
            </a:ln>
            <a:effectLst/>
          </c:spPr>
        </c:title>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1433230031"/>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4665ae6d-5ca4-40c3-ab19-4feb16ceb509}"/>
      </c:ext>
    </c:extLst>
  </c:chart>
  <c:spPr>
    <a:noFill/>
    <a:ln>
      <a:noFill/>
    </a:ln>
    <a:effectLst/>
  </c:spPr>
  <c:txPr>
    <a:bodyPr/>
    <a:lstStyle/>
    <a:p>
      <a:pPr>
        <a:defRPr lang="zh-CN" sz="1100">
          <a:latin typeface="+mn-lt"/>
          <a:ea typeface="+mn-ea"/>
          <a:cs typeface="+mn-ea"/>
          <a:sym typeface="+mn-lt"/>
        </a:defRPr>
      </a:pP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5537254043"/>
          <c:y val="0.137395223822415"/>
          <c:w val="0.822182905756257"/>
          <c:h val="0.52984446521188"/>
        </c:manualLayout>
      </c:layout>
      <c:barChart>
        <c:barDir val="col"/>
        <c:grouping val="clustered"/>
        <c:varyColors val="0"/>
        <c:ser>
          <c:idx val="0"/>
          <c:order val="0"/>
          <c:tx>
            <c:strRef>
              <c:f>Sheet1!$B$1</c:f>
              <c:strCache>
                <c:ptCount val="1"/>
                <c:pt idx="0">
                  <c:v>系列 1</c:v>
                </c:pt>
              </c:strCache>
            </c:strRef>
          </c:tx>
          <c:spPr>
            <a:solidFill>
              <a:srgbClr val="00C987"/>
            </a:solidFill>
            <a:ln>
              <a:noFill/>
            </a:ln>
            <a:effectLst/>
          </c:spPr>
          <c:invertIfNegative val="0"/>
          <c:dPt>
            <c:idx val="0"/>
            <c:invertIfNegative val="0"/>
            <c:bubble3D val="0"/>
            <c:spPr>
              <a:solidFill>
                <a:srgbClr val="00C987"/>
              </a:solidFill>
              <a:ln>
                <a:noFill/>
              </a:ln>
              <a:effectLst/>
            </c:spPr>
          </c:dPt>
          <c:dPt>
            <c:idx val="1"/>
            <c:invertIfNegative val="0"/>
            <c:bubble3D val="0"/>
            <c:spPr>
              <a:solidFill>
                <a:srgbClr val="00C987"/>
              </a:solidFill>
              <a:ln>
                <a:noFill/>
              </a:ln>
              <a:effectLst/>
            </c:spPr>
          </c:dPt>
          <c:dPt>
            <c:idx val="2"/>
            <c:invertIfNegative val="0"/>
            <c:bubble3D val="0"/>
            <c:spPr>
              <a:solidFill>
                <a:srgbClr val="00C987"/>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多黏菌素-R(＞2mgL)
     （292株)</c:v>
                </c:pt>
                <c:pt idx="1">
                  <c:v>替加环素-NS(＞0.5mgL)
        (515株)</c:v>
                </c:pt>
                <c:pt idx="2">
                  <c:v>CZA-R(＞8mgL)
        (349株)</c:v>
                </c:pt>
              </c:strCache>
            </c:strRef>
          </c:cat>
          <c:val>
            <c:numRef>
              <c:f>Sheet1!$B$2:$B$4</c:f>
              <c:numCache>
                <c:formatCode>0.0%</c:formatCode>
                <c:ptCount val="3"/>
                <c:pt idx="0">
                  <c:v>0.997</c:v>
                </c:pt>
                <c:pt idx="1">
                  <c:v>0.996</c:v>
                </c:pt>
                <c:pt idx="2">
                  <c:v>0.989</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p>
        </c:txPr>
        <c:crossAx val="1433231951"/>
        <c:crosses val="autoZero"/>
        <c:auto val="1"/>
        <c:lblAlgn val="ctr"/>
        <c:lblOffset val="100"/>
        <c:noMultiLvlLbl val="0"/>
      </c:catAx>
      <c:valAx>
        <c:axId val="1433231951"/>
        <c:scaling>
          <c:orientation val="minMax"/>
          <c:max val="1"/>
          <c:min val="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ea"/>
                    <a:sym typeface="+mn-lt"/>
                  </a:defRPr>
                </a:pPr>
                <a:r>
                  <a:rPr lang="zh-CN" altLang="en-US" dirty="0"/>
                  <a:t>敏感率</a:t>
                </a:r>
                <a:endParaRPr lang="zh-CN" dirty="0"/>
              </a:p>
            </c:rich>
          </c:tx>
          <c:layout>
            <c:manualLayout>
              <c:xMode val="edge"/>
              <c:yMode val="edge"/>
              <c:x val="0.00789018651647408"/>
              <c:y val="0.308561394097126"/>
            </c:manualLayout>
          </c:layout>
          <c:overlay val="0"/>
          <c:spPr>
            <a:noFill/>
            <a:ln>
              <a:noFill/>
            </a:ln>
            <a:effectLst/>
          </c:spPr>
        </c:title>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1433230031"/>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55506319-2ec0-484d-80db-0d7ca5196311}"/>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527493615288"/>
          <c:y val="0.146452777987684"/>
          <c:w val="0.82257066204109"/>
          <c:h val="0.64489534064219"/>
        </c:manualLayout>
      </c:layout>
      <c:barChart>
        <c:barDir val="col"/>
        <c:grouping val="clustered"/>
        <c:varyColors val="0"/>
        <c:ser>
          <c:idx val="0"/>
          <c:order val="0"/>
          <c:tx>
            <c:strRef>
              <c:f>Sheet1!$B$1</c:f>
              <c:strCache>
                <c:ptCount val="1"/>
                <c:pt idx="0">
                  <c:v>氨曲南-阿维巴坦±甲硝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B$2:$B$4</c:f>
              <c:numCache>
                <c:formatCode>General</c:formatCode>
                <c:ptCount val="3"/>
                <c:pt idx="0">
                  <c:v>68.4</c:v>
                </c:pt>
                <c:pt idx="1">
                  <c:v>76.4</c:v>
                </c:pt>
                <c:pt idx="2">
                  <c:v>45.9</c:v>
                </c:pt>
              </c:numCache>
            </c:numRef>
          </c:val>
        </c:ser>
        <c:ser>
          <c:idx val="1"/>
          <c:order val="1"/>
          <c:tx>
            <c:strRef>
              <c:f>Sheet1!$C$1</c:f>
              <c:strCache>
                <c:ptCount val="1"/>
                <c:pt idx="0">
                  <c:v>美罗培南±多黏菌素E</c:v>
                </c:pt>
              </c:strCache>
            </c:strRef>
          </c:tx>
          <c:spPr>
            <a:solidFill>
              <a:schemeClr val="bg1">
                <a:lumMod val="75000"/>
              </a:schemeClr>
            </a:solidFill>
            <a:ln>
              <a:noFill/>
            </a:ln>
            <a:effectLst/>
          </c:spPr>
          <c:invertIfNegative val="0"/>
          <c:dLbls>
            <c:numFmt formatCode="#,##0.0;[Red]#,##0.0"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C$2:$C$4</c:f>
              <c:numCache>
                <c:formatCode>General</c:formatCode>
                <c:ptCount val="3"/>
                <c:pt idx="0">
                  <c:v>65.7</c:v>
                </c:pt>
                <c:pt idx="1">
                  <c:v>74</c:v>
                </c:pt>
                <c:pt idx="2">
                  <c:v>41.7</c:v>
                </c:pt>
              </c:numCache>
            </c:numRef>
          </c:val>
        </c:ser>
        <c:dLbls>
          <c:showLegendKey val="0"/>
          <c:showVal val="0"/>
          <c:showCatName val="0"/>
          <c:showSerName val="0"/>
          <c:showPercent val="0"/>
          <c:showBubbleSize val="0"/>
        </c:dLbls>
        <c:gapWidth val="207"/>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523082768"/>
        <c:crosses val="autoZero"/>
        <c:auto val="1"/>
        <c:lblAlgn val="ctr"/>
        <c:lblOffset val="100"/>
        <c:noMultiLvlLbl val="0"/>
      </c:catAx>
      <c:valAx>
        <c:axId val="523082768"/>
        <c:scaling>
          <c:orientation val="minMax"/>
          <c:max val="10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r>
                  <a:rPr lang="zh-CN"/>
                  <a:t>临床治愈率（</a:t>
                </a:r>
                <a:r>
                  <a:rPr lang="en-US"/>
                  <a:t>%</a:t>
                </a:r>
                <a:r>
                  <a:rPr lang="zh-CN"/>
                  <a:t>）</a:t>
                </a:r>
                <a:endParaRPr lang="zh-CN"/>
              </a:p>
            </c:rich>
          </c:tx>
          <c:layout/>
          <c:overlay val="0"/>
          <c:spPr>
            <a:noFill/>
            <a:ln>
              <a:noFill/>
            </a:ln>
            <a:effectLst/>
          </c:spPr>
        </c:title>
        <c:numFmt formatCode="#,##0.0_);[Red]\(#,##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215091472"/>
        <c:crosses val="autoZero"/>
        <c:crossBetween val="between"/>
        <c:majorUnit val="20"/>
      </c:valAx>
      <c:spPr>
        <a:noFill/>
        <a:ln>
          <a:noFill/>
        </a:ln>
        <a:effectLst/>
      </c:spPr>
    </c:plotArea>
    <c:legend>
      <c:legendPos val="r"/>
      <c:layout>
        <c:manualLayout>
          <c:xMode val="edge"/>
          <c:yMode val="edge"/>
          <c:x val="0.632429844160748"/>
          <c:y val="0.0923735073723431"/>
          <c:w val="0.346997457357874"/>
          <c:h val="0.14934372961444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legend>
    <c:plotVisOnly val="1"/>
    <c:dispBlanksAs val="gap"/>
    <c:showDLblsOverMax val="0"/>
    <c:extLst>
      <c:ext uri="{0b15fc19-7d7d-44ad-8c2d-2c3a37ce22c3}">
        <chartProps xmlns="https://web.wps.cn/et/2018/main" chartId="{f342b9dc-51d5-42b0-a759-251cdb4c1f2a}"/>
      </c:ext>
    </c:extLst>
  </c:chart>
  <c:spPr>
    <a:noFill/>
    <a:ln>
      <a:noFill/>
    </a:ln>
    <a:effectLst/>
  </c:spPr>
  <c:txPr>
    <a:bodyPr/>
    <a:lstStyle/>
    <a:p>
      <a:pPr>
        <a:defRPr lang="zh-CN">
          <a:latin typeface="Pfizer Tomorrow" charset="0"/>
          <a:ea typeface="微软雅黑" panose="020B0503020204020204" charset="-122"/>
          <a:sym typeface="Pfizer Tomorrow" charset="0"/>
        </a:defRPr>
      </a:pP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029847793966"/>
          <c:y val="0.146452777987684"/>
          <c:w val="0.811068307862412"/>
          <c:h val="0.64489534064219"/>
        </c:manualLayout>
      </c:layout>
      <c:barChart>
        <c:barDir val="col"/>
        <c:grouping val="clustered"/>
        <c:varyColors val="0"/>
        <c:ser>
          <c:idx val="0"/>
          <c:order val="0"/>
          <c:tx>
            <c:strRef>
              <c:f>Sheet1!$B$1</c:f>
              <c:strCache>
                <c:ptCount val="1"/>
                <c:pt idx="0">
                  <c:v>氨曲南-阿维巴坦±甲硝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B$2:$B$4</c:f>
              <c:numCache>
                <c:formatCode>0.0_ </c:formatCode>
                <c:ptCount val="3"/>
                <c:pt idx="0">
                  <c:v>77</c:v>
                </c:pt>
                <c:pt idx="1" c:formatCode="General">
                  <c:v>85.1</c:v>
                </c:pt>
                <c:pt idx="2" c:formatCode="General">
                  <c:v>46.7</c:v>
                </c:pt>
              </c:numCache>
            </c:numRef>
          </c:val>
        </c:ser>
        <c:ser>
          <c:idx val="1"/>
          <c:order val="1"/>
          <c:tx>
            <c:strRef>
              <c:f>Sheet1!$C$1</c:f>
              <c:strCache>
                <c:ptCount val="1"/>
                <c:pt idx="0">
                  <c:v>美罗培南±多黏菌素E</c:v>
                </c:pt>
              </c:strCache>
            </c:strRef>
          </c:tx>
          <c:spPr>
            <a:solidFill>
              <a:schemeClr val="bg1">
                <a:lumMod val="75000"/>
              </a:schemeClr>
            </a:solidFill>
            <a:ln>
              <a:noFill/>
            </a:ln>
            <a:effectLst/>
          </c:spPr>
          <c:invertIfNegative val="0"/>
          <c:dLbls>
            <c:numFmt formatCode="#,##0.0;[Red]#,##0.0"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C$2:$C$4</c:f>
              <c:numCache>
                <c:formatCode>General</c:formatCode>
                <c:ptCount val="3"/>
                <c:pt idx="0">
                  <c:v>74.3</c:v>
                </c:pt>
                <c:pt idx="1">
                  <c:v>79.5</c:v>
                </c:pt>
                <c:pt idx="2">
                  <c:v>54.5</c:v>
                </c:pt>
              </c:numCache>
            </c:numRef>
          </c:val>
        </c:ser>
        <c:dLbls>
          <c:showLegendKey val="0"/>
          <c:showVal val="0"/>
          <c:showCatName val="0"/>
          <c:showSerName val="0"/>
          <c:showPercent val="0"/>
          <c:showBubbleSize val="0"/>
        </c:dLbls>
        <c:gapWidth val="207"/>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523082768"/>
        <c:crosses val="autoZero"/>
        <c:auto val="1"/>
        <c:lblAlgn val="ctr"/>
        <c:lblOffset val="100"/>
        <c:noMultiLvlLbl val="0"/>
      </c:catAx>
      <c:valAx>
        <c:axId val="523082768"/>
        <c:scaling>
          <c:orientation val="minMax"/>
          <c:max val="10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r>
                  <a:rPr lang="zh-CN"/>
                  <a:t>临床治愈率（</a:t>
                </a:r>
                <a:r>
                  <a:rPr lang="en-US"/>
                  <a:t>%</a:t>
                </a:r>
                <a:r>
                  <a:rPr lang="zh-CN"/>
                  <a:t>）</a:t>
                </a:r>
                <a:endParaRPr lang="zh-CN"/>
              </a:p>
            </c:rich>
          </c:tx>
          <c:layout/>
          <c:overlay val="0"/>
          <c:spPr>
            <a:noFill/>
            <a:ln>
              <a:noFill/>
            </a:ln>
            <a:effectLst/>
          </c:spPr>
        </c:title>
        <c:numFmt formatCode="#,##0.0_);[Red]\(#,##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215091472"/>
        <c:crosses val="autoZero"/>
        <c:crossBetween val="between"/>
        <c:majorUnit val="20"/>
      </c:valAx>
      <c:spPr>
        <a:noFill/>
        <a:ln>
          <a:noFill/>
        </a:ln>
        <a:effectLst/>
      </c:spPr>
    </c:plotArea>
    <c:legend>
      <c:legendPos val="r"/>
      <c:layout>
        <c:manualLayout>
          <c:xMode val="edge"/>
          <c:yMode val="edge"/>
          <c:x val="0.632429844160748"/>
          <c:y val="0.0923735073723431"/>
          <c:w val="0.346997457357874"/>
          <c:h val="0.14934372961444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legend>
    <c:plotVisOnly val="1"/>
    <c:dispBlanksAs val="gap"/>
    <c:showDLblsOverMax val="0"/>
    <c:extLst>
      <c:ext uri="{0b15fc19-7d7d-44ad-8c2d-2c3a37ce22c3}">
        <chartProps xmlns="https://web.wps.cn/et/2018/main" chartId="{743e89a1-a9a1-4090-a68e-e72ed7712227}"/>
      </c:ext>
    </c:extLst>
  </c:chart>
  <c:spPr>
    <a:noFill/>
    <a:ln>
      <a:noFill/>
    </a:ln>
    <a:effectLst/>
  </c:spPr>
  <c:txPr>
    <a:bodyPr/>
    <a:lstStyle/>
    <a:p>
      <a:pPr>
        <a:defRPr lang="zh-CN">
          <a:latin typeface="Pfizer Tomorrow" charset="0"/>
          <a:ea typeface="微软雅黑" panose="020B0503020204020204" charset="-122"/>
          <a:sym typeface="Pfizer Tomorrow" charset="0"/>
        </a:defRPr>
      </a:pP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43725854493"/>
          <c:y val="0.10118649827264"/>
          <c:w val="0.739484512411574"/>
          <c:h val="0.692448737152007"/>
        </c:manualLayout>
      </c:layout>
      <c:barChart>
        <c:barDir val="col"/>
        <c:grouping val="clustered"/>
        <c:varyColors val="0"/>
        <c:ser>
          <c:idx val="0"/>
          <c:order val="0"/>
          <c:tx>
            <c:strRef>
              <c:f>Sheet1!$B$1</c:f>
              <c:strCache>
                <c:ptCount val="1"/>
                <c:pt idx="0">
                  <c:v>氨曲南-阿维巴坦</c:v>
                </c:pt>
              </c:strCache>
            </c:strRef>
          </c:tx>
          <c:spPr>
            <a:solidFill>
              <a:schemeClr val="accent2"/>
            </a:solidFill>
            <a:ln>
              <a:noFill/>
            </a:ln>
            <a:effectLst/>
          </c:spPr>
          <c:invertIfNegative val="0"/>
          <c:dPt>
            <c:idx val="0"/>
            <c:invertIfNegative val="0"/>
            <c:bubble3D val="0"/>
            <c:spPr>
              <a:solidFill>
                <a:schemeClr val="accent2"/>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氨曲南/阿维巴坦</c:v>
                </c:pt>
                <c:pt idx="1">
                  <c:v>最佳可用疗法</c:v>
                </c:pt>
              </c:strCache>
            </c:strRef>
          </c:cat>
          <c:val>
            <c:numRef>
              <c:f>Sheet1!$B$2:$B$3</c:f>
              <c:numCache>
                <c:formatCode>0.0%</c:formatCode>
                <c:ptCount val="2"/>
                <c:pt idx="0">
                  <c:v>0.417</c:v>
                </c:pt>
                <c:pt idx="1">
                  <c:v>0</c:v>
                </c:pt>
              </c:numCache>
            </c:numRef>
          </c:val>
        </c:ser>
        <c:dLbls>
          <c:showLegendKey val="0"/>
          <c:showVal val="0"/>
          <c:showCatName val="0"/>
          <c:showSerName val="0"/>
          <c:showPercent val="0"/>
          <c:showBubbleSize val="0"/>
        </c:dLbls>
        <c:gapWidth val="20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523082768"/>
        <c:crosses val="autoZero"/>
        <c:auto val="1"/>
        <c:lblAlgn val="ctr"/>
        <c:lblOffset val="100"/>
        <c:noMultiLvlLbl val="0"/>
      </c:catAx>
      <c:valAx>
        <c:axId val="523082768"/>
        <c:scaling>
          <c:orientation val="minMax"/>
          <c:max val="0.6"/>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a:t>临床治愈率（</a:t>
                </a:r>
                <a:r>
                  <a:rPr lang="en-US"/>
                  <a:t>%</a:t>
                </a:r>
                <a:r>
                  <a:rPr lang="zh-CN"/>
                  <a:t>）</a:t>
                </a:r>
                <a:endParaRPr lang="zh-CN"/>
              </a:p>
            </c:rich>
          </c:tx>
          <c:layout/>
          <c:overlay val="0"/>
          <c:spPr>
            <a:noFill/>
            <a:ln>
              <a:noFill/>
            </a:ln>
            <a:effectLst/>
          </c:spPr>
        </c:title>
        <c:numFmt formatCode="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121509147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2b1c9a24-c513-43c4-87c3-1cf004675f60}"/>
      </c:ext>
    </c:extLst>
  </c:chart>
  <c:spPr>
    <a:noFill/>
    <a:ln>
      <a:noFill/>
    </a:ln>
    <a:effectLst/>
  </c:spPr>
  <c:txPr>
    <a:bodyPr/>
    <a:lstStyle/>
    <a:p>
      <a:pPr>
        <a:defRPr lang="zh-CN">
          <a:latin typeface="Pfizer Tomorrow" charset="0"/>
          <a:ea typeface="微软雅黑" panose="020B0503020204020204" charset="-122"/>
          <a:cs typeface="+mn-ea"/>
          <a:sym typeface="Pfizer Tomorrow" charset="0"/>
        </a:defRPr>
      </a:pP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43725854493"/>
          <c:y val="0.10118649827264"/>
          <c:w val="0.739484512411574"/>
          <c:h val="0.692448737152007"/>
        </c:manualLayout>
      </c:layout>
      <c:barChart>
        <c:barDir val="col"/>
        <c:grouping val="clustered"/>
        <c:varyColors val="0"/>
        <c:ser>
          <c:idx val="0"/>
          <c:order val="0"/>
          <c:tx>
            <c:strRef>
              <c:f>Sheet1!$B$1</c:f>
              <c:strCache>
                <c:ptCount val="1"/>
                <c:pt idx="0">
                  <c:v>氨曲南-阿维巴坦</c:v>
                </c:pt>
              </c:strCache>
            </c:strRef>
          </c:tx>
          <c:spPr>
            <a:solidFill>
              <a:srgbClr val="00C987"/>
            </a:solidFill>
            <a:ln>
              <a:noFill/>
            </a:ln>
            <a:effectLst/>
          </c:spPr>
          <c:invertIfNegative val="0"/>
          <c:dPt>
            <c:idx val="0"/>
            <c:invertIfNegative val="0"/>
            <c:bubble3D val="0"/>
            <c:spPr>
              <a:solidFill>
                <a:schemeClr val="accent2"/>
              </a:solidFill>
              <a:ln>
                <a:noFill/>
              </a:ln>
              <a:effectLst/>
            </c:spPr>
          </c:dPt>
          <c:dPt>
            <c:idx val="1"/>
            <c:invertIfNegative val="0"/>
            <c:bubble3D val="0"/>
            <c:spPr>
              <a:solidFill>
                <a:schemeClr val="bg1">
                  <a:lumMod val="75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氨曲南/阿维巴坦</c:v>
                </c:pt>
                <c:pt idx="1">
                  <c:v>最佳可用疗法</c:v>
                </c:pt>
              </c:strCache>
            </c:strRef>
          </c:cat>
          <c:val>
            <c:numRef>
              <c:f>Sheet1!$B$2:$B$3</c:f>
              <c:numCache>
                <c:formatCode>0.0%</c:formatCode>
                <c:ptCount val="2"/>
                <c:pt idx="0">
                  <c:v>0.083</c:v>
                </c:pt>
                <c:pt idx="1">
                  <c:v>0.333</c:v>
                </c:pt>
              </c:numCache>
            </c:numRef>
          </c:val>
        </c:ser>
        <c:dLbls>
          <c:showLegendKey val="0"/>
          <c:showVal val="0"/>
          <c:showCatName val="0"/>
          <c:showSerName val="0"/>
          <c:showPercent val="0"/>
          <c:showBubbleSize val="0"/>
        </c:dLbls>
        <c:gapWidth val="20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523082768"/>
        <c:crosses val="autoZero"/>
        <c:auto val="1"/>
        <c:lblAlgn val="ctr"/>
        <c:lblOffset val="100"/>
        <c:noMultiLvlLbl val="0"/>
      </c:catAx>
      <c:valAx>
        <c:axId val="523082768"/>
        <c:scaling>
          <c:orientation val="minMax"/>
          <c:max val="0.6"/>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altLang="en-US"/>
                  <a:t>患者比例</a:t>
                </a:r>
                <a:r>
                  <a:rPr lang="zh-CN"/>
                  <a:t>（</a:t>
                </a:r>
                <a:r>
                  <a:rPr lang="en-US"/>
                  <a:t>%</a:t>
                </a:r>
                <a:r>
                  <a:rPr lang="zh-CN"/>
                  <a:t>）</a:t>
                </a:r>
                <a:endParaRPr lang="zh-CN"/>
              </a:p>
            </c:rich>
          </c:tx>
          <c:layout/>
          <c:overlay val="0"/>
          <c:spPr>
            <a:noFill/>
            <a:ln>
              <a:noFill/>
            </a:ln>
            <a:effectLst/>
          </c:spPr>
        </c:title>
        <c:numFmt formatCode="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121509147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7b63bb66-2e2c-4b93-802c-0941d5c21167}"/>
      </c:ext>
    </c:extLst>
  </c:chart>
  <c:spPr>
    <a:noFill/>
    <a:ln>
      <a:noFill/>
    </a:ln>
    <a:effectLst/>
  </c:spPr>
  <c:txPr>
    <a:bodyPr/>
    <a:lstStyle/>
    <a:p>
      <a:pPr>
        <a:defRPr lang="zh-CN">
          <a:latin typeface="Pfizer Tomorrow" charset="0"/>
          <a:ea typeface="微软雅黑" panose="020B0503020204020204" charset="-122"/>
          <a:cs typeface="+mn-ea"/>
          <a:sym typeface="Pfizer Tomorrow"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315259846944"/>
          <c:y val="0.14929000558151"/>
          <c:w val="0.863775212443452"/>
          <c:h val="0.773013473266619"/>
        </c:manualLayout>
      </c:layout>
      <c:barChart>
        <c:barDir val="col"/>
        <c:grouping val="clustered"/>
        <c:varyColors val="0"/>
        <c:ser>
          <c:idx val="0"/>
          <c:order val="0"/>
          <c:tx>
            <c:strRef>
              <c:f>Sheet1!$B$1</c:f>
              <c:strCache>
                <c:ptCount val="1"/>
                <c:pt idx="0">
                  <c:v>系列 1</c:v>
                </c:pt>
              </c:strCache>
            </c:strRef>
          </c:tx>
          <c:spPr>
            <a:solidFill>
              <a:schemeClr val="accent1">
                <a:lumMod val="20000"/>
                <a:lumOff val="80000"/>
              </a:schemeClr>
            </a:solidFill>
            <a:ln>
              <a:noFill/>
            </a:ln>
            <a:effectLst/>
          </c:spPr>
          <c:invertIfNegative val="0"/>
          <c:dPt>
            <c:idx val="0"/>
            <c:invertIfNegative val="0"/>
            <c:bubble3D val="0"/>
            <c:spPr>
              <a:solidFill>
                <a:schemeClr val="accent1">
                  <a:lumMod val="20000"/>
                  <a:lumOff val="80000"/>
                </a:schemeClr>
              </a:solidFill>
              <a:ln>
                <a:noFill/>
              </a:ln>
              <a:effectLst/>
            </c:spPr>
          </c:dPt>
          <c:dPt>
            <c:idx val="1"/>
            <c:invertIfNegative val="0"/>
            <c:bubble3D val="0"/>
            <c:spPr>
              <a:solidFill>
                <a:schemeClr val="accent1">
                  <a:lumMod val="20000"/>
                  <a:lumOff val="80000"/>
                </a:schemeClr>
              </a:solidFill>
              <a:ln>
                <a:noFill/>
              </a:ln>
              <a:effectLst/>
            </c:spPr>
          </c:dPt>
          <c:dPt>
            <c:idx val="2"/>
            <c:invertIfNegative val="0"/>
            <c:bubble3D val="0"/>
            <c:spPr>
              <a:solidFill>
                <a:schemeClr val="accent1"/>
              </a:solidFill>
              <a:ln>
                <a:noFill/>
              </a:ln>
              <a:effectLst/>
            </c:spPr>
          </c:dPt>
          <c:dPt>
            <c:idx val="3"/>
            <c:invertIfNegative val="0"/>
            <c:bubble3D val="0"/>
            <c:spPr>
              <a:solidFill>
                <a:schemeClr val="accent1"/>
              </a:solidFill>
              <a:ln>
                <a:noFill/>
              </a:ln>
              <a:effectLst/>
            </c:spPr>
          </c:dPt>
          <c:dPt>
            <c:idx val="4"/>
            <c:invertIfNegative val="0"/>
            <c:bubble3D val="0"/>
            <c:spPr>
              <a:solidFill>
                <a:schemeClr val="accent1">
                  <a:lumMod val="20000"/>
                  <a:lumOff val="80000"/>
                </a:schemeClr>
              </a:solidFill>
              <a:ln>
                <a:noFill/>
              </a:ln>
              <a:effectLst/>
            </c:spPr>
          </c:dPt>
          <c:dPt>
            <c:idx val="5"/>
            <c:invertIfNegative val="0"/>
            <c:bubble3D val="0"/>
            <c:spPr>
              <a:solidFill>
                <a:schemeClr val="accent1">
                  <a:lumMod val="20000"/>
                  <a:lumOff val="80000"/>
                </a:schemeClr>
              </a:solidFill>
              <a:ln>
                <a:noFill/>
              </a:ln>
              <a:effectLst/>
            </c:spPr>
          </c:dPt>
          <c:dPt>
            <c:idx val="6"/>
            <c:invertIfNegative val="0"/>
            <c:bubble3D val="0"/>
            <c:spPr>
              <a:solidFill>
                <a:schemeClr val="accent1">
                  <a:lumMod val="20000"/>
                  <a:lumOff val="80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鲍曼不动杆菌</c:v>
                </c:pt>
                <c:pt idx="1">
                  <c:v>肺炎克雷伯菌</c:v>
                </c:pt>
                <c:pt idx="2">
                  <c:v>金黄色葡萄球菌</c:v>
                </c:pt>
                <c:pt idx="3">
                  <c:v>肠球菌</c:v>
                </c:pt>
                <c:pt idx="4">
                  <c:v>铜绿假单胞菌</c:v>
                </c:pt>
                <c:pt idx="5">
                  <c:v>阴沟肠杆菌</c:v>
                </c:pt>
                <c:pt idx="6">
                  <c:v>大肠埃希菌</c:v>
                </c:pt>
              </c:strCache>
            </c:strRef>
          </c:cat>
          <c:val>
            <c:numRef>
              <c:f>Sheet1!$B$2:$B$8</c:f>
              <c:numCache>
                <c:formatCode>General</c:formatCode>
                <c:ptCount val="7"/>
                <c:pt idx="0">
                  <c:v>51.41</c:v>
                </c:pt>
                <c:pt idx="1">
                  <c:v>17.26</c:v>
                </c:pt>
                <c:pt idx="2" c:formatCode="0.00_ ">
                  <c:v>15.95</c:v>
                </c:pt>
                <c:pt idx="3">
                  <c:v>10.51</c:v>
                </c:pt>
                <c:pt idx="4">
                  <c:v>2.44</c:v>
                </c:pt>
                <c:pt idx="5">
                  <c:v>1.88</c:v>
                </c:pt>
                <c:pt idx="6">
                  <c:v>0.56</c:v>
                </c:pt>
              </c:numCache>
            </c:numRef>
          </c:val>
        </c:ser>
        <c:dLbls>
          <c:showLegendKey val="0"/>
          <c:showVal val="1"/>
          <c:showCatName val="0"/>
          <c:showSerName val="0"/>
          <c:showPercent val="0"/>
          <c:showBubbleSize val="0"/>
        </c:dLbls>
        <c:gapWidth val="138"/>
        <c:overlap val="-27"/>
        <c:axId val="1731674416"/>
        <c:axId val="1731669136"/>
      </c:barChart>
      <c:catAx>
        <c:axId val="1731674416"/>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700" b="0" i="0" u="none" strike="noStrike" kern="1200" baseline="0">
                <a:solidFill>
                  <a:schemeClr val="tx1"/>
                </a:solidFill>
                <a:latin typeface="+mn-lt"/>
                <a:ea typeface="+mn-ea"/>
                <a:cs typeface="+mn-cs"/>
              </a:defRPr>
            </a:pPr>
          </a:p>
        </c:txPr>
        <c:crossAx val="1731669136"/>
        <c:crosses val="autoZero"/>
        <c:auto val="1"/>
        <c:lblAlgn val="ctr"/>
        <c:lblOffset val="100"/>
        <c:noMultiLvlLbl val="0"/>
      </c:catAx>
      <c:valAx>
        <c:axId val="1731669136"/>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r>
                  <a:rPr lang="zh-CN"/>
                  <a:t>比例（</a:t>
                </a:r>
                <a:r>
                  <a:rPr lang="en-US"/>
                  <a:t>%</a:t>
                </a:r>
                <a:r>
                  <a:rPr lang="zh-CN"/>
                  <a:t>）</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731674416"/>
        <c:crosses val="autoZero"/>
        <c:crossBetween val="between"/>
      </c:valAx>
      <c:spPr>
        <a:noFill/>
        <a:ln>
          <a:noFill/>
        </a:ln>
        <a:effectLst/>
      </c:spPr>
    </c:plotArea>
    <c:plotVisOnly val="1"/>
    <c:dispBlanksAs val="gap"/>
    <c:showDLblsOverMax val="0"/>
    <c:extLst>
      <c:ext uri="{0b15fc19-7d7d-44ad-8c2d-2c3a37ce22c3}">
        <chartProps xmlns="https://web.wps.cn/et/2018/main" chartId="{f6b6062c-b7b3-4e6e-a161-1f32feabd957}"/>
      </c:ext>
    </c:extLst>
  </c:chart>
  <c:spPr>
    <a:noFill/>
    <a:ln>
      <a:noFill/>
    </a:ln>
    <a:effectLst/>
  </c:spPr>
  <c:txPr>
    <a:bodyPr/>
    <a:lstStyle/>
    <a:p>
      <a:pPr>
        <a:defRPr lang="zh-CN" sz="1000">
          <a:solidFill>
            <a:schemeClr val="tx1"/>
          </a:solidFill>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007599641761"/>
          <c:y val="0.150800542242253"/>
          <c:w val="0.803992400358239"/>
          <c:h val="0.629919458261152"/>
        </c:manualLayout>
      </c:layout>
      <c:barChart>
        <c:barDir val="col"/>
        <c:grouping val="clustered"/>
        <c:varyColors val="0"/>
        <c:ser>
          <c:idx val="0"/>
          <c:order val="0"/>
          <c:tx>
            <c:strRef>
              <c:f>Sheet1!$B$1</c:f>
              <c:strCache>
                <c:ptCount val="1"/>
                <c:pt idx="0">
                  <c:v>列3</c:v>
                </c:pt>
              </c:strCache>
            </c:strRef>
          </c:tx>
          <c:spPr>
            <a:solidFill>
              <a:srgbClr val="000D45"/>
            </a:solidFill>
            <a:ln>
              <a:noFill/>
            </a:ln>
            <a:effectLst/>
          </c:spPr>
          <c:invertIfNegative val="0"/>
          <c:dPt>
            <c:idx val="1"/>
            <c:invertIfNegative val="0"/>
            <c:bubble3D val="0"/>
            <c:spPr>
              <a:solidFill>
                <a:schemeClr val="bg1">
                  <a:lumMod val="75000"/>
                </a:schemeClr>
              </a:solidFill>
              <a:ln>
                <a:noFill/>
              </a:ln>
              <a:effectLst/>
            </c:spPr>
          </c:dPt>
          <c:dPt>
            <c:idx val="2"/>
            <c:invertIfNegative val="0"/>
            <c:bubble3D val="0"/>
            <c:spPr>
              <a:solidFill>
                <a:schemeClr val="bg1">
                  <a:lumMod val="75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国(CHINET2023)</c:v>
                </c:pt>
                <c:pt idx="1">
                  <c:v>欧洲(ATLAS2018-2022)</c:v>
                </c:pt>
                <c:pt idx="2">
                  <c:v>美国(ATLAS2018-2020)</c:v>
                </c:pt>
              </c:strCache>
            </c:strRef>
          </c:cat>
          <c:val>
            <c:numRef>
              <c:f>Sheet1!$B$2:$B$4</c:f>
              <c:numCache>
                <c:formatCode>0.00%</c:formatCode>
                <c:ptCount val="3"/>
                <c:pt idx="0">
                  <c:v>0.393</c:v>
                </c:pt>
                <c:pt idx="1">
                  <c:v>0.3423</c:v>
                </c:pt>
                <c:pt idx="2">
                  <c:v>0.2312</c:v>
                </c:pt>
              </c:numCache>
            </c:numRef>
          </c:val>
        </c:ser>
        <c:dLbls>
          <c:showLegendKey val="0"/>
          <c:showVal val="0"/>
          <c:showCatName val="0"/>
          <c:showSerName val="0"/>
          <c:showPercent val="0"/>
          <c:showBubbleSize val="0"/>
        </c:dLbls>
        <c:gapWidth val="169"/>
        <c:overlap val="-1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523082768"/>
        <c:crosses val="autoZero"/>
        <c:auto val="1"/>
        <c:lblAlgn val="ctr"/>
        <c:lblOffset val="100"/>
        <c:noMultiLvlLbl val="0"/>
      </c:catAx>
      <c:valAx>
        <c:axId val="523082768"/>
        <c:scaling>
          <c:orientation val="minMax"/>
        </c:scaling>
        <c:delete val="0"/>
        <c:axPos val="l"/>
        <c:title>
          <c:tx>
            <c:rich>
              <a:bodyPr rot="-54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r>
                  <a:rPr lang="zh-CN"/>
                  <a:t>占比</a:t>
                </a:r>
                <a:r>
                  <a:rPr lang="en-US"/>
                  <a:t>%</a:t>
                </a:r>
                <a:endParaRPr lang="zh-CN"/>
              </a:p>
            </c:rich>
          </c:tx>
          <c:layout/>
          <c:overlay val="0"/>
          <c:spPr>
            <a:noFill/>
            <a:ln>
              <a:noFill/>
            </a:ln>
            <a:effectLst/>
          </c:spPr>
        </c:title>
        <c:numFmt formatCode="0.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15091472"/>
        <c:crosses val="autoZero"/>
        <c:crossBetween val="between"/>
      </c:valAx>
      <c:spPr>
        <a:noFill/>
        <a:ln>
          <a:noFill/>
        </a:ln>
        <a:effectLst/>
      </c:spPr>
    </c:plotArea>
    <c:plotVisOnly val="1"/>
    <c:dispBlanksAs val="gap"/>
    <c:showDLblsOverMax val="0"/>
    <c:extLst>
      <c:ext uri="{0b15fc19-7d7d-44ad-8c2d-2c3a37ce22c3}">
        <chartProps xmlns="https://web.wps.cn/et/2018/main" chartId="{8ed8f248-4934-4116-9468-728583599bdc}"/>
      </c:ext>
    </c:extLst>
  </c:chart>
  <c:spPr>
    <a:noFill/>
    <a:ln>
      <a:noFill/>
    </a:ln>
    <a:effectLst/>
  </c:spPr>
  <c:txPr>
    <a:bodyPr/>
    <a:lstStyle/>
    <a:p>
      <a:pPr>
        <a:defRPr lang="zh-CN" sz="1200">
          <a:latin typeface="+mn-lt"/>
          <a:ea typeface="+mn-ea"/>
          <a:cs typeface="+mn-ea"/>
          <a:sym typeface="+mn-lt"/>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190478265143"/>
          <c:y val="0.11845421637841"/>
          <c:w val="0.845883955798411"/>
          <c:h val="0.754519112648299"/>
        </c:manualLayout>
      </c:layout>
      <c:barChart>
        <c:barDir val="col"/>
        <c:grouping val="clustered"/>
        <c:varyColors val="0"/>
        <c:ser>
          <c:idx val="0"/>
          <c:order val="0"/>
          <c:tx>
            <c:strRef>
              <c:f>Sheet1!$B$1</c:f>
              <c:strCache>
                <c:ptCount val="1"/>
                <c:pt idx="0">
                  <c:v>KPC</c:v>
                </c:pt>
              </c:strCache>
            </c:strRef>
          </c:tx>
          <c:spPr>
            <a:solidFill>
              <a:srgbClr val="000D45"/>
            </a:solidFill>
            <a:ln>
              <a:noFill/>
              <a:prstDash val="dash"/>
            </a:ln>
            <a:effectLst/>
          </c:spPr>
          <c:invertIfNegative val="0"/>
          <c:dPt>
            <c:idx val="0"/>
            <c:invertIfNegative val="0"/>
            <c:bubble3D val="0"/>
            <c:spPr>
              <a:solidFill>
                <a:srgbClr val="000D45"/>
              </a:solidFill>
              <a:ln>
                <a:noFill/>
                <a:prstDash val="dash"/>
              </a:ln>
              <a:effectLst/>
            </c:spPr>
          </c:dPt>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B$2:$B$4</c:f>
              <c:numCache>
                <c:formatCode>0.0%</c:formatCode>
                <c:ptCount val="3"/>
                <c:pt idx="0">
                  <c:v>0.216</c:v>
                </c:pt>
                <c:pt idx="1">
                  <c:v>0.858</c:v>
                </c:pt>
                <c:pt idx="2">
                  <c:v>0.1</c:v>
                </c:pt>
              </c:numCache>
            </c:numRef>
          </c:val>
        </c:ser>
        <c:ser>
          <c:idx val="1"/>
          <c:order val="1"/>
          <c:tx>
            <c:strRef>
              <c:f>Sheet1!$C$1</c:f>
              <c:strCache>
                <c:ptCount val="1"/>
                <c:pt idx="0">
                  <c:v>金属酶</c:v>
                </c:pt>
              </c:strCache>
            </c:strRef>
          </c:tx>
          <c:spPr>
            <a:solidFill>
              <a:srgbClr val="00C98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C$2:$C$4</c:f>
              <c:numCache>
                <c:formatCode>0.0%</c:formatCode>
                <c:ptCount val="3"/>
                <c:pt idx="0">
                  <c:v>0.784</c:v>
                </c:pt>
                <c:pt idx="1">
                  <c:v>0.111</c:v>
                </c:pt>
                <c:pt idx="2">
                  <c:v>0.9</c:v>
                </c:pt>
              </c:numCache>
            </c:numRef>
          </c:val>
        </c:ser>
        <c:ser>
          <c:idx val="2"/>
          <c:order val="2"/>
          <c:tx>
            <c:strRef>
              <c:f>Sheet1!$D$1</c:f>
              <c:strCache>
                <c:ptCount val="1"/>
                <c:pt idx="0">
                  <c:v>OXA-48</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D$2:$D$4</c:f>
              <c:numCache>
                <c:formatCode>General</c:formatCode>
                <c:ptCount val="3"/>
                <c:pt idx="1" c:formatCode="0.0%">
                  <c:v>0.003</c:v>
                </c:pt>
              </c:numCache>
            </c:numRef>
          </c:val>
        </c:ser>
        <c:ser>
          <c:idx val="3"/>
          <c:order val="3"/>
          <c:tx>
            <c:strRef>
              <c:f>Sheet1!$E$1</c:f>
              <c:strCache>
                <c:ptCount val="1"/>
                <c:pt idx="0">
                  <c:v>双碳青霉烯酶</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E$2:$E$4</c:f>
              <c:numCache>
                <c:formatCode>General</c:formatCode>
                <c:ptCount val="3"/>
                <c:pt idx="1" c:formatCode="0.0%">
                  <c:v>0.028</c:v>
                </c:pt>
              </c:numCache>
            </c:numRef>
          </c:val>
        </c:ser>
        <c:dLbls>
          <c:showLegendKey val="0"/>
          <c:showVal val="1"/>
          <c:showCatName val="0"/>
          <c:showSerName val="0"/>
          <c:showPercent val="0"/>
          <c:showBubbleSize val="0"/>
        </c:dLbls>
        <c:gapWidth val="150"/>
        <c:overlap val="-50"/>
        <c:axId val="1222267024"/>
        <c:axId val="1222263784"/>
      </c:barChart>
      <c:catAx>
        <c:axId val="1222267024"/>
        <c:scaling>
          <c:orientation val="minMax"/>
        </c:scaling>
        <c:delete val="0"/>
        <c:axPos val="b"/>
        <c:numFmt formatCode="General" sourceLinked="1"/>
        <c:majorTickMark val="none"/>
        <c:minorTickMark val="out"/>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22263784"/>
        <c:crosses val="autoZero"/>
        <c:auto val="1"/>
        <c:lblAlgn val="ctr"/>
        <c:lblOffset val="100"/>
        <c:noMultiLvlLbl val="0"/>
      </c:catAx>
      <c:valAx>
        <c:axId val="1222263784"/>
        <c:scaling>
          <c:orientation val="minMax"/>
          <c:max val="1"/>
        </c:scaling>
        <c:delete val="0"/>
        <c:axPos val="l"/>
        <c:title>
          <c:tx>
            <c:rich>
              <a:bodyPr rot="-5400000" spcFirstLastPara="1" vertOverflow="ellipsis" vert="horz" wrap="square" anchor="ctr" anchorCtr="1"/>
              <a:lstStyle/>
              <a:p>
                <a:pPr>
                  <a:defRPr lang="zh-CN" sz="1050" b="0" i="0" u="none" strike="noStrike" kern="1200" baseline="0">
                    <a:solidFill>
                      <a:schemeClr val="tx1">
                        <a:lumMod val="65000"/>
                        <a:lumOff val="35000"/>
                      </a:schemeClr>
                    </a:solidFill>
                    <a:latin typeface="+mn-lt"/>
                    <a:ea typeface="+mn-ea"/>
                    <a:cs typeface="+mn-ea"/>
                    <a:sym typeface="+mn-lt"/>
                  </a:defRPr>
                </a:pPr>
                <a:r>
                  <a:rPr lang="zh-CN" altLang="en-US" dirty="0"/>
                  <a:t>菌株占比（</a:t>
                </a:r>
                <a:r>
                  <a:rPr lang="en-US" altLang="zh-CN" dirty="0"/>
                  <a:t>%</a:t>
                </a:r>
                <a:r>
                  <a:rPr lang="zh-CN" altLang="en-US" dirty="0"/>
                  <a:t>）</a:t>
                </a:r>
                <a:endParaRPr lang="zh-CN" altLang="en-US" dirty="0"/>
              </a:p>
            </c:rich>
          </c:tx>
          <c:layout>
            <c:manualLayout>
              <c:xMode val="edge"/>
              <c:yMode val="edge"/>
              <c:x val="0"/>
              <c:y val="0.352649898014475"/>
            </c:manualLayout>
          </c:layout>
          <c:overlay val="0"/>
          <c:spPr>
            <a:noFill/>
            <a:ln>
              <a:noFill/>
            </a:ln>
            <a:effectLst/>
          </c:spPr>
        </c:title>
        <c:numFmt formatCode="0.0%" sourceLinked="1"/>
        <c:majorTickMark val="out"/>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22267024"/>
        <c:crosses val="autoZero"/>
        <c:crossBetween val="between"/>
        <c:majorUnit val="0.2"/>
      </c:valAx>
      <c:spPr>
        <a:noFill/>
        <a:ln>
          <a:noFill/>
        </a:ln>
        <a:effectLst/>
      </c:spPr>
    </c:plotArea>
    <c:legend>
      <c:legendPos val="r"/>
      <c:layout>
        <c:manualLayout>
          <c:xMode val="edge"/>
          <c:yMode val="edge"/>
          <c:x val="0.280352840760473"/>
          <c:y val="0.000672835040706212"/>
          <c:w val="0.436326187481121"/>
          <c:h val="0.144249152885806"/>
        </c:manualLayout>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mn-lt"/>
              <a:ea typeface="+mn-ea"/>
              <a:cs typeface="+mn-ea"/>
              <a:sym typeface="+mn-lt"/>
            </a:defRPr>
          </a:pPr>
        </a:p>
      </c:txPr>
    </c:legend>
    <c:plotVisOnly val="1"/>
    <c:dispBlanksAs val="gap"/>
    <c:showDLblsOverMax val="0"/>
    <c:extLst>
      <c:ext uri="{0b15fc19-7d7d-44ad-8c2d-2c3a37ce22c3}">
        <chartProps xmlns="https://web.wps.cn/et/2018/main" chartId="{ccdfaf3a-7c18-4256-b15d-20ebe62c1ef7}"/>
      </c:ext>
    </c:extLst>
  </c:chart>
  <c:spPr>
    <a:noFill/>
    <a:ln>
      <a:noFill/>
    </a:ln>
    <a:effectLst/>
  </c:spPr>
  <c:txPr>
    <a:bodyPr/>
    <a:lstStyle/>
    <a:p>
      <a:pPr>
        <a:defRPr lang="zh-CN" sz="1050">
          <a:latin typeface="+mn-lt"/>
          <a:ea typeface="+mn-ea"/>
          <a:cs typeface="+mn-ea"/>
          <a:sym typeface="+mn-lt"/>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55479663368"/>
          <c:y val="0.101194839869461"/>
          <c:w val="0.874716241004012"/>
          <c:h val="0.723418368411172"/>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dPt>
          <c:dPt>
            <c:idx val="1"/>
            <c:invertIfNegative val="0"/>
            <c:bubble3D val="0"/>
            <c:spPr>
              <a:solidFill>
                <a:schemeClr val="accent2"/>
              </a:solidFill>
              <a:ln>
                <a:noFill/>
              </a:ln>
              <a:effectLst/>
            </c:spPr>
          </c:dPt>
          <c:dPt>
            <c:idx val="2"/>
            <c:invertIfNegative val="0"/>
            <c:bubble3D val="0"/>
            <c:spPr>
              <a:solidFill>
                <a:schemeClr val="accent2">
                  <a:lumMod val="75000"/>
                </a:schemeClr>
              </a:solidFill>
              <a:ln>
                <a:noFill/>
              </a:ln>
              <a:effectLst/>
            </c:spPr>
          </c:dPt>
          <c:dPt>
            <c:idx val="3"/>
            <c:invertIfNegative val="0"/>
            <c:bubble3D val="0"/>
            <c:spPr>
              <a:solidFill>
                <a:schemeClr val="tx2">
                  <a:lumMod val="60000"/>
                  <a:lumOff val="40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PC</c:v>
                </c:pt>
                <c:pt idx="1">
                  <c:v>MBL</c:v>
                </c:pt>
                <c:pt idx="2">
                  <c:v>KPC+MBL</c:v>
                </c:pt>
                <c:pt idx="3">
                  <c:v>非CP</c:v>
                </c:pt>
              </c:strCache>
            </c:strRef>
          </c:cat>
          <c:val>
            <c:numRef>
              <c:f>Sheet1!$B$2:$B$5</c:f>
              <c:numCache>
                <c:formatCode>0.0%</c:formatCode>
                <c:ptCount val="4"/>
                <c:pt idx="0">
                  <c:v>0.471</c:v>
                </c:pt>
                <c:pt idx="1">
                  <c:v>0.378</c:v>
                </c:pt>
                <c:pt idx="2">
                  <c:v>0.074</c:v>
                </c:pt>
                <c:pt idx="3">
                  <c:v>0.077</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400"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crossAx val="1433231951"/>
        <c:crosses val="autoZero"/>
        <c:auto val="1"/>
        <c:lblAlgn val="ctr"/>
        <c:lblOffset val="100"/>
        <c:noMultiLvlLbl val="0"/>
      </c:catAx>
      <c:valAx>
        <c:axId val="1433231951"/>
        <c:scaling>
          <c:orientation val="minMax"/>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433230031"/>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ec314a81-6d41-4a60-9d99-0fc1e1b74908}"/>
      </c:ext>
    </c:extLst>
  </c:chart>
  <c:spPr>
    <a:noFill/>
    <a:ln>
      <a:noFill/>
    </a:ln>
    <a:effectLst/>
  </c:spPr>
  <c:txPr>
    <a:bodyPr/>
    <a:lstStyle/>
    <a:p>
      <a:pPr>
        <a:defRPr lang="zh-CN" sz="1400">
          <a:latin typeface="Pfizer Tomorrow" charset="0"/>
          <a:ea typeface="微软雅黑" panose="020B0503020204020204" charset="-122"/>
          <a:sym typeface="Pfizer Tomorrow"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30747063381"/>
          <c:y val="0.0772915701468313"/>
          <c:w val="0.849832229850208"/>
          <c:h val="0.805230088147213"/>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dPt>
          <c:dPt>
            <c:idx val="1"/>
            <c:invertIfNegative val="0"/>
            <c:bubble3D val="0"/>
            <c:spPr>
              <a:solidFill>
                <a:srgbClr val="06C885"/>
              </a:solidFill>
              <a:ln w="19050">
                <a:solidFill>
                  <a:schemeClr val="lt1"/>
                </a:solidFill>
              </a:ln>
              <a:effectLst/>
            </c:spPr>
          </c:dPt>
          <c:dPt>
            <c:idx val="2"/>
            <c:invertIfNegative val="0"/>
            <c:bubble3D val="0"/>
            <c:spPr>
              <a:solidFill>
                <a:srgbClr val="06C885"/>
              </a:solidFill>
              <a:ln w="19050">
                <a:solidFill>
                  <a:schemeClr val="lt1"/>
                </a:solidFill>
              </a:ln>
              <a:effectLst/>
            </c:spPr>
          </c:dPt>
          <c:dLbls>
            <c:dLbl>
              <c:idx val="1"/>
              <c:layout>
                <c:manualLayout>
                  <c:x val="0.00330113025533804"/>
                  <c:y val="0.0065041179284726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9.45625347115672e-17"/>
                  <c:y val="-0.017211680632522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Sheet1!$A$2:$A$4</c:f>
              <c:strCache>
                <c:ptCount val="3"/>
                <c:pt idx="0">
                  <c:v>血流感染</c:v>
                </c:pt>
                <c:pt idx="1">
                  <c:v>呼吸道感染</c:v>
                </c:pt>
                <c:pt idx="2">
                  <c:v>腹腔感染</c:v>
                </c:pt>
              </c:strCache>
            </c:strRef>
          </c:cat>
          <c:val>
            <c:numRef>
              <c:f>Sheet1!$B$2:$B$4</c:f>
              <c:numCache>
                <c:formatCode>0.0%</c:formatCode>
                <c:ptCount val="3"/>
                <c:pt idx="0">
                  <c:v>0.509</c:v>
                </c:pt>
                <c:pt idx="1">
                  <c:v>0.386</c:v>
                </c:pt>
                <c:pt idx="2">
                  <c:v>0.366</c:v>
                </c:pt>
              </c:numCache>
            </c:numRef>
          </c:val>
        </c:ser>
        <c:dLbls>
          <c:showLegendKey val="0"/>
          <c:showVal val="0"/>
          <c:showCatName val="0"/>
          <c:showSerName val="0"/>
          <c:showPercent val="0"/>
          <c:showBubbleSize val="0"/>
        </c:dLbls>
        <c:gapWidth val="100"/>
        <c:axId val="677494432"/>
        <c:axId val="677493952"/>
      </c:barChart>
      <c:catAx>
        <c:axId val="677494432"/>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677493952"/>
        <c:crosses val="autoZero"/>
        <c:auto val="1"/>
        <c:lblAlgn val="ctr"/>
        <c:lblOffset val="100"/>
        <c:noMultiLvlLbl val="0"/>
      </c:catAx>
      <c:valAx>
        <c:axId val="677493952"/>
        <c:scaling>
          <c:orientation val="minMax"/>
          <c:max val="0.8"/>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749443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18aea66d-1012-44a4-b0a3-60525c999b1c}"/>
      </c:ext>
    </c:extLst>
  </c:chart>
  <c:spPr>
    <a:noFill/>
    <a:ln>
      <a:noFill/>
    </a:ln>
    <a:effectLst/>
  </c:spPr>
  <c:txPr>
    <a:bodyPr/>
    <a:lstStyle/>
    <a:p>
      <a:pPr>
        <a:defRPr lang="zh-CN" sz="1100" b="0">
          <a:latin typeface="+mn-lt"/>
          <a:ea typeface="+mn-ea"/>
          <a:cs typeface="+mn-ea"/>
          <a:sym typeface="+mn-lt"/>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904406951491"/>
          <c:y val="0.0965796340055464"/>
          <c:w val="0.715384622882572"/>
          <c:h val="0.787770435048042"/>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dPt>
          <c:dPt>
            <c:idx val="1"/>
            <c:invertIfNegative val="0"/>
            <c:bubble3D val="0"/>
            <c:spPr>
              <a:solidFill>
                <a:sysClr val="window" lastClr="FFFFFF">
                  <a:lumMod val="75000"/>
                </a:sysClr>
              </a:solidFill>
              <a:ln w="19050">
                <a:solidFill>
                  <a:schemeClr val="lt1"/>
                </a:solidFill>
              </a:ln>
              <a:effectLst/>
            </c:spPr>
          </c:dPt>
          <c:dLbls>
            <c:dLbl>
              <c:idx val="0"/>
              <c:layout>
                <c:manualLayout>
                  <c:x val="0.00330113025533804"/>
                  <c:y val="0.0065041179284726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Sheet1!$A$2:$A$3</c:f>
              <c:strCache>
                <c:ptCount val="2"/>
                <c:pt idx="0">
                  <c:v>ICU</c:v>
                </c:pt>
                <c:pt idx="1">
                  <c:v>非ICU</c:v>
                </c:pt>
              </c:strCache>
            </c:strRef>
          </c:cat>
          <c:val>
            <c:numRef>
              <c:f>Sheet1!$B$2:$B$3</c:f>
              <c:numCache>
                <c:formatCode>0.0%</c:formatCode>
                <c:ptCount val="2"/>
                <c:pt idx="0">
                  <c:v>0.527</c:v>
                </c:pt>
                <c:pt idx="1">
                  <c:v>0.437</c:v>
                </c:pt>
              </c:numCache>
            </c:numRef>
          </c:val>
        </c:ser>
        <c:dLbls>
          <c:showLegendKey val="0"/>
          <c:showVal val="0"/>
          <c:showCatName val="0"/>
          <c:showSerName val="0"/>
          <c:showPercent val="0"/>
          <c:showBubbleSize val="0"/>
        </c:dLbls>
        <c:gapWidth val="100"/>
        <c:axId val="675420528"/>
        <c:axId val="675417168"/>
      </c:barChart>
      <c:catAx>
        <c:axId val="675420528"/>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5417168"/>
        <c:crosses val="autoZero"/>
        <c:auto val="1"/>
        <c:lblAlgn val="ctr"/>
        <c:lblOffset val="100"/>
        <c:noMultiLvlLbl val="0"/>
      </c:catAx>
      <c:valAx>
        <c:axId val="675417168"/>
        <c:scaling>
          <c:orientation val="minMax"/>
          <c:max val="0.8"/>
          <c:min val="0"/>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5420528"/>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24623770-a5e7-405b-9400-2d2fdf0cb621}"/>
      </c:ext>
    </c:extLst>
  </c:chart>
  <c:spPr>
    <a:noFill/>
    <a:ln>
      <a:noFill/>
    </a:ln>
    <a:effectLst/>
  </c:spPr>
  <c:txPr>
    <a:bodyPr/>
    <a:lstStyle/>
    <a:p>
      <a:pPr>
        <a:defRPr lang="zh-CN" sz="1200">
          <a:latin typeface="+mn-lt"/>
          <a:ea typeface="+mn-ea"/>
          <a:cs typeface="+mn-ea"/>
          <a:sym typeface="+mn-lt"/>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782149103005564"/>
          <c:y val="0.124067905248514"/>
          <c:w val="0.909182237423551"/>
          <c:h val="0.763025089357273"/>
        </c:manualLayout>
      </c:layout>
      <c:barChart>
        <c:barDir val="col"/>
        <c:grouping val="stacked"/>
        <c:varyColors val="0"/>
        <c:ser>
          <c:idx val="0"/>
          <c:order val="0"/>
          <c:tx>
            <c:strRef>
              <c:f>Sheet1!$B$1</c:f>
              <c:strCache>
                <c:ptCount val="1"/>
                <c:pt idx="0">
                  <c:v>非碳青霉烯酶</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B$2:$B$6</c:f>
              <c:numCache>
                <c:formatCode>0.0_ </c:formatCode>
                <c:ptCount val="5"/>
                <c:pt idx="0">
                  <c:v>19</c:v>
                </c:pt>
                <c:pt idx="1">
                  <c:v>48</c:v>
                </c:pt>
                <c:pt idx="2">
                  <c:v>14.3</c:v>
                </c:pt>
                <c:pt idx="3">
                  <c:v>42.9</c:v>
                </c:pt>
                <c:pt idx="4">
                  <c:v>11.1</c:v>
                </c:pt>
              </c:numCache>
            </c:numRef>
          </c:val>
        </c:ser>
        <c:ser>
          <c:idx val="1"/>
          <c:order val="1"/>
          <c:tx>
            <c:strRef>
              <c:f>Sheet1!$C$1</c:f>
              <c:strCache>
                <c:ptCount val="1"/>
                <c:pt idx="0">
                  <c:v>KPC</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C$2:$C$6</c:f>
              <c:numCache>
                <c:formatCode>General</c:formatCode>
                <c:ptCount val="5"/>
                <c:pt idx="1">
                  <c:v>35.1</c:v>
                </c:pt>
                <c:pt idx="2">
                  <c:v>4.8</c:v>
                </c:pt>
                <c:pt idx="4">
                  <c:v>11.1</c:v>
                </c:pt>
              </c:numCache>
            </c:numRef>
          </c:val>
        </c:ser>
        <c:ser>
          <c:idx val="2"/>
          <c:order val="2"/>
          <c:tx>
            <c:strRef>
              <c:f>Sheet1!$D$1</c:f>
              <c:strCache>
                <c:ptCount val="1"/>
                <c:pt idx="0">
                  <c:v>KPC+NDM</c:v>
                </c:pt>
              </c:strCache>
            </c:strRef>
          </c:tx>
          <c:spPr>
            <a:solidFill>
              <a:schemeClr val="accent1">
                <a:lumMod val="20000"/>
                <a:lumOff val="80000"/>
              </a:schemeClr>
            </a:solidFill>
            <a:ln>
              <a:noFill/>
            </a:ln>
            <a:effectLst/>
          </c:spPr>
          <c:invertIfNegative val="0"/>
          <c:dLbls>
            <c:delete val="1"/>
          </c:dLbls>
          <c:cat>
            <c:strRef>
              <c:f>Sheet1!$A$2:$A$6</c:f>
              <c:strCache>
                <c:ptCount val="5"/>
                <c:pt idx="0">
                  <c:v>大肠埃希菌</c:v>
                </c:pt>
                <c:pt idx="1">
                  <c:v>肺炎克雷伯菌</c:v>
                </c:pt>
                <c:pt idx="2">
                  <c:v>肠杆菌</c:v>
                </c:pt>
                <c:pt idx="3">
                  <c:v>产气克雷伯菌</c:v>
                </c:pt>
                <c:pt idx="4">
                  <c:v>产酸克雷伯菌</c:v>
                </c:pt>
              </c:strCache>
            </c:strRef>
          </c:cat>
          <c:val>
            <c:numRef>
              <c:f>Sheet1!$D$2:$D$6</c:f>
              <c:numCache>
                <c:formatCode>General</c:formatCode>
                <c:ptCount val="5"/>
                <c:pt idx="1">
                  <c:v>1.2</c:v>
                </c:pt>
              </c:numCache>
            </c:numRef>
          </c:val>
        </c:ser>
        <c:ser>
          <c:idx val="3"/>
          <c:order val="3"/>
          <c:tx>
            <c:strRef>
              <c:f>Sheet1!$E$1</c:f>
              <c:strCache>
                <c:ptCount val="1"/>
                <c:pt idx="0">
                  <c:v>NDM</c:v>
                </c:pt>
              </c:strCache>
            </c:strRef>
          </c:tx>
          <c:spPr>
            <a:solidFill>
              <a:srgbClr val="000D45"/>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bg1"/>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E$2:$E$6</c:f>
              <c:numCache>
                <c:formatCode>0.0_ </c:formatCode>
                <c:ptCount val="5"/>
                <c:pt idx="0">
                  <c:v>79.9</c:v>
                </c:pt>
                <c:pt idx="1">
                  <c:v>14</c:v>
                </c:pt>
                <c:pt idx="2">
                  <c:v>76.2</c:v>
                </c:pt>
                <c:pt idx="3">
                  <c:v>14.3</c:v>
                </c:pt>
                <c:pt idx="4">
                  <c:v>55.6</c:v>
                </c:pt>
              </c:numCache>
            </c:numRef>
          </c:val>
        </c:ser>
        <c:ser>
          <c:idx val="4"/>
          <c:order val="4"/>
          <c:tx>
            <c:strRef>
              <c:f>Sheet1!$F$1</c:f>
              <c:strCache>
                <c:ptCount val="1"/>
                <c:pt idx="0">
                  <c:v>IMP</c:v>
                </c:pt>
              </c:strCache>
            </c:strRef>
          </c:tx>
          <c:spPr>
            <a:solidFill>
              <a:srgbClr val="00C280"/>
            </a:solidFill>
            <a:ln>
              <a:noFill/>
            </a:ln>
            <a:effectLst/>
          </c:spPr>
          <c:invertIfNegative val="0"/>
          <c:dLbls>
            <c:dLbl>
              <c:idx val="0"/>
              <c:layout>
                <c:manualLayout>
                  <c:x val="0"/>
                  <c:y val="-0.089156767925354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0250708745727839"/>
                  <c:y val="-0.0748916850572976"/>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ea"/>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F$2:$F$6</c:f>
              <c:numCache>
                <c:formatCode>General</c:formatCode>
                <c:ptCount val="5"/>
                <c:pt idx="0">
                  <c:v>0.5</c:v>
                </c:pt>
                <c:pt idx="1">
                  <c:v>0.6</c:v>
                </c:pt>
                <c:pt idx="2">
                  <c:v>4.8</c:v>
                </c:pt>
                <c:pt idx="4">
                  <c:v>11.1</c:v>
                </c:pt>
              </c:numCache>
            </c:numRef>
          </c:val>
        </c:ser>
        <c:ser>
          <c:idx val="5"/>
          <c:order val="5"/>
          <c:tx>
            <c:strRef>
              <c:f>Sheet1!$G$1</c:f>
              <c:strCache>
                <c:ptCount val="1"/>
                <c:pt idx="0">
                  <c:v>NDM+OXA</c:v>
                </c:pt>
              </c:strCache>
            </c:strRef>
          </c:tx>
          <c:spPr>
            <a:solidFill>
              <a:srgbClr val="002060"/>
            </a:solidFill>
            <a:ln>
              <a:noFill/>
            </a:ln>
            <a:effectLst/>
          </c:spPr>
          <c:invertIfNegative val="0"/>
          <c:dLbls>
            <c:dLbl>
              <c:idx val="0"/>
              <c:layout>
                <c:manualLayout>
                  <c:x val="0.0503624412833127"/>
                  <c:y val="0.0066313049285476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442206801512014"/>
                  <c:y val="0.0033156524642738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G$2:$G$6</c:f>
              <c:numCache>
                <c:formatCode>General</c:formatCode>
                <c:ptCount val="5"/>
                <c:pt idx="0">
                  <c:v>0.5</c:v>
                </c:pt>
                <c:pt idx="1">
                  <c:v>0.6</c:v>
                </c:pt>
              </c:numCache>
            </c:numRef>
          </c:val>
        </c:ser>
        <c:ser>
          <c:idx val="6"/>
          <c:order val="6"/>
          <c:tx>
            <c:strRef>
              <c:f>Sheet1!$H$1</c:f>
              <c:strCache>
                <c:ptCount val="1"/>
                <c:pt idx="0">
                  <c:v>NDM+IMP</c:v>
                </c:pt>
              </c:strCache>
            </c:strRef>
          </c:tx>
          <c:spPr>
            <a:solidFill>
              <a:schemeClr val="accent2">
                <a:lumMod val="75000"/>
              </a:schemeClr>
            </a:solidFill>
            <a:ln>
              <a:noFill/>
            </a:ln>
            <a:effectLst/>
          </c:spPr>
          <c:invertIfNegative val="0"/>
          <c:dLbls>
            <c:dLbl>
              <c:idx val="0"/>
              <c:delete val="1"/>
            </c:dLbl>
            <c:dLbl>
              <c:idx val="1"/>
              <c:delete val="1"/>
            </c:dLbl>
            <c:dLbl>
              <c:idx val="2"/>
              <c:delete val="1"/>
            </c:dLbl>
            <c:dLbl>
              <c:idx val="3"/>
              <c:delete val="1"/>
            </c:dLbl>
            <c:dLbl>
              <c:idx val="4"/>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bg1"/>
                    </a:solidFill>
                    <a:latin typeface="+mn-lt"/>
                    <a:ea typeface="+mn-ea"/>
                    <a:cs typeface="+mn-ea"/>
                    <a:sym typeface="+mn-lt"/>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H$2:$H$6</c:f>
              <c:numCache>
                <c:formatCode>General</c:formatCode>
                <c:ptCount val="5"/>
                <c:pt idx="4">
                  <c:v>11.1</c:v>
                </c:pt>
              </c:numCache>
            </c:numRef>
          </c:val>
        </c:ser>
        <c:ser>
          <c:idx val="7"/>
          <c:order val="7"/>
          <c:tx>
            <c:strRef>
              <c:f>Sheet1!$I$1</c:f>
              <c:strCache>
                <c:ptCount val="1"/>
                <c:pt idx="0">
                  <c:v>OXA</c:v>
                </c:pt>
              </c:strCache>
            </c:strRef>
          </c:tx>
          <c:spPr>
            <a:solidFill>
              <a:schemeClr val="bg1">
                <a:lumMod val="95000"/>
              </a:schemeClr>
            </a:solidFill>
            <a:ln>
              <a:noFill/>
            </a:ln>
            <a:effectLst/>
          </c:spPr>
          <c:invertIfNegative val="0"/>
          <c:dLbls>
            <c:dLbl>
              <c:idx val="1"/>
              <c:layout>
                <c:manualLayout>
                  <c:x val="-0.0442206801512015"/>
                  <c:y val="-0.0033156524642738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I$2:$I$6</c:f>
              <c:numCache>
                <c:formatCode>General</c:formatCode>
                <c:ptCount val="5"/>
                <c:pt idx="1">
                  <c:v>0.6</c:v>
                </c:pt>
                <c:pt idx="3">
                  <c:v>42.9</c:v>
                </c:pt>
              </c:numCache>
            </c:numRef>
          </c:val>
        </c:ser>
        <c:dLbls>
          <c:showLegendKey val="0"/>
          <c:showVal val="0"/>
          <c:showCatName val="0"/>
          <c:showSerName val="0"/>
          <c:showPercent val="0"/>
          <c:showBubbleSize val="0"/>
        </c:dLbls>
        <c:gapWidth val="219"/>
        <c:overlap val="100"/>
        <c:axId val="1393966136"/>
        <c:axId val="1393966496"/>
      </c:barChart>
      <c:catAx>
        <c:axId val="139396613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400" b="0" i="0" u="none" strike="noStrike" kern="1200" baseline="0">
                <a:solidFill>
                  <a:schemeClr val="tx1"/>
                </a:solidFill>
                <a:latin typeface="+mn-ea"/>
                <a:ea typeface="+mn-ea"/>
                <a:cs typeface="+mn-ea"/>
                <a:sym typeface="+mn-lt"/>
              </a:defRPr>
            </a:pPr>
          </a:p>
        </c:txPr>
        <c:crossAx val="1393966496"/>
        <c:crosses val="autoZero"/>
        <c:auto val="1"/>
        <c:lblAlgn val="ctr"/>
        <c:lblOffset val="100"/>
        <c:noMultiLvlLbl val="0"/>
      </c:catAx>
      <c:valAx>
        <c:axId val="1393966496"/>
        <c:scaling>
          <c:orientation val="minMax"/>
        </c:scaling>
        <c:delete val="0"/>
        <c:axPos val="l"/>
        <c:title>
          <c:tx>
            <c:rich>
              <a:bodyPr rot="-5400000" spcFirstLastPara="1" vertOverflow="ellipsis" vert="horz" wrap="square" anchor="ctr" anchorCtr="1"/>
              <a:lstStyle/>
              <a:p>
                <a:pPr>
                  <a:defRPr lang="zh-CN" sz="1400" b="0" i="0" u="none" strike="noStrike" kern="1200" baseline="0">
                    <a:solidFill>
                      <a:schemeClr val="tx1">
                        <a:lumMod val="65000"/>
                        <a:lumOff val="35000"/>
                      </a:schemeClr>
                    </a:solidFill>
                    <a:latin typeface="+mn-ea"/>
                    <a:ea typeface="+mn-ea"/>
                    <a:cs typeface="+mn-ea"/>
                    <a:sym typeface="+mn-lt"/>
                  </a:defRPr>
                </a:pPr>
                <a:r>
                  <a:rPr lang="zh-CN" sz="1400">
                    <a:latin typeface="+mn-ea"/>
                    <a:ea typeface="+mn-ea"/>
                  </a:rPr>
                  <a:t>比例（</a:t>
                </a:r>
                <a:r>
                  <a:rPr lang="en-US" sz="1400">
                    <a:latin typeface="+mn-ea"/>
                    <a:ea typeface="+mn-ea"/>
                  </a:rPr>
                  <a:t>%</a:t>
                </a:r>
                <a:r>
                  <a:rPr lang="zh-CN" sz="1400">
                    <a:latin typeface="+mn-ea"/>
                    <a:ea typeface="+mn-ea"/>
                  </a:rPr>
                  <a:t>）</a:t>
                </a:r>
                <a:endParaRPr lang="zh-CN" sz="1400">
                  <a:latin typeface="+mn-ea"/>
                  <a:ea typeface="+mn-ea"/>
                </a:endParaRPr>
              </a:p>
            </c:rich>
          </c:tx>
          <c:layout/>
          <c:overlay val="0"/>
          <c:spPr>
            <a:noFill/>
            <a:ln>
              <a:noFill/>
            </a:ln>
            <a:effectLst/>
          </c:spPr>
        </c:title>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400" b="0" i="0" u="none" strike="noStrike" kern="1200" baseline="0">
                <a:solidFill>
                  <a:schemeClr val="tx1">
                    <a:lumMod val="65000"/>
                    <a:lumOff val="35000"/>
                  </a:schemeClr>
                </a:solidFill>
                <a:latin typeface="+mn-ea"/>
                <a:ea typeface="+mn-ea"/>
                <a:cs typeface="+mn-ea"/>
                <a:sym typeface="+mn-lt"/>
              </a:defRPr>
            </a:pPr>
          </a:p>
        </c:txPr>
        <c:crossAx val="1393966136"/>
        <c:crosses val="autoZero"/>
        <c:crossBetween val="between"/>
      </c:valAx>
      <c:spPr>
        <a:noFill/>
        <a:ln>
          <a:noFill/>
        </a:ln>
        <a:effectLst/>
      </c:spPr>
    </c:plotArea>
    <c:legend>
      <c:legendPos val="b"/>
      <c:layout>
        <c:manualLayout>
          <c:xMode val="edge"/>
          <c:yMode val="edge"/>
          <c:x val="0.123442866734088"/>
          <c:y val="0.0396094260780579"/>
          <c:w val="0.76725374626972"/>
          <c:h val="0.069445407771682"/>
        </c:manualLayout>
      </c:layout>
      <c:overlay val="0"/>
      <c:spPr>
        <a:noFill/>
        <a:ln>
          <a:noFill/>
        </a:ln>
        <a:effectLst/>
      </c:spPr>
      <c:txPr>
        <a:bodyPr rot="0" spcFirstLastPara="1" vertOverflow="ellipsis" vert="horz" wrap="square" anchor="ctr" anchorCtr="1"/>
        <a:lstStyle/>
        <a:p>
          <a:pPr>
            <a:defRPr lang="zh-CN" sz="1400" b="0" i="0" u="none" strike="noStrike" kern="1200" baseline="0">
              <a:solidFill>
                <a:schemeClr val="tx1"/>
              </a:solidFill>
              <a:latin typeface="+mn-lt"/>
              <a:ea typeface="+mn-ea"/>
              <a:cs typeface="+mn-ea"/>
              <a:sym typeface="+mn-lt"/>
            </a:defRPr>
          </a:pPr>
        </a:p>
      </c:txPr>
    </c:legend>
    <c:plotVisOnly val="1"/>
    <c:dispBlanksAs val="gap"/>
    <c:showDLblsOverMax val="0"/>
    <c:extLst>
      <c:ext uri="{0b15fc19-7d7d-44ad-8c2d-2c3a37ce22c3}">
        <chartProps xmlns="https://web.wps.cn/et/2018/main" chartId="{4dc725ea-4984-4300-9c36-67c2a937bca7}"/>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Optima" panose="02000503060000020004" charset="0"/>
              </a:defRPr>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Optima" panose="02000503060000020004" charset="0"/>
              </a:defRPr>
            </a:lvl1pPr>
          </a:lstStyle>
          <a:p>
            <a:fld id="{8992EA6E-F10F-CD4A-82C0-0DFA79022265}" type="datetimeFigureOut">
              <a:rPr lang="es-MX" smtClean="0"/>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Optima" panose="02000503060000020004" charset="0"/>
              </a:defRPr>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Optima" panose="02000503060000020004" charset="0"/>
              </a:defRPr>
            </a:lvl1pPr>
          </a:lstStyle>
          <a:p>
            <a:fld id="{C891BD15-246A-684C-9391-3352EE68DC6D}" type="slidenum">
              <a:rPr lang="es-MX" smtClean="0"/>
            </a:fld>
            <a:endParaRPr lang="es-MX"/>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tima" panose="02000503060000020004" charset="0"/>
        <a:ea typeface="+mn-ea"/>
        <a:cs typeface="+mn-cs"/>
      </a:defRPr>
    </a:lvl1pPr>
    <a:lvl2pPr marL="457200" algn="l" defTabSz="914400" rtl="0" eaLnBrk="1" latinLnBrk="0" hangingPunct="1">
      <a:defRPr sz="1200" kern="1200">
        <a:solidFill>
          <a:schemeClr val="tx1"/>
        </a:solidFill>
        <a:latin typeface="Optima" panose="02000503060000020004" charset="0"/>
        <a:ea typeface="+mn-ea"/>
        <a:cs typeface="+mn-cs"/>
      </a:defRPr>
    </a:lvl2pPr>
    <a:lvl3pPr marL="914400" algn="l" defTabSz="914400" rtl="0" eaLnBrk="1" latinLnBrk="0" hangingPunct="1">
      <a:defRPr sz="1200" kern="1200">
        <a:solidFill>
          <a:schemeClr val="tx1"/>
        </a:solidFill>
        <a:latin typeface="Optima" panose="02000503060000020004" charset="0"/>
        <a:ea typeface="+mn-ea"/>
        <a:cs typeface="+mn-cs"/>
      </a:defRPr>
    </a:lvl3pPr>
    <a:lvl4pPr marL="1371600" algn="l" defTabSz="914400" rtl="0" eaLnBrk="1" latinLnBrk="0" hangingPunct="1">
      <a:defRPr sz="1200" kern="1200">
        <a:solidFill>
          <a:schemeClr val="tx1"/>
        </a:solidFill>
        <a:latin typeface="Optima" panose="02000503060000020004" charset="0"/>
        <a:ea typeface="+mn-ea"/>
        <a:cs typeface="+mn-cs"/>
      </a:defRPr>
    </a:lvl4pPr>
    <a:lvl5pPr marL="1828800" algn="l" defTabSz="914400" rtl="0" eaLnBrk="1" latinLnBrk="0" hangingPunct="1">
      <a:defRPr sz="1200" kern="1200">
        <a:solidFill>
          <a:schemeClr val="tx1"/>
        </a:solidFill>
        <a:latin typeface="Optima" panose="0200050306000002000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各位老师好！今天我们将共同探讨 </a:t>
            </a:r>
            <a:r>
              <a:rPr lang="en-US" altLang="zh-CN"/>
              <a:t>ICU </a:t>
            </a:r>
            <a:r>
              <a:rPr lang="zh-CN" altLang="en-US"/>
              <a:t>耐药菌感染治疗的新突破 </a:t>
            </a:r>
            <a:r>
              <a:rPr lang="en-US" altLang="zh-CN"/>
              <a:t>——EMBLAVEO®</a:t>
            </a:r>
            <a:r>
              <a:rPr lang="zh-CN" altLang="en-US"/>
              <a:t>（氨曲南 </a:t>
            </a:r>
            <a:r>
              <a:rPr lang="en-US" altLang="zh-CN"/>
              <a:t>/ </a:t>
            </a:r>
            <a:r>
              <a:rPr lang="zh-CN" altLang="en-US"/>
              <a:t>阿维巴坦）。这款药物通过结合氨曲南与阿维巴坦 ，“双剑合璧”，直击碳青霉烯类耐药难题，尤其针对金属 </a:t>
            </a:r>
            <a:r>
              <a:rPr lang="en-US" altLang="zh-CN"/>
              <a:t>β- </a:t>
            </a:r>
            <a:r>
              <a:rPr lang="zh-CN" altLang="en-US"/>
              <a:t>内酰胺酶（</a:t>
            </a:r>
            <a:r>
              <a:rPr lang="en-US" altLang="zh-CN"/>
              <a:t>MBL</a:t>
            </a:r>
            <a:r>
              <a:rPr lang="zh-CN" altLang="en-US"/>
              <a:t>）介导的耐药困境。</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38650"/>
          </a:xfrm>
        </p:spPr>
        <p:txBody>
          <a:bodyPr/>
          <a:lstStyle/>
          <a:p>
            <a:pPr marL="0" indent="0">
              <a:buNone/>
            </a:pPr>
            <a:r>
              <a:rPr lang="en-US" sz="700" b="1" dirty="0">
                <a:latin typeface="Noto Sans" panose="020B0502040504020204" pitchFamily="34" charset="0"/>
                <a:ea typeface="Noto Sans" panose="020B0502040504020204" pitchFamily="34" charset="0"/>
                <a:cs typeface="Noto Sans" panose="020B0502040504020204" pitchFamily="34" charset="0"/>
                <a:sym typeface="+mn-ea"/>
              </a:rPr>
              <a:t>KEY MESSAGE: Infections caused by MBL-producing </a:t>
            </a:r>
            <a:r>
              <a:rPr lang="en-US" sz="700" b="1" dirty="0" err="1">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US" sz="700" b="1" dirty="0">
                <a:latin typeface="Noto Sans" panose="020B0502040504020204" pitchFamily="34" charset="0"/>
                <a:ea typeface="Noto Sans" panose="020B0502040504020204" pitchFamily="34" charset="0"/>
                <a:cs typeface="Noto Sans" panose="020B0502040504020204" pitchFamily="34" charset="0"/>
                <a:sym typeface="+mn-ea"/>
              </a:rPr>
              <a:t>, including those that produce NDM, VIM and IMP, are associated with increased mortality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5/para 7/Ln 1-2; page 6/para 4/Ln 2-4; </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g</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5/col 1/para 5/ln 4-7;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9/Table 5</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a:t>
            </a:r>
            <a:endParaRPr lang="en-US" sz="700" b="1" dirty="0">
              <a:latin typeface="Noto Sans" panose="020B0502040504020204" pitchFamily="34" charset="0"/>
              <a:ea typeface="Noto Sans" panose="020B0502040504020204" pitchFamily="34" charset="0"/>
              <a:cs typeface="Noto Sans" panose="020B0502040504020204" pitchFamily="34" charset="0"/>
            </a:endParaRPr>
          </a:p>
          <a:p>
            <a:pPr marL="171450" indent="-171450">
              <a:spcBef>
                <a:spcPts val="0"/>
              </a:spcBef>
              <a:buFont typeface="Arial" panose="020B0604020202090204" pitchFamily="34" charset="0"/>
              <a:buChar char="•"/>
              <a:defRPr/>
            </a:pP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In the de Jager et al. study, reported mortality rates were highlighted as being up to 55.3% (21/38) of patients associated with MBL-producing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14.7% (10/68) for controls, with in-hospital mortality among 38 cases with NDM-1-producing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68 controls (adjusted for comorbid disease)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6/para 4/Ln 1-4; p9/Table 5]</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Matched case-control study during a nosocomial outbreak of NDM-1 producers in an adult ICU in South Africa</a:t>
            </a:r>
            <a:r>
              <a:rPr lang="en-US" sz="700" baseline="30000" dirty="0">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 page 1/abstract/methods/ln 1-2]</a:t>
            </a:r>
            <a:endParaRPr lang="en-US" sz="700" i="1" baseline="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Here it was found th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K. pneumoniae</a:t>
            </a:r>
            <a:r>
              <a:rPr lang="en-US" sz="700" dirty="0">
                <a:latin typeface="Noto Sans" panose="020B0502040504020204" pitchFamily="34" charset="0"/>
                <a:ea typeface="Noto Sans" panose="020B0502040504020204" pitchFamily="34" charset="0"/>
                <a:cs typeface="Noto Sans" panose="020B0502040504020204" pitchFamily="34" charset="0"/>
                <a:sym typeface="+mn-ea"/>
              </a:rPr>
              <a:t> was the most common NDM-1 producer, accounting for 74% of cases.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1/abstract/methods/ln 2-3; page 1 abstract/findings/Ln 1-2]</a:t>
            </a:r>
            <a:endParaRPr lang="en-US" sz="700" baseline="3000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Compared with outcomes in matched case controls, cases infected with NDM-1 producers had a longer mean length of hospital stay (44.0 vs 13.3 days; P&lt;0.001) and longer ICU stay (32.5 vs 8.3 days; P&lt;0.001)</a:t>
            </a:r>
            <a:r>
              <a:rPr lang="en-US" sz="700" baseline="30000" dirty="0">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5/para 7/Ln 1-2;p6/Table1]</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spcBef>
                <a:spcPts val="0"/>
              </a:spcBef>
              <a:buFont typeface="Arial" panose="020B0604020202090204" pitchFamily="34" charset="0"/>
              <a:buChar char="•"/>
              <a:defRPr/>
            </a:pP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In the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Daiko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et al. study, reported in-hospital mortality rates were 23.9% (16/67) of patients with VIM-1-positive </a:t>
            </a:r>
            <a:r>
              <a:rPr lang="en-GB" sz="700" i="1" kern="100" dirty="0">
                <a:effectLst/>
                <a:latin typeface="Noto Sans" panose="020B0502040504020204" pitchFamily="34" charset="0"/>
                <a:ea typeface="Noto Sans" panose="020B0502040504020204" pitchFamily="34" charset="0"/>
                <a:cs typeface="Noto Sans" panose="020B0502040504020204" pitchFamily="34" charset="0"/>
                <a:sym typeface="+mn-ea"/>
              </a:rPr>
              <a:t>K. pneumoniae</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15.8% (15/95) non–VIM-positive </a:t>
            </a:r>
            <a:r>
              <a:rPr lang="en-GB" sz="700" i="1" kern="100" dirty="0">
                <a:effectLst/>
                <a:latin typeface="Noto Sans" panose="020B0502040504020204" pitchFamily="34" charset="0"/>
                <a:ea typeface="Noto Sans" panose="020B0502040504020204" pitchFamily="34" charset="0"/>
                <a:cs typeface="Noto Sans" panose="020B0502040504020204" pitchFamily="34" charset="0"/>
                <a:sym typeface="+mn-ea"/>
              </a:rPr>
              <a:t>K. pneumoniae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3/Table 1]</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osp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bse</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i</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n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n</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r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e</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 5</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b</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B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p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4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b</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5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1/para1/Ln1-5</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24"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d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y</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24"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 </a:t>
            </a:r>
            <a:r>
              <a:rPr lang="en-US" sz="700" spc="-3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4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4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3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2/para2/Ln1-2; p2/col2/para1/Ln3-4] </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n</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i</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o</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emi</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1/para1/Ln16-17</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293370" marR="3175" indent="-285750" defTabSz="554355">
              <a:buFont typeface="Arial" panose="020B0604020202090204" pitchFamily="34" charset="0"/>
              <a:buChar char="•"/>
              <a:defRPr/>
            </a:pP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In the Hayakawa et al. study (2020), reported 30-day mortality rates were 12.5% (3/24) with IMP-</a:t>
            </a:r>
            <a:r>
              <a:rPr lang="en-GB" sz="700" dirty="0" err="1">
                <a:effectLst/>
                <a:latin typeface="Noto Sans" panose="020B0502040504020204" pitchFamily="34" charset="0"/>
                <a:ea typeface="Noto Sans" panose="020B0502040504020204" pitchFamily="34" charset="0"/>
                <a:cs typeface="Noto Sans" panose="020B0502040504020204" pitchFamily="34" charset="0"/>
                <a:sym typeface="+mn-ea"/>
              </a:rPr>
              <a:t>carbapenemase</a:t>
            </a: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producing </a:t>
            </a:r>
            <a:r>
              <a:rPr lang="en-GB" sz="7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 (CPE) vs 5.1% (3/59) with non-CPE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9/Table 5]</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ul</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entr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osp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h</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was conducted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5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Japa</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2/col2/para1/Ln1-3]</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i</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b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 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3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27"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d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3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2/col2/para1/Ln1-3]</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e</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o</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 </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penem</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atin typeface="Noto Sans" panose="020B0502040504020204" pitchFamily="34" charset="0"/>
                <a:ea typeface="Noto Sans" panose="020B0502040504020204" pitchFamily="34" charset="0"/>
                <a:cs typeface="Noto Sans" panose="020B0502040504020204" pitchFamily="34" charset="0"/>
                <a:sym typeface="+mn-ea"/>
              </a:rPr>
              <a: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 </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o</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l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 88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o</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9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5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3/col1/para3/Ln1-3]</a:t>
            </a: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0" indent="0" algn="l">
              <a:buFont typeface="Arial" panose="020B0604020202090204" pitchFamily="34" charset="0"/>
              <a:buNone/>
            </a:pPr>
            <a:r>
              <a:rPr lang="en-GB" sz="700" b="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eferences:</a:t>
            </a:r>
            <a:endParaRPr kumimoji="0" lang="en-GB" sz="700" b="1" i="0"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e Jager P, et al. </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LoS</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One </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015;10:e0123337.</a:t>
            </a:r>
            <a:endParaRPr kumimoji="0" lang="en-GB" sz="700" b="0" i="0"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GB"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GB" sz="700" spc="-18"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G</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mi</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e</a:t>
            </a:r>
            <a:r>
              <a:rPr lang="en-GB" sz="700" i="1"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e</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GB" sz="700" i="1"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a:t>
            </a:r>
            <a:r>
              <a:rPr lang="en-GB" sz="700" i="1" spc="-4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a:t>
            </a:r>
            <a:r>
              <a:rPr lang="en-GB" sz="700" spc="-3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27"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6</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a:t>
            </a:r>
            <a:r>
              <a:rPr lang="en-GB"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a:t>
            </a:r>
            <a:endParaRPr kumimoji="0" lang="en-GB" sz="700" b="0" i="0" u="none" strike="noStrike" kern="1200" cap="none" spc="-6"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GB" sz="700" spc="-1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w</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J </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mi</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e</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GB" sz="700" i="1"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r</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02</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4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GB" sz="700" spc="-3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1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endParaRPr lang="en-GB" sz="700" dirty="0">
              <a:latin typeface="Noto Sans" panose="020B0502040504020204" pitchFamily="34" charset="0"/>
              <a:ea typeface="Noto Sans" panose="020B0502040504020204" pitchFamily="34" charset="0"/>
              <a:cs typeface="Noto Sans" panose="020B050204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 typeface="Arial" panose="020B0604020202090204" pitchFamily="34" charset="0"/>
              <a:buChar char="•"/>
              <a:defRPr/>
            </a:pPr>
            <a:endParaRPr kumimoji="0" lang="en-GB" sz="700" b="0" i="0" u="none" strike="noStrike" kern="1200" cap="none" spc="0" normalizeH="0" baseline="300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60350" marR="3175" defTabSz="554355">
              <a:defRPr/>
            </a:pP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a:defRPr/>
            </a:pPr>
            <a:endParaRPr lang="en-US" sz="700" baseline="0" dirty="0">
              <a:latin typeface="Times New Roman" panose="02020503050405090304" pitchFamily="18" charset="0"/>
              <a:ea typeface="Times New Roman" panose="02020503050405090304" pitchFamily="18" charset="0"/>
              <a:cs typeface="Times New Roman" panose="0202050305040509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A086B22-4E04-4CCD-A8D7-1EB5AD44BDD8}" type="slidenum">
              <a:rPr kumimoji="0" lang="en-GB" sz="1200" b="0" i="0" u="none" strike="noStrike" kern="1200" cap="none" spc="0" normalizeH="0" baseline="0" noProof="0" smtClean="0">
                <a:ln>
                  <a:noFill/>
                </a:ln>
                <a:solidFill>
                  <a:prstClr val="black"/>
                </a:solidFill>
                <a:effectLst/>
                <a:uLnTx/>
                <a:uFillTx/>
                <a:latin typeface="Times New Roman" panose="02020503050405090304" pitchFamily="18" charset="0"/>
                <a:cs typeface="Times New Roman" panose="02020503050405090304" pitchFamily="18" charset="0"/>
              </a:rPr>
            </a:fld>
            <a:endParaRPr kumimoji="0" lang="en-GB" sz="1200" b="0" i="0" u="none" strike="noStrike" kern="1200" cap="none" spc="0" normalizeH="0" baseline="0" noProof="0">
              <a:ln>
                <a:noFill/>
              </a:ln>
              <a:solidFill>
                <a:prstClr val="black"/>
              </a:solidFill>
              <a:effectLst/>
              <a:uLnTx/>
              <a:uFillTx/>
              <a:latin typeface="Times New Roman" panose="02020503050405090304" pitchFamily="18" charset="0"/>
              <a:cs typeface="Times New Roman" panose="02020503050405090304"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因此，可以看到，</a:t>
            </a:r>
            <a:r>
              <a:rPr lang="en-US" altLang="zh-CN"/>
              <a:t>CRE </a:t>
            </a:r>
            <a:r>
              <a:rPr lang="zh-CN" altLang="en-US"/>
              <a:t>与 </a:t>
            </a:r>
            <a:r>
              <a:rPr lang="en-US" altLang="zh-CN"/>
              <a:t>SMA </a:t>
            </a:r>
            <a:r>
              <a:rPr lang="zh-CN" altLang="en-US"/>
              <a:t>在</a:t>
            </a:r>
            <a:r>
              <a:rPr lang="en-US" altLang="zh-CN"/>
              <a:t>ICU</a:t>
            </a:r>
            <a:r>
              <a:rPr lang="zh-CN" altLang="en-US"/>
              <a:t>患者感染的多重耐药菌中占据了相当比例，引起呼吸系统感染、血流感染、腹腔内感染等多种感染。</a:t>
            </a:r>
            <a:endParaRPr lang="en-US" altLang="zh-CN"/>
          </a:p>
          <a:p>
            <a:r>
              <a:rPr lang="en-US" altLang="zh-CN"/>
              <a:t>ICU </a:t>
            </a:r>
            <a:r>
              <a:rPr lang="zh-CN" altLang="en-US"/>
              <a:t>获得性肺炎</a:t>
            </a:r>
            <a:r>
              <a:rPr lang="en-US" altLang="zh-CN"/>
              <a:t>/VAP </a:t>
            </a:r>
            <a:r>
              <a:rPr lang="zh-CN" altLang="en-US"/>
              <a:t>是中国 </a:t>
            </a:r>
            <a:r>
              <a:rPr lang="en-US" altLang="zh-CN"/>
              <a:t>ICU </a:t>
            </a:r>
            <a:r>
              <a:rPr lang="zh-CN" altLang="en-US"/>
              <a:t>患者发病和死亡的主要原因，右侧图中我们可以看到，这些从</a:t>
            </a:r>
            <a:r>
              <a:rPr lang="en-US" altLang="zh-CN"/>
              <a:t>VAP</a:t>
            </a:r>
            <a:r>
              <a:rPr lang="zh-CN" altLang="en-US"/>
              <a:t>患者分离的耐碳青霉烯类革兰阴性杆菌中，</a:t>
            </a:r>
            <a:r>
              <a:rPr lang="en-US" altLang="zh-CN"/>
              <a:t>CRE</a:t>
            </a:r>
            <a:r>
              <a:rPr lang="zh-CN" altLang="en-US"/>
              <a:t>占比超过三分之一，此外，在这些病原菌中，还检测到</a:t>
            </a:r>
            <a:r>
              <a:rPr lang="en-US" altLang="zh-CN"/>
              <a:t>12</a:t>
            </a:r>
            <a:r>
              <a:rPr lang="zh-CN" altLang="en-US"/>
              <a:t>株</a:t>
            </a:r>
            <a:r>
              <a:rPr lang="en-US" altLang="zh-CN"/>
              <a:t>SMA</a:t>
            </a:r>
            <a:r>
              <a:rPr lang="zh-CN" altLang="en-US"/>
              <a:t>，这说明在</a:t>
            </a:r>
            <a:r>
              <a:rPr lang="en-US" altLang="zh-CN"/>
              <a:t>ICU VAP</a:t>
            </a:r>
            <a:r>
              <a:rPr lang="zh-CN" altLang="en-US"/>
              <a:t>中，</a:t>
            </a:r>
            <a:r>
              <a:rPr lang="en-US" altLang="zh-CN"/>
              <a:t>SMA</a:t>
            </a:r>
            <a:r>
              <a:rPr lang="zh-CN" altLang="en-US"/>
              <a:t>感染也占据了一定比例；</a:t>
            </a:r>
            <a:endParaRPr lang="en-US" altLang="zh-CN"/>
          </a:p>
          <a:p>
            <a:r>
              <a:rPr lang="zh-CN" altLang="en-US"/>
              <a:t>而导致 </a:t>
            </a:r>
            <a:r>
              <a:rPr lang="en-US" altLang="zh-CN"/>
              <a:t>ICU </a:t>
            </a:r>
            <a:r>
              <a:rPr lang="zh-CN" altLang="en-US"/>
              <a:t>感染相关死亡的第二大原因</a:t>
            </a:r>
            <a:r>
              <a:rPr lang="en-US" altLang="zh-CN"/>
              <a:t>-</a:t>
            </a:r>
            <a:r>
              <a:rPr lang="zh-CN" altLang="en-US"/>
              <a:t>腹腔内感染，导致其感染的碳青霉烯类耐药菌中，</a:t>
            </a:r>
            <a:r>
              <a:rPr lang="en-US" altLang="zh-CN"/>
              <a:t>CRE</a:t>
            </a:r>
            <a:r>
              <a:rPr lang="zh-CN" altLang="en-US"/>
              <a:t>和</a:t>
            </a:r>
            <a:r>
              <a:rPr lang="en-US" altLang="zh-CN"/>
              <a:t>SMA</a:t>
            </a:r>
            <a:r>
              <a:rPr lang="zh-CN" altLang="en-US"/>
              <a:t>同样占据很大比例</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由 </a:t>
            </a:r>
            <a:r>
              <a:rPr lang="en-US" altLang="zh-CN"/>
              <a:t>MBL </a:t>
            </a:r>
            <a:r>
              <a:rPr lang="zh-CN" altLang="en-US"/>
              <a:t>肠杆菌引起的感染与患者死亡率增加有关。左侧是巴西的一项队列研究，我们可以看到，</a:t>
            </a:r>
            <a:r>
              <a:rPr lang="en-US" altLang="zh-CN"/>
              <a:t>CRE </a:t>
            </a:r>
            <a:r>
              <a:rPr lang="zh-CN" altLang="en-US"/>
              <a:t>感染患者的死亡率显著高于 </a:t>
            </a:r>
            <a:r>
              <a:rPr lang="en-US" altLang="zh-CN"/>
              <a:t>CSE </a:t>
            </a:r>
            <a:r>
              <a:rPr lang="zh-CN" altLang="en-US"/>
              <a:t>感染患者。</a:t>
            </a:r>
            <a:endParaRPr lang="en-US" altLang="zh-CN"/>
          </a:p>
          <a:p>
            <a:r>
              <a:rPr lang="zh-CN" altLang="en-US" sz="1200" b="0" i="0" kern="1200">
                <a:solidFill>
                  <a:schemeClr val="tx1"/>
                </a:solidFill>
                <a:effectLst/>
                <a:latin typeface="+mn-lt"/>
                <a:ea typeface="+mn-ea"/>
                <a:cs typeface="+mn-cs"/>
              </a:rPr>
              <a:t>嗜麦芽窄食单胞菌（</a:t>
            </a:r>
            <a:r>
              <a:rPr lang="en-US" altLang="zh-CN" sz="1200" b="0" i="0" kern="1200">
                <a:solidFill>
                  <a:schemeClr val="tx1"/>
                </a:solidFill>
                <a:effectLst/>
                <a:latin typeface="+mn-lt"/>
                <a:ea typeface="+mn-ea"/>
                <a:cs typeface="+mn-cs"/>
              </a:rPr>
              <a:t>SMA</a:t>
            </a:r>
            <a:r>
              <a:rPr lang="zh-CN" altLang="en-US" sz="1200" b="0" i="0" kern="1200">
                <a:solidFill>
                  <a:schemeClr val="tx1"/>
                </a:solidFill>
                <a:effectLst/>
                <a:latin typeface="+mn-lt"/>
                <a:ea typeface="+mn-ea"/>
                <a:cs typeface="+mn-cs"/>
              </a:rPr>
              <a:t>）是医院获得性肺炎 </a:t>
            </a:r>
            <a:r>
              <a:rPr lang="en-US" altLang="zh-CN" sz="1200" b="0" i="0" kern="1200">
                <a:solidFill>
                  <a:schemeClr val="tx1"/>
                </a:solidFill>
                <a:effectLst/>
                <a:latin typeface="+mn-lt"/>
                <a:ea typeface="+mn-ea"/>
                <a:cs typeface="+mn-cs"/>
              </a:rPr>
              <a:t>/ </a:t>
            </a:r>
            <a:r>
              <a:rPr lang="zh-CN" altLang="en-US" sz="1200" b="0" i="0" kern="1200">
                <a:solidFill>
                  <a:schemeClr val="tx1"/>
                </a:solidFill>
                <a:effectLst/>
                <a:latin typeface="+mn-lt"/>
                <a:ea typeface="+mn-ea"/>
                <a:cs typeface="+mn-cs"/>
              </a:rPr>
              <a:t>呼吸机相关性肺炎等疾病的重要病原体，与 </a:t>
            </a:r>
            <a:r>
              <a:rPr lang="en-US" altLang="zh-CN" sz="1200" b="0" i="0" kern="1200">
                <a:solidFill>
                  <a:schemeClr val="tx1"/>
                </a:solidFill>
                <a:effectLst/>
                <a:latin typeface="+mn-lt"/>
                <a:ea typeface="+mn-ea"/>
                <a:cs typeface="+mn-cs"/>
              </a:rPr>
              <a:t>ICU </a:t>
            </a:r>
            <a:r>
              <a:rPr lang="zh-CN" altLang="en-US" sz="1200" b="0" i="0" kern="1200">
                <a:solidFill>
                  <a:schemeClr val="tx1"/>
                </a:solidFill>
                <a:effectLst/>
                <a:latin typeface="+mn-lt"/>
                <a:ea typeface="+mn-ea"/>
                <a:cs typeface="+mn-cs"/>
              </a:rPr>
              <a:t>患者死亡率增加有关。多项研究在 </a:t>
            </a:r>
            <a:r>
              <a:rPr lang="en-US" altLang="zh-CN" sz="1200" b="0" i="0" kern="1200">
                <a:solidFill>
                  <a:schemeClr val="tx1"/>
                </a:solidFill>
                <a:effectLst/>
                <a:latin typeface="+mn-lt"/>
                <a:ea typeface="+mn-ea"/>
                <a:cs typeface="+mn-cs"/>
              </a:rPr>
              <a:t>SMA </a:t>
            </a:r>
            <a:r>
              <a:rPr lang="zh-CN" altLang="en-US" sz="1200" b="0" i="0" kern="1200">
                <a:solidFill>
                  <a:schemeClr val="tx1"/>
                </a:solidFill>
                <a:effectLst/>
                <a:latin typeface="+mn-lt"/>
                <a:ea typeface="+mn-ea"/>
                <a:cs typeface="+mn-cs"/>
              </a:rPr>
              <a:t>感染的 </a:t>
            </a:r>
            <a:r>
              <a:rPr lang="en-US" altLang="zh-CN" sz="1200" b="0" i="0" kern="1200">
                <a:solidFill>
                  <a:schemeClr val="tx1"/>
                </a:solidFill>
                <a:effectLst/>
                <a:latin typeface="+mn-lt"/>
                <a:ea typeface="+mn-ea"/>
                <a:cs typeface="+mn-cs"/>
              </a:rPr>
              <a:t>ICU </a:t>
            </a:r>
            <a:r>
              <a:rPr lang="zh-CN" altLang="en-US" sz="1200" b="0" i="0" kern="1200">
                <a:solidFill>
                  <a:schemeClr val="tx1"/>
                </a:solidFill>
                <a:effectLst/>
                <a:latin typeface="+mn-lt"/>
                <a:ea typeface="+mn-ea"/>
                <a:cs typeface="+mn-cs"/>
              </a:rPr>
              <a:t>患者中观察到高于</a:t>
            </a:r>
            <a:r>
              <a:rPr lang="en-US" altLang="zh-CN" sz="1200" b="0" i="0" kern="1200">
                <a:solidFill>
                  <a:schemeClr val="tx1"/>
                </a:solidFill>
                <a:effectLst/>
                <a:latin typeface="+mn-lt"/>
                <a:ea typeface="+mn-ea"/>
                <a:cs typeface="+mn-cs"/>
              </a:rPr>
              <a:t>50%</a:t>
            </a:r>
            <a:r>
              <a:rPr lang="zh-CN" altLang="en-US" sz="1200" b="0" i="0" kern="1200">
                <a:solidFill>
                  <a:schemeClr val="tx1"/>
                </a:solidFill>
                <a:effectLst/>
                <a:latin typeface="+mn-lt"/>
                <a:ea typeface="+mn-ea"/>
                <a:cs typeface="+mn-cs"/>
              </a:rPr>
              <a:t>的全因死亡率。一项研究调查了</a:t>
            </a:r>
            <a:r>
              <a:rPr lang="en-US" altLang="zh-CN" sz="1200" b="0" i="0" kern="1200">
                <a:solidFill>
                  <a:schemeClr val="tx1"/>
                </a:solidFill>
                <a:effectLst/>
                <a:latin typeface="+mn-lt"/>
                <a:ea typeface="+mn-ea"/>
                <a:cs typeface="+mn-cs"/>
              </a:rPr>
              <a:t>102</a:t>
            </a:r>
            <a:r>
              <a:rPr lang="zh-CN" altLang="en-US" sz="1200" b="0" i="0" kern="1200">
                <a:solidFill>
                  <a:schemeClr val="tx1"/>
                </a:solidFill>
                <a:effectLst/>
                <a:latin typeface="+mn-lt"/>
                <a:ea typeface="+mn-ea"/>
                <a:cs typeface="+mn-cs"/>
              </a:rPr>
              <a:t>例感染</a:t>
            </a:r>
            <a:r>
              <a:rPr lang="en-US" altLang="zh-CN" sz="1200" b="0" i="0" kern="1200">
                <a:solidFill>
                  <a:schemeClr val="tx1"/>
                </a:solidFill>
                <a:effectLst/>
                <a:latin typeface="+mn-lt"/>
                <a:ea typeface="+mn-ea"/>
                <a:cs typeface="+mn-cs"/>
              </a:rPr>
              <a:t>SMA</a:t>
            </a:r>
            <a:r>
              <a:rPr lang="zh-CN" altLang="en-US" sz="1200" b="0" i="0" kern="1200">
                <a:solidFill>
                  <a:schemeClr val="tx1"/>
                </a:solidFill>
                <a:effectLst/>
                <a:latin typeface="+mn-lt"/>
                <a:ea typeface="+mn-ea"/>
                <a:cs typeface="+mn-cs"/>
              </a:rPr>
              <a:t>的呼吸机相关肺炎患者，以及</a:t>
            </a:r>
            <a:r>
              <a:rPr lang="en-US" altLang="zh-CN" sz="1200" b="0" i="0" kern="1200">
                <a:solidFill>
                  <a:schemeClr val="tx1"/>
                </a:solidFill>
                <a:effectLst/>
                <a:latin typeface="+mn-lt"/>
                <a:ea typeface="+mn-ea"/>
                <a:cs typeface="+mn-cs"/>
              </a:rPr>
              <a:t>1492</a:t>
            </a:r>
            <a:r>
              <a:rPr lang="zh-CN" altLang="en-US" sz="1200" b="0" i="0" kern="1200">
                <a:solidFill>
                  <a:schemeClr val="tx1"/>
                </a:solidFill>
                <a:effectLst/>
                <a:latin typeface="+mn-lt"/>
                <a:ea typeface="+mn-ea"/>
                <a:cs typeface="+mn-cs"/>
              </a:rPr>
              <a:t>例其他病原体引起的呼吸机相关肺炎患者，其中感染嗜麦芽窄食单胞菌的</a:t>
            </a:r>
            <a:r>
              <a:rPr lang="en-US" altLang="zh-CN" sz="1200" b="0" i="0" kern="1200">
                <a:solidFill>
                  <a:schemeClr val="tx1"/>
                </a:solidFill>
                <a:effectLst/>
                <a:latin typeface="+mn-lt"/>
                <a:ea typeface="+mn-ea"/>
                <a:cs typeface="+mn-cs"/>
              </a:rPr>
              <a:t>ICU VAP</a:t>
            </a:r>
            <a:r>
              <a:rPr lang="zh-CN" altLang="en-US" sz="1200" b="0" i="0" kern="1200">
                <a:solidFill>
                  <a:schemeClr val="tx1"/>
                </a:solidFill>
                <a:effectLst/>
                <a:latin typeface="+mn-lt"/>
                <a:ea typeface="+mn-ea"/>
                <a:cs typeface="+mn-cs"/>
              </a:rPr>
              <a:t>患者住院死亡率分别为</a:t>
            </a:r>
            <a:r>
              <a:rPr lang="en-US" altLang="zh-CN" sz="1200" b="0" i="0" kern="1200">
                <a:solidFill>
                  <a:schemeClr val="tx1"/>
                </a:solidFill>
                <a:effectLst/>
                <a:latin typeface="+mn-lt"/>
                <a:ea typeface="+mn-ea"/>
                <a:cs typeface="+mn-cs"/>
              </a:rPr>
              <a:t>52.9%</a:t>
            </a:r>
            <a:r>
              <a:rPr lang="zh-CN" altLang="en-US" sz="1200" b="0" i="0" kern="1200">
                <a:solidFill>
                  <a:schemeClr val="tx1"/>
                </a:solidFill>
                <a:effectLst/>
                <a:latin typeface="+mn-lt"/>
                <a:ea typeface="+mn-ea"/>
                <a:cs typeface="+mn-cs"/>
              </a:rPr>
              <a:t>，显著高于感染其他病原体的</a:t>
            </a:r>
            <a:r>
              <a:rPr lang="en-US" altLang="zh-CN" sz="1200" b="0" i="0" kern="1200">
                <a:solidFill>
                  <a:schemeClr val="tx1"/>
                </a:solidFill>
                <a:effectLst/>
                <a:latin typeface="+mn-lt"/>
                <a:ea typeface="+mn-ea"/>
                <a:cs typeface="+mn-cs"/>
              </a:rPr>
              <a:t>ICU VAP</a:t>
            </a:r>
            <a:r>
              <a:rPr lang="zh-CN" altLang="en-US" sz="1200" b="0" i="0" kern="1200">
                <a:solidFill>
                  <a:schemeClr val="tx1"/>
                </a:solidFill>
                <a:effectLst/>
                <a:latin typeface="+mn-lt"/>
                <a:ea typeface="+mn-ea"/>
                <a:cs typeface="+mn-cs"/>
              </a:rPr>
              <a:t>患者。</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与其他感染相比，由 </a:t>
            </a:r>
            <a:r>
              <a:rPr lang="en-US" altLang="zh-CN"/>
              <a:t>MBL </a:t>
            </a:r>
            <a:r>
              <a:rPr lang="zh-CN" altLang="en-US"/>
              <a:t>肠杆菌引起的感染明显延长患者住院和 </a:t>
            </a:r>
            <a:r>
              <a:rPr lang="en-US" altLang="zh-CN"/>
              <a:t>/ </a:t>
            </a:r>
            <a:r>
              <a:rPr lang="zh-CN" altLang="en-US"/>
              <a:t>或 </a:t>
            </a:r>
            <a:r>
              <a:rPr lang="en-US" altLang="zh-CN"/>
              <a:t>ICU </a:t>
            </a:r>
            <a:r>
              <a:rPr lang="zh-CN" altLang="en-US"/>
              <a:t>住院时间。</a:t>
            </a:r>
            <a:endParaRPr lang="en-US" altLang="zh-CN"/>
          </a:p>
          <a:p>
            <a:r>
              <a:rPr lang="zh-CN" altLang="en-US"/>
              <a:t>此外，可以看到，一项我国多中心研究显示，与 </a:t>
            </a:r>
            <a:r>
              <a:rPr lang="en-US" altLang="zh-CN"/>
              <a:t>ICU </a:t>
            </a:r>
            <a:r>
              <a:rPr lang="zh-CN" altLang="en-US"/>
              <a:t>中未发生 </a:t>
            </a:r>
            <a:r>
              <a:rPr lang="en-US" altLang="zh-CN"/>
              <a:t>CRE </a:t>
            </a:r>
            <a:r>
              <a:rPr lang="zh-CN" altLang="en-US"/>
              <a:t>感染患者相比，</a:t>
            </a:r>
            <a:r>
              <a:rPr lang="en-US" altLang="zh-CN"/>
              <a:t>CRE </a:t>
            </a:r>
            <a:r>
              <a:rPr lang="zh-CN" altLang="en-US"/>
              <a:t>感染的</a:t>
            </a:r>
            <a:r>
              <a:rPr lang="en-US" altLang="zh-CN"/>
              <a:t>ICU</a:t>
            </a:r>
            <a:r>
              <a:rPr lang="zh-CN" altLang="en-US"/>
              <a:t>患者住院费用显著增加三万多元。这一现象无疑加重了患者的疾病负担，也对医疗资源造成了更大的压力。</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目前临床上面临的困境是 </a:t>
            </a:r>
            <a:r>
              <a:rPr lang="en-US" altLang="zh-CN"/>
              <a:t>CRE-MBL </a:t>
            </a:r>
            <a:r>
              <a:rPr lang="zh-CN" altLang="en-US"/>
              <a:t>及 </a:t>
            </a:r>
            <a:r>
              <a:rPr lang="en-US" altLang="zh-CN"/>
              <a:t>SMA </a:t>
            </a:r>
            <a:r>
              <a:rPr lang="zh-CN" altLang="en-US"/>
              <a:t>检出率逐年上升，但治疗选择相当有限。</a:t>
            </a:r>
            <a:r>
              <a:rPr lang="en-US" altLang="zh-CN"/>
              <a:t>CRE-MBL </a:t>
            </a:r>
            <a:r>
              <a:rPr lang="zh-CN" altLang="en-US"/>
              <a:t>对多数抗菌药物耐药率高，而 </a:t>
            </a:r>
            <a:r>
              <a:rPr lang="en-US" altLang="zh-CN"/>
              <a:t>SMA </a:t>
            </a:r>
            <a:r>
              <a:rPr lang="zh-CN" altLang="en-US"/>
              <a:t>的耐药机制复杂，对常用抗生素如 </a:t>
            </a:r>
            <a:r>
              <a:rPr lang="en-US" altLang="zh-CN"/>
              <a:t>β– </a:t>
            </a:r>
            <a:r>
              <a:rPr lang="zh-CN" altLang="en-US"/>
              <a:t>内酰胺类、喹诺酮类、四环素类、氨基糖苷类及碳青霉烯类药物均表现出耐药性。</a:t>
            </a:r>
            <a:endParaRPr lang="zh-CN" altLang="en-US"/>
          </a:p>
          <a:p>
            <a:r>
              <a:rPr lang="zh-CN" altLang="en-US"/>
              <a:t>这使得临床医生在治疗过程中面临着巨大的挑战，亟需新的有效治疗方案。</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当前临床常用药物方案存在安全问题及有效性不足等局限。</a:t>
            </a:r>
            <a:endParaRPr lang="en-US" altLang="zh-CN"/>
          </a:p>
          <a:p>
            <a:r>
              <a:rPr lang="zh-CN" altLang="en-US"/>
              <a:t>多黏菌素治疗窗窄，治疗时需关注肾毒性与神经毒性等安全问题，且易发生耐药，肠杆菌耐药性常见；</a:t>
            </a:r>
            <a:endParaRPr lang="en-US" altLang="zh-CN"/>
          </a:p>
          <a:p>
            <a:r>
              <a:rPr lang="zh-CN" altLang="en-US"/>
              <a:t>头孢德罗安全性与其他头孢菌素相似，但</a:t>
            </a:r>
            <a:r>
              <a:rPr lang="en-US" altLang="zh-CN"/>
              <a:t>CRE</a:t>
            </a:r>
            <a:r>
              <a:rPr lang="zh-CN" altLang="en-US"/>
              <a:t>重症感染临床疗效数据有限，且产</a:t>
            </a:r>
            <a:r>
              <a:rPr lang="en-US" altLang="zh-CN"/>
              <a:t>KPC</a:t>
            </a:r>
            <a:r>
              <a:rPr lang="zh-CN" altLang="en-US"/>
              <a:t>菌株出现耐药的可能性较高；</a:t>
            </a:r>
            <a:endParaRPr lang="en-US" altLang="zh-CN"/>
          </a:p>
          <a:p>
            <a:r>
              <a:rPr lang="zh-CN" altLang="en-US"/>
              <a:t>替加环素存在黑框警告全因死亡率增加的安全问题，其应用时血药浓度较低，且危重患者肺部渗透能力降低；</a:t>
            </a:r>
            <a:endParaRPr lang="en-US" altLang="zh-CN"/>
          </a:p>
          <a:p>
            <a:r>
              <a:rPr lang="zh-CN" altLang="en-US"/>
              <a:t>头孢他啶</a:t>
            </a:r>
            <a:r>
              <a:rPr lang="en-US" altLang="zh-CN"/>
              <a:t>-</a:t>
            </a:r>
            <a:r>
              <a:rPr lang="zh-CN" altLang="en-US"/>
              <a:t>阿维巴坦对产</a:t>
            </a:r>
            <a:r>
              <a:rPr lang="en-US" altLang="zh-CN"/>
              <a:t>KPC</a:t>
            </a:r>
            <a:r>
              <a:rPr lang="zh-CN" altLang="en-US"/>
              <a:t>的菌株感染有效，但是缺乏对产</a:t>
            </a:r>
            <a:r>
              <a:rPr lang="en-US" altLang="zh-CN"/>
              <a:t>MBL</a:t>
            </a:r>
            <a:r>
              <a:rPr lang="zh-CN" altLang="en-US"/>
              <a:t>菌株的活性；</a:t>
            </a:r>
            <a:endParaRPr lang="en-US" altLang="zh-CN"/>
          </a:p>
          <a:p>
            <a:r>
              <a:rPr lang="zh-CN" altLang="en-US" sz="1200" b="0" i="0" kern="1200">
                <a:solidFill>
                  <a:schemeClr val="tx1"/>
                </a:solidFill>
                <a:effectLst/>
                <a:latin typeface="+mn-lt"/>
                <a:ea typeface="+mn-ea"/>
                <a:cs typeface="+mn-cs"/>
              </a:rPr>
              <a:t>这些局限性使得现有药物在治疗耐药菌感染时难以达到理想的治疗效果。</a:t>
            </a:r>
            <a:endParaRPr lang="en-US" altLang="zh-CN"/>
          </a:p>
          <a:p>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欧洲临床微生物学和传染病学会（</a:t>
            </a:r>
            <a:r>
              <a:rPr lang="en-US" altLang="zh-CN"/>
              <a:t>ESCMID</a:t>
            </a:r>
            <a:r>
              <a:rPr lang="zh-CN" altLang="en-US"/>
              <a:t>）指南 </a:t>
            </a:r>
            <a:r>
              <a:rPr lang="en-US" altLang="zh-CN"/>
              <a:t>2022 </a:t>
            </a:r>
            <a:r>
              <a:rPr lang="zh-CN" altLang="en-US"/>
              <a:t>版、美国传染病学会（</a:t>
            </a:r>
            <a:r>
              <a:rPr lang="en-US" altLang="zh-CN"/>
              <a:t>IDSA</a:t>
            </a:r>
            <a:r>
              <a:rPr lang="zh-CN" altLang="en-US"/>
              <a:t>）指南</a:t>
            </a:r>
            <a:r>
              <a:rPr lang="en-US" altLang="zh-CN"/>
              <a:t>2024</a:t>
            </a:r>
            <a:r>
              <a:rPr lang="zh-CN" altLang="en-US"/>
              <a:t>版，以及我国的</a:t>
            </a:r>
            <a:r>
              <a:rPr lang="en-US" altLang="zh-CN"/>
              <a:t>《</a:t>
            </a:r>
            <a:r>
              <a:rPr lang="zh-CN" altLang="en-US" sz="1200"/>
              <a:t>碳青霉烯类耐药革兰阴性菌感染的诊断、治疗及防控指南（</a:t>
            </a:r>
            <a:r>
              <a:rPr lang="en-US" altLang="zh-CN" sz="1200"/>
              <a:t>2024</a:t>
            </a:r>
            <a:r>
              <a:rPr lang="zh-CN" altLang="en-US" sz="1200"/>
              <a:t>版）</a:t>
            </a:r>
            <a:r>
              <a:rPr lang="en-US" altLang="zh-CN" sz="1200"/>
              <a:t>》</a:t>
            </a:r>
            <a:r>
              <a:rPr lang="zh-CN" altLang="en-US" sz="1200"/>
              <a:t>均建议对于产</a:t>
            </a:r>
            <a:r>
              <a:rPr lang="en-US" altLang="zh-CN" sz="1200"/>
              <a:t>MBL</a:t>
            </a:r>
            <a:r>
              <a:rPr lang="zh-CN" altLang="en-US" sz="1200"/>
              <a:t>耐药菌患者，使用氨曲南联合头孢他啶</a:t>
            </a:r>
            <a:r>
              <a:rPr lang="en-US" altLang="zh-CN" sz="1200"/>
              <a:t>-</a:t>
            </a:r>
            <a:r>
              <a:rPr lang="zh-CN" altLang="en-US" sz="1200"/>
              <a:t>阿维巴坦治疗，但证据质量极低，且存在药物暴露量不足、安全性问题及耐药风险等多种局限。</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要理解这款药物的价值，我们需要先剖析现状 </a:t>
            </a:r>
            <a:r>
              <a:rPr lang="en-US" altLang="zh-CN"/>
              <a:t>—— </a:t>
            </a:r>
            <a:r>
              <a:rPr lang="zh-CN" altLang="en-US"/>
              <a:t>碳青霉烯类耐药对</a:t>
            </a:r>
            <a:r>
              <a:rPr lang="en-US" altLang="zh-CN"/>
              <a:t>ICU</a:t>
            </a:r>
            <a:r>
              <a:rPr lang="zh-CN" altLang="en-US"/>
              <a:t>患者造成了什么影响？当前碳青霉烯类耐药菌治疗面临哪些困境？接着，探讨氨曲南 </a:t>
            </a:r>
            <a:r>
              <a:rPr lang="en-US" altLang="zh-CN"/>
              <a:t>/ </a:t>
            </a:r>
            <a:r>
              <a:rPr lang="zh-CN" altLang="en-US"/>
              <a:t>阿维巴坦如何突破 </a:t>
            </a:r>
            <a:r>
              <a:rPr lang="en-US" altLang="zh-CN"/>
              <a:t>MBL </a:t>
            </a:r>
            <a:r>
              <a:rPr lang="zh-CN" altLang="en-US"/>
              <a:t>耐药壁垒？最后，用循证证据回答一个关键问题：为何说它是 </a:t>
            </a:r>
            <a:r>
              <a:rPr lang="en-US" altLang="zh-CN"/>
              <a:t>ICU </a:t>
            </a:r>
            <a:r>
              <a:rPr lang="zh-CN" altLang="en-US"/>
              <a:t>抗感染的优选方案？</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3009" name="幻灯片图像占位符 1"/>
          <p:cNvSpPr>
            <a:spLocks noGrp="1" noRot="1" noChangeAspect="1"/>
          </p:cNvSpPr>
          <p:nvPr>
            <p:ph type="sldImg"/>
          </p:nvPr>
        </p:nvSpPr>
        <p:spPr/>
      </p:sp>
      <p:sp>
        <p:nvSpPr>
          <p:cNvPr id="4301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思福诺</a:t>
            </a:r>
            <a:r>
              <a:rPr lang="en-US" altLang="zh-CN" dirty="0"/>
              <a:t>2025</a:t>
            </a:r>
            <a:r>
              <a:rPr lang="zh-CN" altLang="en-US" dirty="0"/>
              <a:t>年</a:t>
            </a:r>
            <a:r>
              <a:rPr lang="en-US" altLang="zh-CN" dirty="0"/>
              <a:t>6</a:t>
            </a:r>
            <a:r>
              <a:rPr lang="zh-CN" altLang="en-US" dirty="0"/>
              <a:t>月在中国批准上市，获批治疗成人的</a:t>
            </a:r>
            <a:r>
              <a:rPr lang="zh-CN" altLang="en-US" dirty="0">
                <a:solidFill>
                  <a:srgbClr val="404040"/>
                </a:solidFill>
                <a:latin typeface="Pfizer Tomorrow" charset="0"/>
                <a:ea typeface="微软雅黑" panose="020B0503020204020204" charset="-122"/>
                <a:sym typeface="Pfizer Tomorrow" charset="0"/>
              </a:rPr>
              <a:t>复杂性腹腔内感染（</a:t>
            </a:r>
            <a:r>
              <a:rPr lang="en-US" altLang="zh-CN" dirty="0" err="1">
                <a:solidFill>
                  <a:srgbClr val="404040"/>
                </a:solidFill>
                <a:latin typeface="Pfizer Tomorrow" charset="0"/>
                <a:ea typeface="微软雅黑" panose="020B0503020204020204" charset="-122"/>
                <a:sym typeface="Pfizer Tomorrow" charset="0"/>
              </a:rPr>
              <a:t>cIAI</a:t>
            </a:r>
            <a:r>
              <a:rPr lang="zh-CN" altLang="en-US" dirty="0">
                <a:solidFill>
                  <a:srgbClr val="404040"/>
                </a:solidFill>
                <a:latin typeface="Pfizer Tomorrow" charset="0"/>
                <a:ea typeface="微软雅黑" panose="020B0503020204020204" charset="-122"/>
                <a:sym typeface="Pfizer Tomorrow" charset="0"/>
              </a:rPr>
              <a:t>），医院获得性肺炎（</a:t>
            </a:r>
            <a:r>
              <a:rPr lang="en-US" altLang="zh-CN" dirty="0">
                <a:solidFill>
                  <a:srgbClr val="404040"/>
                </a:solidFill>
                <a:latin typeface="Pfizer Tomorrow" charset="0"/>
                <a:ea typeface="微软雅黑" panose="020B0503020204020204" charset="-122"/>
                <a:sym typeface="Pfizer Tomorrow" charset="0"/>
              </a:rPr>
              <a:t>HAP</a:t>
            </a:r>
            <a:r>
              <a:rPr lang="zh-CN" altLang="en-US" dirty="0">
                <a:solidFill>
                  <a:srgbClr val="404040"/>
                </a:solidFill>
                <a:latin typeface="Pfizer Tomorrow" charset="0"/>
                <a:ea typeface="微软雅黑" panose="020B0503020204020204" charset="-122"/>
                <a:sym typeface="Pfizer Tomorrow" charset="0"/>
              </a:rPr>
              <a:t>），包括呼吸机相关性肺炎（</a:t>
            </a:r>
            <a:r>
              <a:rPr lang="en-US" altLang="zh-CN" dirty="0">
                <a:solidFill>
                  <a:srgbClr val="404040"/>
                </a:solidFill>
                <a:latin typeface="Pfizer Tomorrow" charset="0"/>
                <a:ea typeface="微软雅黑" panose="020B0503020204020204" charset="-122"/>
                <a:sym typeface="Pfizer Tomorrow" charset="0"/>
              </a:rPr>
              <a:t>VAP</a:t>
            </a:r>
            <a:r>
              <a:rPr lang="zh-CN" altLang="en-US" dirty="0">
                <a:solidFill>
                  <a:srgbClr val="404040"/>
                </a:solidFill>
                <a:latin typeface="Pfizer Tomorrow" charset="0"/>
                <a:ea typeface="微软雅黑" panose="020B0503020204020204" charset="-122"/>
                <a:sym typeface="Pfizer Tomorrow" charset="0"/>
              </a:rPr>
              <a:t>），截止至</a:t>
            </a:r>
            <a:r>
              <a:rPr lang="en-US" altLang="zh-CN" dirty="0">
                <a:solidFill>
                  <a:srgbClr val="404040"/>
                </a:solidFill>
                <a:latin typeface="Pfizer Tomorrow" charset="0"/>
                <a:ea typeface="微软雅黑" panose="020B0503020204020204" charset="-122"/>
                <a:sym typeface="Pfizer Tomorrow" charset="0"/>
              </a:rPr>
              <a:t>2025</a:t>
            </a:r>
            <a:r>
              <a:rPr lang="zh-CN" altLang="en-US" dirty="0">
                <a:solidFill>
                  <a:srgbClr val="404040"/>
                </a:solidFill>
                <a:latin typeface="Pfizer Tomorrow" charset="0"/>
                <a:ea typeface="微软雅黑" panose="020B0503020204020204" charset="-122"/>
                <a:sym typeface="Pfizer Tomorrow" charset="0"/>
              </a:rPr>
              <a:t>年</a:t>
            </a:r>
            <a:r>
              <a:rPr lang="en-US" altLang="zh-CN" dirty="0">
                <a:solidFill>
                  <a:srgbClr val="404040"/>
                </a:solidFill>
                <a:latin typeface="Pfizer Tomorrow" charset="0"/>
                <a:ea typeface="微软雅黑" panose="020B0503020204020204" charset="-122"/>
                <a:sym typeface="Pfizer Tomorrow" charset="0"/>
              </a:rPr>
              <a:t>6</a:t>
            </a:r>
            <a:r>
              <a:rPr lang="zh-CN" altLang="en-US" dirty="0">
                <a:solidFill>
                  <a:srgbClr val="404040"/>
                </a:solidFill>
                <a:latin typeface="Pfizer Tomorrow" charset="0"/>
                <a:ea typeface="微软雅黑" panose="020B0503020204020204" charset="-122"/>
                <a:sym typeface="Pfizer Tomorrow" charset="0"/>
              </a:rPr>
              <a:t>月，</a:t>
            </a:r>
            <a:r>
              <a:rPr lang="zh-CN" altLang="en-US" dirty="0"/>
              <a:t>是目前国内第一个可单药治疗产金属酶 </a:t>
            </a:r>
            <a:r>
              <a:rPr lang="en-US" altLang="zh-CN" dirty="0"/>
              <a:t>CRE </a:t>
            </a:r>
            <a:r>
              <a:rPr lang="zh-CN" altLang="en-US" dirty="0"/>
              <a:t>的新型 </a:t>
            </a:r>
            <a:r>
              <a:rPr lang="en-US" altLang="zh-CN" dirty="0"/>
              <a:t>β-</a:t>
            </a:r>
            <a:r>
              <a:rPr lang="zh-CN" altLang="en-US" dirty="0"/>
              <a:t>内酰胺酶抑制剂复合制剂，开创了抗感染治疗新格局，具有重要的意义；</a:t>
            </a:r>
            <a:br>
              <a:rPr lang="en-US" altLang="zh-CN" dirty="0"/>
            </a:br>
            <a:endParaRPr lang="zh-CN" altLang="en-US" dirty="0"/>
          </a:p>
        </p:txBody>
      </p:sp>
      <p:sp>
        <p:nvSpPr>
          <p:cNvPr id="4301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5057" name="幻灯片图像占位符 1"/>
          <p:cNvSpPr>
            <a:spLocks noGrp="1" noRot="1" noChangeAspect="1"/>
          </p:cNvSpPr>
          <p:nvPr>
            <p:ph type="sldImg"/>
          </p:nvPr>
        </p:nvSpPr>
        <p:spPr/>
      </p:sp>
      <p:sp>
        <p:nvSpPr>
          <p:cNvPr id="4505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接下来我将从抑酶谱、作用机制、抗菌活性、疗效</a:t>
            </a:r>
            <a:r>
              <a:rPr lang="en-US" altLang="zh-CN" dirty="0"/>
              <a:t>-</a:t>
            </a:r>
            <a:r>
              <a:rPr lang="zh-CN" altLang="en-US" dirty="0"/>
              <a:t>安全性、</a:t>
            </a:r>
            <a:r>
              <a:rPr lang="en-US" altLang="zh-CN" dirty="0"/>
              <a:t>PK/PD</a:t>
            </a:r>
            <a:r>
              <a:rPr lang="zh-CN" altLang="en-US" dirty="0"/>
              <a:t>、指南推荐这几个方面展示其开创抗感染治疗新格局的优势</a:t>
            </a:r>
            <a:endParaRPr lang="zh-CN" altLang="en-US" dirty="0"/>
          </a:p>
        </p:txBody>
      </p:sp>
      <p:sp>
        <p:nvSpPr>
          <p:cNvPr id="4505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要理解这款药物的价值，我们需要先剖析现状 </a:t>
            </a:r>
            <a:r>
              <a:rPr lang="en-US" altLang="zh-CN"/>
              <a:t>—— </a:t>
            </a:r>
            <a:r>
              <a:rPr lang="zh-CN" altLang="en-US"/>
              <a:t>碳青霉烯类耐药对</a:t>
            </a:r>
            <a:r>
              <a:rPr lang="en-US" altLang="zh-CN"/>
              <a:t>ICU</a:t>
            </a:r>
            <a:r>
              <a:rPr lang="zh-CN" altLang="en-US"/>
              <a:t>患者造成了什么影响？当前碳青霉烯类耐药菌治疗面临哪些困境？接着，探讨氨曲南 </a:t>
            </a:r>
            <a:r>
              <a:rPr lang="en-US" altLang="zh-CN"/>
              <a:t>/ </a:t>
            </a:r>
            <a:r>
              <a:rPr lang="zh-CN" altLang="en-US"/>
              <a:t>阿维巴坦如何突破 </a:t>
            </a:r>
            <a:r>
              <a:rPr lang="en-US" altLang="zh-CN"/>
              <a:t>MBL </a:t>
            </a:r>
            <a:r>
              <a:rPr lang="zh-CN" altLang="en-US"/>
              <a:t>耐药壁垒？最后，用循证证据回答一个关键问题：为何说它是 </a:t>
            </a:r>
            <a:r>
              <a:rPr lang="en-US" altLang="zh-CN"/>
              <a:t>ICU </a:t>
            </a:r>
            <a:r>
              <a:rPr lang="zh-CN" altLang="en-US"/>
              <a:t>抗感染的优选方案？</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7105" name="幻灯片图像占位符 1"/>
          <p:cNvSpPr>
            <a:spLocks noGrp="1" noRot="1" noChangeAspect="1"/>
          </p:cNvSpPr>
          <p:nvPr>
            <p:ph type="sldImg"/>
          </p:nvPr>
        </p:nvSpPr>
        <p:spPr/>
      </p:sp>
      <p:sp>
        <p:nvSpPr>
          <p:cNvPr id="4710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抑酶谱方面，氨曲南对</a:t>
            </a:r>
            <a:r>
              <a:rPr lang="en-US" altLang="zh-CN" dirty="0"/>
              <a:t>B</a:t>
            </a:r>
            <a:r>
              <a:rPr lang="zh-CN" altLang="en-US" dirty="0"/>
              <a:t>类碳青霉烯酶（金属酶）稳定，阿维巴坦具有广谱抑酶活性，能抑制</a:t>
            </a:r>
            <a:r>
              <a:rPr lang="en-US" altLang="zh-CN" dirty="0"/>
              <a:t>A</a:t>
            </a:r>
            <a:r>
              <a:rPr lang="zh-CN" altLang="en-US" dirty="0"/>
              <a:t>类、</a:t>
            </a:r>
            <a:r>
              <a:rPr lang="en-US" altLang="zh-CN" dirty="0"/>
              <a:t>C</a:t>
            </a:r>
            <a:r>
              <a:rPr lang="zh-CN" altLang="en-US" dirty="0"/>
              <a:t>类和某些</a:t>
            </a:r>
            <a:r>
              <a:rPr lang="en-US" altLang="zh-CN" dirty="0"/>
              <a:t>D</a:t>
            </a:r>
            <a:r>
              <a:rPr lang="zh-CN" altLang="en-US" dirty="0"/>
              <a:t>类</a:t>
            </a:r>
            <a:r>
              <a:rPr lang="en-US" altLang="zh-CN" dirty="0"/>
              <a:t>β-</a:t>
            </a:r>
            <a:r>
              <a:rPr lang="zh-CN" altLang="en-US" dirty="0"/>
              <a:t>内酰胺酶；两者可以覆盖</a:t>
            </a:r>
            <a:r>
              <a:rPr lang="en-US" altLang="zh-CN" dirty="0"/>
              <a:t>CRE</a:t>
            </a:r>
            <a:r>
              <a:rPr lang="zh-CN" altLang="en-US" dirty="0"/>
              <a:t>全酶型</a:t>
            </a:r>
            <a:endParaRPr lang="zh-CN" altLang="en-US" dirty="0"/>
          </a:p>
        </p:txBody>
      </p:sp>
      <p:sp>
        <p:nvSpPr>
          <p:cNvPr id="4710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3" name="幻灯片图像占位符 1"/>
          <p:cNvSpPr>
            <a:spLocks noGrp="1" noRot="1" noChangeAspect="1"/>
          </p:cNvSpPr>
          <p:nvPr>
            <p:ph type="sldImg"/>
          </p:nvPr>
        </p:nvSpPr>
        <p:spPr/>
      </p:sp>
      <p:sp>
        <p:nvSpPr>
          <p:cNvPr id="4915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而在目前新型抗生素的抑酶谱对比中，我们由图可知，仅</a:t>
            </a:r>
            <a:r>
              <a:rPr lang="zh-CN" altLang="en-US" dirty="0"/>
              <a:t>思福诺</a:t>
            </a:r>
            <a:r>
              <a:rPr lang="zh-CN" altLang="en-US" baseline="0" dirty="0"/>
              <a:t>可</a:t>
            </a:r>
            <a:r>
              <a:rPr lang="zh-CN" altLang="en-US" dirty="0">
                <a:solidFill>
                  <a:srgbClr val="000D45"/>
                </a:solidFill>
                <a:latin typeface="Pfizer Tomorrow" charset="0"/>
                <a:sym typeface="Pfizer Tomorrow" charset="0"/>
              </a:rPr>
              <a:t>全酶型覆盖</a:t>
            </a:r>
            <a:r>
              <a:rPr lang="en-US" altLang="zh-CN" dirty="0">
                <a:solidFill>
                  <a:srgbClr val="000D45"/>
                </a:solidFill>
                <a:latin typeface="Pfizer Tomorrow" charset="0"/>
                <a:sym typeface="Pfizer Tomorrow" charset="0"/>
              </a:rPr>
              <a:t>CRE</a:t>
            </a:r>
            <a:r>
              <a:rPr lang="zh-CN" altLang="en-US" dirty="0"/>
              <a:t>具有可靠活性且指南推荐，进一步凸显其全酶覆盖的优势</a:t>
            </a:r>
            <a:endParaRPr lang="zh-CN" altLang="en-US" dirty="0"/>
          </a:p>
        </p:txBody>
      </p:sp>
      <p:sp>
        <p:nvSpPr>
          <p:cNvPr id="4915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1201" name="幻灯片图像占位符 1"/>
          <p:cNvSpPr>
            <a:spLocks noGrp="1" noRot="1" noChangeAspect="1"/>
          </p:cNvSpPr>
          <p:nvPr>
            <p:ph type="sldImg"/>
          </p:nvPr>
        </p:nvSpPr>
        <p:spPr/>
      </p:sp>
      <p:sp>
        <p:nvSpPr>
          <p:cNvPr id="5120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sz="1800" dirty="0">
                <a:solidFill>
                  <a:srgbClr val="000000"/>
                </a:solidFill>
                <a:latin typeface="微软雅黑" panose="020B0503020204020204" charset="-122"/>
                <a:sym typeface="等线" panose="02010600030101010101" pitchFamily="2" charset="-122"/>
              </a:rPr>
              <a:t>作用机制方面：</a:t>
            </a:r>
            <a:br>
              <a:rPr lang="en-US" altLang="zh-CN" sz="1800" dirty="0">
                <a:solidFill>
                  <a:srgbClr val="000000"/>
                </a:solidFill>
                <a:latin typeface="微软雅黑" panose="020B0503020204020204" charset="-122"/>
                <a:sym typeface="等线" panose="02010600030101010101" pitchFamily="2" charset="-122"/>
              </a:rPr>
            </a:br>
            <a:r>
              <a:rPr lang="zh-CN" altLang="en-US" sz="1800" b="1" dirty="0">
                <a:solidFill>
                  <a:srgbClr val="00C987"/>
                </a:solidFill>
                <a:latin typeface="Pfizer Tomorrow" charset="0"/>
                <a:sym typeface="Pfizer Tomorrow" charset="0"/>
              </a:rPr>
              <a:t>氨曲南对</a:t>
            </a:r>
            <a:r>
              <a:rPr lang="en-US" altLang="zh-CN" sz="1800" b="1" dirty="0">
                <a:solidFill>
                  <a:srgbClr val="00C987"/>
                </a:solidFill>
                <a:latin typeface="Pfizer Tomorrow" charset="0"/>
                <a:sym typeface="Pfizer Tomorrow" charset="0"/>
              </a:rPr>
              <a:t>MBL</a:t>
            </a:r>
            <a:r>
              <a:rPr lang="zh-CN" altLang="en-US" sz="1800" b="1" dirty="0">
                <a:solidFill>
                  <a:srgbClr val="00C987"/>
                </a:solidFill>
                <a:latin typeface="Pfizer Tomorrow" charset="0"/>
                <a:sym typeface="Pfizer Tomorrow" charset="0"/>
              </a:rPr>
              <a:t>稳定</a:t>
            </a:r>
            <a:r>
              <a:rPr lang="zh-CN" altLang="en-US" sz="1800" b="1" dirty="0">
                <a:solidFill>
                  <a:schemeClr val="accent1"/>
                </a:solidFill>
                <a:latin typeface="Pfizer Tomorrow" charset="0"/>
                <a:sym typeface="Pfizer Tomorrow" charset="0"/>
              </a:rPr>
              <a:t>，与</a:t>
            </a:r>
            <a:r>
              <a:rPr lang="en-US" altLang="zh-CN" sz="1800" b="1" dirty="0">
                <a:solidFill>
                  <a:schemeClr val="accent1"/>
                </a:solidFill>
                <a:latin typeface="Pfizer Tomorrow" charset="0"/>
                <a:sym typeface="Pfizer Tomorrow" charset="0"/>
              </a:rPr>
              <a:t>PBP3</a:t>
            </a:r>
            <a:r>
              <a:rPr lang="zh-CN" altLang="en-US" sz="1800" b="1" dirty="0">
                <a:solidFill>
                  <a:schemeClr val="accent1"/>
                </a:solidFill>
                <a:latin typeface="Pfizer Tomorrow" charset="0"/>
                <a:sym typeface="Pfizer Tomorrow" charset="0"/>
              </a:rPr>
              <a:t>结合可抑制细菌细胞壁肽聚糖合成，</a:t>
            </a:r>
            <a:r>
              <a:rPr lang="zh-CN" altLang="en-US" sz="1800" b="1" dirty="0">
                <a:solidFill>
                  <a:srgbClr val="00C987"/>
                </a:solidFill>
                <a:latin typeface="Pfizer Tomorrow" charset="0"/>
                <a:sym typeface="Pfizer Tomorrow" charset="0"/>
              </a:rPr>
              <a:t>使细菌裂解和死亡</a:t>
            </a:r>
            <a:br>
              <a:rPr lang="en-US" altLang="zh-CN" sz="1800" b="1" dirty="0">
                <a:solidFill>
                  <a:srgbClr val="00C987"/>
                </a:solidFill>
                <a:latin typeface="Pfizer Tomorrow" charset="0"/>
                <a:sym typeface="Pfizer Tomorrow" charset="0"/>
              </a:rPr>
            </a:br>
            <a:r>
              <a:rPr lang="zh-CN" altLang="en-US" sz="1800" b="1" dirty="0">
                <a:solidFill>
                  <a:srgbClr val="00C987"/>
                </a:solidFill>
                <a:latin typeface="Pfizer Tomorrow" charset="0"/>
                <a:sym typeface="Pfizer Tomorrow" charset="0"/>
              </a:rPr>
              <a:t>阿维巴坦</a:t>
            </a:r>
            <a:r>
              <a:rPr lang="zh-CN" altLang="en-US" sz="1800" b="1" dirty="0">
                <a:solidFill>
                  <a:schemeClr val="accent1"/>
                </a:solidFill>
                <a:latin typeface="Pfizer Tomorrow" charset="0"/>
                <a:sym typeface="Pfizer Tomorrow" charset="0"/>
              </a:rPr>
              <a:t>保护氨曲南不被丝氨酸</a:t>
            </a:r>
            <a:r>
              <a:rPr lang="en-US" altLang="zh-CN" sz="1800" b="1" dirty="0">
                <a:solidFill>
                  <a:schemeClr val="accent1"/>
                </a:solidFill>
                <a:latin typeface="Pfizer Tomorrow" charset="0"/>
                <a:sym typeface="Pfizer Tomorrow" charset="0"/>
              </a:rPr>
              <a:t>β-</a:t>
            </a:r>
            <a:r>
              <a:rPr lang="zh-CN" altLang="en-US" sz="1800" b="1" dirty="0">
                <a:solidFill>
                  <a:schemeClr val="accent1"/>
                </a:solidFill>
                <a:latin typeface="Pfizer Tomorrow" charset="0"/>
                <a:sym typeface="Pfizer Tomorrow" charset="0"/>
              </a:rPr>
              <a:t>内酰胺酶水解，</a:t>
            </a:r>
            <a:r>
              <a:rPr lang="zh-CN" altLang="en-US" sz="1800" b="1" dirty="0">
                <a:solidFill>
                  <a:srgbClr val="00C987"/>
                </a:solidFill>
                <a:latin typeface="Pfizer Tomorrow" charset="0"/>
                <a:sym typeface="Pfizer Tomorrow" charset="0"/>
              </a:rPr>
              <a:t>恢复氨曲南活性</a:t>
            </a:r>
            <a:r>
              <a:rPr lang="zh-CN" altLang="en-US" sz="1800" dirty="0">
                <a:solidFill>
                  <a:srgbClr val="000000"/>
                </a:solidFill>
                <a:latin typeface="微软雅黑" panose="020B0503020204020204" charset="-122"/>
                <a:sym typeface="等线" panose="02010600030101010101" pitchFamily="2" charset="-122"/>
              </a:rPr>
              <a:t>；</a:t>
            </a:r>
            <a:br>
              <a:rPr lang="en-US" altLang="zh-CN" sz="1800" dirty="0">
                <a:solidFill>
                  <a:srgbClr val="000000"/>
                </a:solidFill>
                <a:latin typeface="微软雅黑" panose="020B0503020204020204" charset="-122"/>
                <a:sym typeface="等线" panose="02010600030101010101" pitchFamily="2" charset="-122"/>
              </a:rPr>
            </a:br>
            <a:endParaRPr lang="en-US" altLang="zh-CN" dirty="0"/>
          </a:p>
        </p:txBody>
      </p:sp>
      <p:sp>
        <p:nvSpPr>
          <p:cNvPr id="5120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p:cNvSpPr>
          <p:nvPr>
            <p:ph type="sldImg"/>
          </p:nvPr>
        </p:nvSpPr>
        <p:spPr/>
      </p:sp>
      <p:sp>
        <p:nvSpPr>
          <p:cNvPr id="5325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抗菌活性方面：</a:t>
            </a:r>
            <a:br>
              <a:rPr lang="en-US" altLang="zh-CN" dirty="0"/>
            </a:br>
            <a:r>
              <a:rPr lang="zh-CN" altLang="en-US" dirty="0"/>
              <a:t>从</a:t>
            </a:r>
            <a:r>
              <a:rPr lang="en-US" altLang="zh-CN" dirty="0"/>
              <a:t>ATLAS</a:t>
            </a:r>
            <a:r>
              <a:rPr lang="zh-CN" altLang="en-US" dirty="0"/>
              <a:t>可知，在与黏菌素、替加环素的体外活性比较中，思福诺对</a:t>
            </a:r>
            <a:r>
              <a:rPr lang="en-US" altLang="zh-CN" dirty="0"/>
              <a:t>MBL-CRE</a:t>
            </a:r>
            <a:r>
              <a:rPr lang="zh-CN" altLang="en-US" dirty="0"/>
              <a:t>具有较强的体外抗菌活性，在敏感率上优于黏菌素和替加环素</a:t>
            </a:r>
            <a:endParaRPr lang="zh-CN" altLang="en-US" dirty="0">
              <a:solidFill>
                <a:srgbClr val="404040"/>
              </a:solidFill>
              <a:latin typeface="微软雅黑" panose="020B0503020204020204" charset="-122"/>
              <a:ea typeface="微软雅黑" panose="020B0503020204020204" charset="-122"/>
            </a:endParaRPr>
          </a:p>
          <a:p>
            <a:pPr lvl="0" indent="0" defTabSz="914400" fontAlgn="base">
              <a:lnSpc>
                <a:spcPct val="100000"/>
              </a:lnSpc>
              <a:spcBef>
                <a:spcPct val="0"/>
              </a:spcBef>
              <a:spcAft>
                <a:spcPct val="0"/>
              </a:spcAft>
              <a:buNone/>
            </a:pPr>
            <a:endParaRPr lang="en-US" altLang="zh-CN" dirty="0">
              <a:solidFill>
                <a:srgbClr val="404040"/>
              </a:solidFill>
              <a:latin typeface="微软雅黑" panose="020B0503020204020204" charset="-122"/>
              <a:ea typeface="微软雅黑" panose="020B0503020204020204" charset="-122"/>
            </a:endParaRPr>
          </a:p>
          <a:p>
            <a:pPr lvl="0" indent="0" defTabSz="914400" fontAlgn="base">
              <a:lnSpc>
                <a:spcPct val="100000"/>
              </a:lnSpc>
              <a:spcBef>
                <a:spcPct val="0"/>
              </a:spcBef>
              <a:spcAft>
                <a:spcPct val="0"/>
              </a:spcAft>
              <a:buNone/>
            </a:pPr>
            <a:endParaRPr lang="en-US" altLang="zh-CN" dirty="0">
              <a:solidFill>
                <a:srgbClr val="404040"/>
              </a:solidFill>
              <a:latin typeface="微软雅黑" panose="020B0503020204020204" charset="-122"/>
              <a:ea typeface="微软雅黑" panose="020B0503020204020204" charset="-122"/>
            </a:endParaRPr>
          </a:p>
          <a:p>
            <a:pPr lvl="0" indent="0" defTabSz="914400"/>
            <a:endParaRPr lang="zh-CN" altLang="en-US" dirty="0"/>
          </a:p>
          <a:p>
            <a:pPr lvl="0" indent="0" defTabSz="914400"/>
            <a:endParaRPr lang="zh-CN" altLang="en-US" dirty="0"/>
          </a:p>
        </p:txBody>
      </p:sp>
      <p:sp>
        <p:nvSpPr>
          <p:cNvPr id="5325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p:cNvSpPr>
          <p:nvPr>
            <p:ph type="sldImg"/>
          </p:nvPr>
        </p:nvSpPr>
        <p:spPr/>
      </p:sp>
      <p:sp>
        <p:nvSpPr>
          <p:cNvPr id="5529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latin typeface="Pfizer Tomorrow" charset="0"/>
                <a:sym typeface="Pfizer Tomorrow" charset="0"/>
              </a:rPr>
              <a:t>不同科室、感染部位的</a:t>
            </a:r>
            <a:r>
              <a:rPr lang="en-US" altLang="zh-CN" dirty="0">
                <a:latin typeface="Pfizer Tomorrow" charset="0"/>
                <a:sym typeface="Pfizer Tomorrow" charset="0"/>
              </a:rPr>
              <a:t>MBL-CRE</a:t>
            </a:r>
            <a:r>
              <a:rPr lang="zh-CN" altLang="en-US" dirty="0">
                <a:latin typeface="Pfizer Tomorrow" charset="0"/>
                <a:sym typeface="Pfizer Tomorrow" charset="0"/>
              </a:rPr>
              <a:t>分离株也均对思福诺的敏感率高。</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抗菌测试领导和监测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计划评估了</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16</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年至</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2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年间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和对照抗菌药物对</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计划收集的肠杆菌属（包含非洲中东部、亚太地区、欧洲、拉丁美洲和北美的呼吸道感染和腹腔感染等患者）分离株和关键耐药表型的活性，并按照</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和非</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感染源和地理区域分层。根据</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指南确定最低抑菌浓度，使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折点确定抗菌药物的敏感性。</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结果如表所示，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标准下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4388</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株</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离株，包括其中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1877</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株产</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MBL</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离株中，不管是</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或非</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还是不同感染部位，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的敏感率均较</a:t>
            </a:r>
            <a:r>
              <a:rPr lang="zh-CN" altLang="en-US" dirty="0">
                <a:latin typeface="Pfizer Tomorrow" charset="0"/>
                <a:sym typeface="Pfizer Tomorrow" charset="0"/>
              </a:rPr>
              <a:t>高</a:t>
            </a:r>
            <a:endParaRPr lang="zh-CN" altLang="en-US" dirty="0"/>
          </a:p>
        </p:txBody>
      </p:sp>
      <p:sp>
        <p:nvSpPr>
          <p:cNvPr id="5529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7345" name="幻灯片图像占位符 1"/>
          <p:cNvSpPr>
            <a:spLocks noGrp="1" noRot="1" noChangeAspect="1"/>
          </p:cNvSpPr>
          <p:nvPr>
            <p:ph type="sldImg"/>
          </p:nvPr>
        </p:nvSpPr>
        <p:spPr/>
      </p:sp>
      <p:sp>
        <p:nvSpPr>
          <p:cNvPr id="5734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latin typeface="Pfizer Tomorrow" charset="0"/>
                <a:sym typeface="Pfizer Tomorrow" charset="0"/>
              </a:rPr>
              <a:t>而且在产</a:t>
            </a:r>
            <a:r>
              <a:rPr lang="en-US" altLang="zh-CN" dirty="0">
                <a:latin typeface="Pfizer Tomorrow" charset="0"/>
                <a:sym typeface="Pfizer Tomorrow" charset="0"/>
              </a:rPr>
              <a:t>KPC</a:t>
            </a:r>
            <a:r>
              <a:rPr lang="zh-CN" altLang="en-US" dirty="0">
                <a:latin typeface="Pfizer Tomorrow" charset="0"/>
                <a:sym typeface="Pfizer Tomorrow" charset="0"/>
              </a:rPr>
              <a:t>、</a:t>
            </a:r>
            <a:r>
              <a:rPr lang="en-US" altLang="zh-CN" dirty="0">
                <a:latin typeface="Pfizer Tomorrow" charset="0"/>
                <a:sym typeface="Pfizer Tomorrow" charset="0"/>
              </a:rPr>
              <a:t>MBL</a:t>
            </a:r>
            <a:r>
              <a:rPr lang="zh-CN" altLang="en-US" dirty="0">
                <a:latin typeface="Pfizer Tomorrow" charset="0"/>
                <a:sym typeface="Pfizer Tomorrow" charset="0"/>
              </a:rPr>
              <a:t>及给临床造成困难的共产</a:t>
            </a:r>
            <a:r>
              <a:rPr lang="en-US" altLang="zh-CN" dirty="0">
                <a:latin typeface="Pfizer Tomorrow" charset="0"/>
                <a:sym typeface="Pfizer Tomorrow" charset="0"/>
              </a:rPr>
              <a:t>KPC</a:t>
            </a:r>
            <a:r>
              <a:rPr lang="zh-CN" altLang="en-US" dirty="0">
                <a:latin typeface="Pfizer Tomorrow" charset="0"/>
                <a:sym typeface="Pfizer Tomorrow" charset="0"/>
              </a:rPr>
              <a:t>、</a:t>
            </a:r>
            <a:r>
              <a:rPr lang="en-US" altLang="zh-CN" dirty="0">
                <a:latin typeface="Pfizer Tomorrow" charset="0"/>
                <a:sym typeface="Pfizer Tomorrow" charset="0"/>
              </a:rPr>
              <a:t>MBL</a:t>
            </a:r>
            <a:r>
              <a:rPr lang="zh-CN" altLang="en-US" dirty="0">
                <a:latin typeface="Pfizer Tomorrow" charset="0"/>
                <a:sym typeface="Pfizer Tomorrow" charset="0"/>
              </a:rPr>
              <a:t>的</a:t>
            </a:r>
            <a:r>
              <a:rPr lang="en-US" altLang="zh-CN" dirty="0">
                <a:latin typeface="Pfizer Tomorrow" charset="0"/>
                <a:sym typeface="Pfizer Tomorrow" charset="0"/>
              </a:rPr>
              <a:t>CRE</a:t>
            </a:r>
            <a:r>
              <a:rPr lang="zh-CN" altLang="en-US" dirty="0">
                <a:latin typeface="Pfizer Tomorrow" charset="0"/>
                <a:sym typeface="Pfizer Tomorrow" charset="0"/>
              </a:rPr>
              <a:t>分离株，对思福诺的耐药率均为</a:t>
            </a:r>
            <a:r>
              <a:rPr lang="en-US" altLang="zh-CN" dirty="0">
                <a:latin typeface="Pfizer Tomorrow" charset="0"/>
                <a:sym typeface="Pfizer Tomorrow" charset="0"/>
              </a:rPr>
              <a:t>0%</a:t>
            </a:r>
            <a:r>
              <a:rPr lang="zh-CN" altLang="en-US" dirty="0">
                <a:latin typeface="Pfizer Tomorrow" charset="0"/>
                <a:sym typeface="Pfizer Tomorrow" charset="0"/>
              </a:rPr>
              <a:t>。</a:t>
            </a:r>
            <a:endParaRPr lang="zh-CN" altLang="en-US" dirty="0"/>
          </a:p>
        </p:txBody>
      </p:sp>
      <p:sp>
        <p:nvSpPr>
          <p:cNvPr id="5734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9393" name="幻灯片图像占位符 1"/>
          <p:cNvSpPr>
            <a:spLocks noGrp="1" noRot="1" noChangeAspect="1"/>
          </p:cNvSpPr>
          <p:nvPr>
            <p:ph type="sldImg"/>
          </p:nvPr>
        </p:nvSpPr>
        <p:spPr/>
      </p:sp>
      <p:sp>
        <p:nvSpPr>
          <p:cNvPr id="5939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en-US" altLang="zh-CN" dirty="0">
                <a:solidFill>
                  <a:srgbClr val="000000"/>
                </a:solidFill>
                <a:latin typeface="微软雅黑" panose="020B0503020204020204" charset="-122"/>
              </a:rPr>
              <a:t>2023</a:t>
            </a:r>
            <a:r>
              <a:rPr lang="zh-CN" altLang="en-US" dirty="0">
                <a:solidFill>
                  <a:srgbClr val="000000"/>
                </a:solidFill>
                <a:latin typeface="微软雅黑" panose="020B0503020204020204" charset="-122"/>
              </a:rPr>
              <a:t>年美国</a:t>
            </a:r>
            <a:r>
              <a:rPr lang="en-US" altLang="zh-CN" dirty="0">
                <a:solidFill>
                  <a:srgbClr val="000000"/>
                </a:solidFill>
                <a:latin typeface="微软雅黑" panose="020B0503020204020204" charset="-122"/>
              </a:rPr>
              <a:t>JMI</a:t>
            </a:r>
            <a:r>
              <a:rPr lang="zh-CN" altLang="en-US" dirty="0">
                <a:solidFill>
                  <a:srgbClr val="000000"/>
                </a:solidFill>
                <a:latin typeface="微软雅黑" panose="020B0503020204020204" charset="-122"/>
              </a:rPr>
              <a:t>实验室发表的全球多中心体外监测数据还显示，思福诺对不同酶型</a:t>
            </a:r>
            <a:r>
              <a:rPr lang="en-US" altLang="zh-CN" dirty="0">
                <a:solidFill>
                  <a:srgbClr val="000000"/>
                </a:solidFill>
                <a:latin typeface="微软雅黑" panose="020B0503020204020204" charset="-122"/>
              </a:rPr>
              <a:t>CRE</a:t>
            </a:r>
            <a:r>
              <a:rPr lang="zh-CN" altLang="en-US" dirty="0">
                <a:solidFill>
                  <a:srgbClr val="000000"/>
                </a:solidFill>
                <a:latin typeface="微软雅黑" panose="020B0503020204020204" charset="-122"/>
              </a:rPr>
              <a:t>及“三剑客”耐药</a:t>
            </a:r>
            <a:r>
              <a:rPr lang="en-US" altLang="zh-CN" dirty="0">
                <a:solidFill>
                  <a:srgbClr val="000000"/>
                </a:solidFill>
                <a:latin typeface="微软雅黑" panose="020B0503020204020204" charset="-122"/>
              </a:rPr>
              <a:t>CRE</a:t>
            </a:r>
            <a:r>
              <a:rPr lang="zh-CN" altLang="en-US" dirty="0">
                <a:solidFill>
                  <a:srgbClr val="000000"/>
                </a:solidFill>
                <a:latin typeface="微软雅黑" panose="020B0503020204020204" charset="-122"/>
              </a:rPr>
              <a:t>的敏感率近</a:t>
            </a:r>
            <a:r>
              <a:rPr lang="en-US" altLang="zh-CN" dirty="0">
                <a:solidFill>
                  <a:srgbClr val="000000"/>
                </a:solidFill>
                <a:latin typeface="微软雅黑" panose="020B0503020204020204" charset="-122"/>
              </a:rPr>
              <a:t>100%</a:t>
            </a:r>
            <a:r>
              <a:rPr lang="zh-CN" altLang="en-US" dirty="0">
                <a:solidFill>
                  <a:srgbClr val="000000"/>
                </a:solidFill>
                <a:latin typeface="微软雅黑" panose="020B0503020204020204" charset="-122"/>
              </a:rPr>
              <a:t>，</a:t>
            </a:r>
            <a:r>
              <a:rPr lang="zh-CN" altLang="en-US" dirty="0">
                <a:latin typeface="Pfizer Tomorrow" charset="0"/>
                <a:sym typeface="Pfizer Tomorrow" charset="0"/>
              </a:rPr>
              <a:t>充分体现了思福诺的抗菌活性优势。</a:t>
            </a:r>
            <a:endParaRPr lang="zh-CN" altLang="en-US" dirty="0"/>
          </a:p>
        </p:txBody>
      </p:sp>
      <p:sp>
        <p:nvSpPr>
          <p:cNvPr id="5939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p>
            <a:pPr lvl="0" indent="0" defTabSz="914400" fontAlgn="base">
              <a:lnSpc>
                <a:spcPct val="100000"/>
              </a:lnSpc>
              <a:spcBef>
                <a:spcPct val="0"/>
              </a:spcBef>
              <a:spcAft>
                <a:spcPct val="0"/>
              </a:spcAft>
              <a:buNone/>
            </a:pPr>
            <a:r>
              <a:rPr lang="zh-CN" altLang="en-US" dirty="0"/>
              <a:t>在疗效</a:t>
            </a:r>
            <a:r>
              <a:rPr lang="en-US" altLang="zh-CN" dirty="0"/>
              <a:t>-</a:t>
            </a:r>
            <a:r>
              <a:rPr lang="zh-CN" altLang="en-US" dirty="0"/>
              <a:t>安全性方面：</a:t>
            </a:r>
            <a:br>
              <a:rPr lang="en-US" altLang="zh-CN" dirty="0"/>
            </a:br>
            <a:r>
              <a:rPr lang="zh-CN" altLang="en-US" dirty="0"/>
              <a:t>一项</a:t>
            </a:r>
            <a:r>
              <a:rPr lang="en-US" altLang="zh-CN" dirty="0"/>
              <a:t>3</a:t>
            </a:r>
            <a:r>
              <a:rPr lang="zh-CN" altLang="en-US" dirty="0"/>
              <a:t>期研究</a:t>
            </a:r>
            <a:r>
              <a:rPr lang="en-US" altLang="zh-CN" dirty="0"/>
              <a:t>REVISIT</a:t>
            </a:r>
            <a:r>
              <a:rPr lang="zh-CN" altLang="en-US" dirty="0"/>
              <a:t>研究，</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共纳入</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个国家</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81</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个地点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422</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住院成年患者，</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1</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随机分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82</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在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组，其中</a:t>
            </a:r>
            <a:r>
              <a:rPr lang="zh-CN" altLang="en-US" dirty="0">
                <a:solidFill>
                  <a:srgbClr val="404040"/>
                </a:solidFill>
                <a:latin typeface="微软雅黑" panose="020B0503020204020204" charset="-122"/>
                <a:ea typeface="微软雅黑" panose="020B0503020204020204" charset="-122"/>
              </a:rPr>
              <a:t>氨曲南</a:t>
            </a:r>
            <a:r>
              <a:rPr lang="en-US" altLang="zh-CN" dirty="0">
                <a:solidFill>
                  <a:srgbClr val="404040"/>
                </a:solidFill>
                <a:latin typeface="微软雅黑" panose="020B0503020204020204" charset="-122"/>
                <a:ea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rPr>
              <a:t>阿维巴坦治疗</a:t>
            </a:r>
            <a:r>
              <a:rPr lang="en-US" altLang="zh-CN" dirty="0" err="1">
                <a:solidFill>
                  <a:srgbClr val="404040"/>
                </a:solidFill>
                <a:latin typeface="微软雅黑" panose="020B0503020204020204" charset="-122"/>
                <a:ea typeface="微软雅黑" panose="020B0503020204020204" charset="-122"/>
              </a:rPr>
              <a:t>cIAI</a:t>
            </a:r>
            <a:r>
              <a:rPr lang="zh-CN" altLang="en-US" dirty="0">
                <a:solidFill>
                  <a:srgbClr val="404040"/>
                </a:solidFill>
                <a:latin typeface="微软雅黑" panose="020B0503020204020204" charset="-122"/>
                <a:ea typeface="微软雅黑" panose="020B0503020204020204" charset="-122"/>
              </a:rPr>
              <a:t>患者时联合甲硝唑，治疗</a:t>
            </a:r>
            <a:r>
              <a:rPr lang="en-US" altLang="zh-CN" dirty="0">
                <a:solidFill>
                  <a:srgbClr val="404040"/>
                </a:solidFill>
                <a:latin typeface="微软雅黑" panose="020B0503020204020204" charset="-122"/>
                <a:ea typeface="微软雅黑" panose="020B0503020204020204" charset="-122"/>
              </a:rPr>
              <a:t>HAP/VAP</a:t>
            </a:r>
            <a:r>
              <a:rPr lang="zh-CN" altLang="en-US" dirty="0">
                <a:solidFill>
                  <a:srgbClr val="404040"/>
                </a:solidFill>
                <a:latin typeface="微软雅黑" panose="020B0503020204020204" charset="-122"/>
                <a:ea typeface="微软雅黑" panose="020B0503020204020204" charset="-122"/>
              </a:rPr>
              <a:t>患者时不联合甲硝唑</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其余</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14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在美罗培南组，形成</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析集。主要终点为</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TOC</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时临床治愈率，次要终点为</a:t>
            </a:r>
            <a:r>
              <a:rPr lang="en-US" altLang="zh-CN" u="none" baseline="0" dirty="0">
                <a:solidFill>
                  <a:srgbClr val="404040"/>
                </a:solidFill>
                <a:latin typeface="微软雅黑" panose="020B0503020204020204" charset="-122"/>
                <a:ea typeface="微软雅黑" panose="020B0503020204020204" charset="-122"/>
                <a:sym typeface="微软雅黑" panose="020B0503020204020204" charset="-122"/>
              </a:rPr>
              <a:t>28</a:t>
            </a:r>
            <a:r>
              <a:rPr lang="zh-CN" altLang="en-US" u="none" baseline="0" dirty="0">
                <a:solidFill>
                  <a:srgbClr val="404040"/>
                </a:solidFill>
                <a:latin typeface="微软雅黑" panose="020B0503020204020204" charset="-122"/>
                <a:ea typeface="微软雅黑" panose="020B0503020204020204" charset="-122"/>
                <a:sym typeface="微软雅黑" panose="020B0503020204020204" charset="-122"/>
              </a:rPr>
              <a:t>天死亡率</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及安全性，旨在</a:t>
            </a:r>
            <a:r>
              <a:rPr lang="zh-CN" altLang="en-US" dirty="0"/>
              <a:t>评估氨曲南</a:t>
            </a:r>
            <a:r>
              <a:rPr lang="en-US" altLang="zh-CN" dirty="0"/>
              <a:t>-</a:t>
            </a:r>
            <a:r>
              <a:rPr lang="zh-CN" altLang="en-US" dirty="0"/>
              <a:t>阿维巴坦治疗革兰阴性菌引起的</a:t>
            </a:r>
            <a:r>
              <a:rPr lang="en-US" altLang="zh-CN" dirty="0" err="1"/>
              <a:t>cIAIs</a:t>
            </a:r>
            <a:r>
              <a:rPr lang="zh-CN" altLang="en-US" dirty="0"/>
              <a:t>或</a:t>
            </a:r>
            <a:r>
              <a:rPr lang="en-US" altLang="zh-CN" dirty="0"/>
              <a:t>HAP/VAP</a:t>
            </a:r>
            <a:r>
              <a:rPr lang="zh-CN" altLang="en-US" dirty="0"/>
              <a:t>的疗效、安全性。</a:t>
            </a:r>
            <a:endParaRPr lang="zh-CN" altLang="en-US" dirty="0"/>
          </a:p>
        </p:txBody>
      </p:sp>
      <p:sp>
        <p:nvSpPr>
          <p:cNvPr id="6144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3489" name="幻灯片图像占位符 1"/>
          <p:cNvSpPr>
            <a:spLocks noGrp="1" noRot="1" noChangeAspect="1"/>
          </p:cNvSpPr>
          <p:nvPr>
            <p:ph type="sldImg"/>
          </p:nvPr>
        </p:nvSpPr>
        <p:spPr/>
      </p:sp>
      <p:sp>
        <p:nvSpPr>
          <p:cNvPr id="6349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en-US" altLang="zh-CN" dirty="0"/>
              <a:t>REVISIT</a:t>
            </a:r>
            <a:r>
              <a:rPr lang="zh-CN" altLang="en-US" dirty="0"/>
              <a:t>研究疗效结果显示，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中，</a:t>
            </a:r>
            <a:r>
              <a:rPr lang="zh-CN" altLang="en-US" dirty="0"/>
              <a:t>氨曲南</a:t>
            </a:r>
            <a:r>
              <a:rPr lang="en-US" altLang="zh-CN" dirty="0"/>
              <a:t>-</a:t>
            </a:r>
            <a:r>
              <a:rPr lang="zh-CN" altLang="en-US" dirty="0"/>
              <a:t>阿维巴坦在</a:t>
            </a:r>
            <a:r>
              <a:rPr lang="en-US" altLang="zh-CN" dirty="0" err="1">
                <a:solidFill>
                  <a:srgbClr val="404040"/>
                </a:solidFill>
                <a:latin typeface="微软雅黑" panose="020B0503020204020204" charset="-122"/>
                <a:ea typeface="微软雅黑" panose="020B0503020204020204" charset="-122"/>
                <a:sym typeface="微软雅黑" panose="020B0503020204020204" charset="-122"/>
              </a:rPr>
              <a:t>cIA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患者、</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HAP/VAP</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患者以及所有患者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TOC</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时临床治愈率均与美罗培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多黏菌素</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相当</a:t>
            </a:r>
            <a:endParaRPr lang="zh-CN" altLang="en-US" dirty="0"/>
          </a:p>
        </p:txBody>
      </p:sp>
      <p:sp>
        <p:nvSpPr>
          <p:cNvPr id="6349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5537" name="幻灯片图像占位符 1"/>
          <p:cNvSpPr>
            <a:spLocks noGrp="1" noRot="1" noChangeAspect="1"/>
          </p:cNvSpPr>
          <p:nvPr>
            <p:ph type="sldImg"/>
          </p:nvPr>
        </p:nvSpPr>
        <p:spPr/>
      </p:sp>
      <p:sp>
        <p:nvSpPr>
          <p:cNvPr id="6553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a:t>在</a:t>
            </a:r>
            <a:r>
              <a:rPr lang="en-US" altLang="zh-CN"/>
              <a:t>28</a:t>
            </a:r>
            <a:r>
              <a:rPr lang="zh-CN" altLang="en-US"/>
              <a:t>天时的全因死亡率方面，在</a:t>
            </a:r>
            <a:r>
              <a:rPr lang="en-US" altLang="zh-CN"/>
              <a:t>ITT</a:t>
            </a:r>
            <a:r>
              <a:rPr lang="zh-CN" altLang="en-US"/>
              <a:t>人群中氨曲南</a:t>
            </a:r>
            <a:r>
              <a:rPr lang="en-US" altLang="zh-CN"/>
              <a:t>-</a:t>
            </a:r>
            <a:r>
              <a:rPr lang="zh-CN" altLang="en-US"/>
              <a:t>阿维巴坦治疗</a:t>
            </a:r>
            <a:r>
              <a:rPr lang="en-US" altLang="zh-CN"/>
              <a:t>28</a:t>
            </a:r>
            <a:r>
              <a:rPr lang="zh-CN" altLang="en-US"/>
              <a:t>天时的全因死亡率在</a:t>
            </a:r>
            <a:r>
              <a:rPr lang="zh-CN" altLang="en-US">
                <a:solidFill>
                  <a:srgbClr val="404040"/>
                </a:solidFill>
                <a:latin typeface="微软雅黑" panose="020B0503020204020204" charset="-122"/>
                <a:ea typeface="微软雅黑" panose="020B0503020204020204" charset="-122"/>
                <a:sym typeface="微软雅黑" panose="020B0503020204020204" charset="-122"/>
              </a:rPr>
              <a:t>各类患者中均</a:t>
            </a:r>
            <a:r>
              <a:rPr lang="zh-CN" altLang="en-US"/>
              <a:t>较美罗培南</a:t>
            </a:r>
            <a:r>
              <a:rPr lang="en-US" altLang="zh-CN"/>
              <a:t>±</a:t>
            </a:r>
            <a:r>
              <a:rPr lang="zh-CN" altLang="en-US"/>
              <a:t>多黏菌素</a:t>
            </a:r>
            <a:r>
              <a:rPr lang="en-US" altLang="zh-CN"/>
              <a:t>E</a:t>
            </a:r>
            <a:r>
              <a:rPr lang="zh-CN" altLang="en-US"/>
              <a:t>更低</a:t>
            </a:r>
            <a:endParaRPr lang="zh-CN" altLang="en-US"/>
          </a:p>
        </p:txBody>
      </p:sp>
      <p:sp>
        <p:nvSpPr>
          <p:cNvPr id="6553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抗菌药物耐药性已成为 “全球公敌”，多重耐药菌感染患者不仅死亡风险上升，住院时间及住院费用也相比其他患者增加许多</a:t>
            </a:r>
            <a:endParaRPr lang="en-US" altLang="zh-CN"/>
          </a:p>
          <a:p>
            <a:pPr marL="171450" indent="-171450">
              <a:buFont typeface="Arial" panose="020B0604020202090204" pitchFamily="34" charset="0"/>
              <a:buChar char="•"/>
            </a:pPr>
            <a:r>
              <a:rPr lang="zh-CN" altLang="en-US"/>
              <a:t>而 </a:t>
            </a:r>
            <a:r>
              <a:rPr lang="en-US" altLang="zh-CN"/>
              <a:t>ICU </a:t>
            </a:r>
            <a:r>
              <a:rPr lang="zh-CN" altLang="en-US"/>
              <a:t>患者因病情复杂、免疫功能低下和频繁的侵入性操作，成为耐药菌 “重灾区”。</a:t>
            </a:r>
            <a:endParaRPr lang="en-US" altLang="zh-CN"/>
          </a:p>
          <a:p>
            <a:pPr marL="628650" lvl="1" indent="-171450">
              <a:buFont typeface="Arial" panose="020B0604020202090204" pitchFamily="34" charset="0"/>
              <a:buChar char="•"/>
            </a:pPr>
            <a:r>
              <a:rPr lang="zh-CN" altLang="en-US"/>
              <a:t>研究显示，我国</a:t>
            </a:r>
            <a:r>
              <a:rPr lang="en-US" altLang="zh-CN"/>
              <a:t>ICU</a:t>
            </a:r>
            <a:r>
              <a:rPr lang="zh-CN" altLang="en-US"/>
              <a:t>多重耐药菌检出率已经高达</a:t>
            </a:r>
            <a:r>
              <a:rPr lang="en-US" altLang="zh-CN"/>
              <a:t>64.44%</a:t>
            </a:r>
            <a:r>
              <a:rPr lang="zh-CN" altLang="en-US"/>
              <a:t>，感染率高达</a:t>
            </a:r>
            <a:r>
              <a:rPr lang="en-US" altLang="zh-CN"/>
              <a:t>49.49%</a:t>
            </a:r>
            <a:r>
              <a:rPr lang="zh-CN" altLang="en-US"/>
              <a:t>，可见感染形势有多么严峻</a:t>
            </a:r>
            <a:endParaRPr lang="en-US" altLang="zh-CN"/>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defRPr/>
            </a:pPr>
            <a:r>
              <a:rPr lang="zh-CN" altLang="en-US"/>
              <a:t>这个图表中的数据来自我国三甲医院的一项研究：在</a:t>
            </a:r>
            <a:r>
              <a:rPr lang="en-US" altLang="zh-CN"/>
              <a:t>1003</a:t>
            </a:r>
            <a:r>
              <a:rPr lang="zh-CN" altLang="en-US"/>
              <a:t>例入住神经内科 </a:t>
            </a:r>
            <a:r>
              <a:rPr lang="en-US" altLang="zh-CN"/>
              <a:t>ICU </a:t>
            </a:r>
            <a:r>
              <a:rPr lang="zh-CN" altLang="en-US"/>
              <a:t>且住院时间＞</a:t>
            </a:r>
            <a:r>
              <a:rPr lang="en-US" altLang="zh-CN"/>
              <a:t>2</a:t>
            </a:r>
            <a:r>
              <a:rPr lang="zh-CN" altLang="en-US"/>
              <a:t>天的患者中，有</a:t>
            </a:r>
            <a:r>
              <a:rPr lang="en-US" altLang="zh-CN"/>
              <a:t>363</a:t>
            </a:r>
            <a:r>
              <a:rPr lang="zh-CN" altLang="en-US"/>
              <a:t>例患者检测出多重耐药菌，图表中展示的就是这些多重耐药菌的类型，其中深色的为革兰阴性菌，可以看出，我国</a:t>
            </a:r>
            <a:r>
              <a:rPr lang="en-US" altLang="zh-CN"/>
              <a:t>ICU</a:t>
            </a:r>
            <a:r>
              <a:rPr lang="zh-CN" altLang="en-US"/>
              <a:t>患者感染的多重耐药菌中，约</a:t>
            </a:r>
            <a:r>
              <a:rPr lang="en-US" altLang="zh-CN"/>
              <a:t>75%</a:t>
            </a:r>
            <a:r>
              <a:rPr lang="zh-CN" altLang="en-US"/>
              <a:t>的菌株为革兰阴性菌，对其进行防治十分关键</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7585" name="幻灯片图像占位符 1"/>
          <p:cNvSpPr>
            <a:spLocks noGrp="1" noRot="1" noChangeAspect="1"/>
          </p:cNvSpPr>
          <p:nvPr>
            <p:ph type="sldImg"/>
          </p:nvPr>
        </p:nvSpPr>
        <p:spPr/>
      </p:sp>
      <p:sp>
        <p:nvSpPr>
          <p:cNvPr id="6758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在安全性方面，氨曲南</a:t>
            </a:r>
            <a:r>
              <a:rPr lang="en-US" altLang="zh-CN" dirty="0"/>
              <a:t>-</a:t>
            </a:r>
            <a:r>
              <a:rPr lang="zh-CN" altLang="en-US" dirty="0"/>
              <a:t>阿维巴坦</a:t>
            </a:r>
            <a:r>
              <a:rPr lang="zh-CN" altLang="en-US" dirty="0">
                <a:latin typeface="微软雅黑" panose="020B0503020204020204" charset="-122"/>
                <a:ea typeface="微软雅黑" panose="020B0503020204020204" charset="-122"/>
                <a:sym typeface="微软雅黑" panose="020B0503020204020204" charset="-122"/>
              </a:rPr>
              <a:t>组</a:t>
            </a:r>
            <a:r>
              <a:rPr lang="zh-CN" altLang="en-US" dirty="0"/>
              <a:t>和</a:t>
            </a:r>
            <a:r>
              <a:rPr lang="zh-CN" altLang="en-US" dirty="0">
                <a:latin typeface="微软雅黑" panose="020B0503020204020204" charset="-122"/>
                <a:ea typeface="微软雅黑" panose="020B0503020204020204" charset="-122"/>
                <a:sym typeface="微软雅黑" panose="020B0503020204020204" charset="-122"/>
              </a:rPr>
              <a:t>美罗培南组</a:t>
            </a:r>
            <a:r>
              <a:rPr lang="zh-CN" altLang="en-US" dirty="0"/>
              <a:t>在各类患者中的不良事件数量相当。但氨曲南</a:t>
            </a:r>
            <a:r>
              <a:rPr lang="en-US" altLang="zh-CN" dirty="0"/>
              <a:t>-</a:t>
            </a:r>
            <a:r>
              <a:rPr lang="zh-CN" altLang="en-US" dirty="0"/>
              <a:t>阿维巴坦无治疗相关的严重不良事件（</a:t>
            </a:r>
            <a:r>
              <a:rPr lang="en-US" altLang="zh-CN" dirty="0"/>
              <a:t>0%</a:t>
            </a:r>
            <a:r>
              <a:rPr lang="zh-CN" altLang="en-US" dirty="0"/>
              <a:t>），耐受性良好。而</a:t>
            </a:r>
            <a:r>
              <a:rPr lang="zh-CN" altLang="en-US" dirty="0">
                <a:latin typeface="微软雅黑" panose="020B0503020204020204" charset="-122"/>
                <a:ea typeface="微软雅黑" panose="020B0503020204020204" charset="-122"/>
                <a:sym typeface="微软雅黑" panose="020B0503020204020204" charset="-122"/>
              </a:rPr>
              <a:t>美罗培南组有</a:t>
            </a:r>
            <a:r>
              <a:rPr lang="en-US" altLang="zh-CN" dirty="0">
                <a:latin typeface="微软雅黑" panose="020B0503020204020204" charset="-122"/>
                <a:ea typeface="微软雅黑" panose="020B0503020204020204" charset="-122"/>
                <a:sym typeface="微软雅黑" panose="020B0503020204020204" charset="-122"/>
              </a:rPr>
              <a:t>1</a:t>
            </a:r>
            <a:r>
              <a:rPr lang="zh-CN" altLang="en-US" dirty="0">
                <a:latin typeface="微软雅黑" panose="020B0503020204020204" charset="-122"/>
                <a:ea typeface="微软雅黑" panose="020B0503020204020204" charset="-122"/>
                <a:sym typeface="微软雅黑" panose="020B0503020204020204" charset="-122"/>
              </a:rPr>
              <a:t>例治疗相关严重不良事件，为中度肝功能异常。</a:t>
            </a:r>
            <a:br>
              <a:rPr lang="en-US" altLang="zh-CN" dirty="0">
                <a:latin typeface="微软雅黑" panose="020B0503020204020204" charset="-122"/>
                <a:ea typeface="微软雅黑" panose="020B0503020204020204" charset="-122"/>
                <a:sym typeface="微软雅黑" panose="020B0503020204020204" charset="-122"/>
              </a:rPr>
            </a:br>
            <a:endParaRPr lang="zh-CN" altLang="en-US" dirty="0">
              <a:latin typeface="微软雅黑" panose="020B0503020204020204" charset="-122"/>
              <a:ea typeface="微软雅黑" panose="020B0503020204020204" charset="-122"/>
              <a:sym typeface="微软雅黑" panose="020B0503020204020204" charset="-122"/>
            </a:endParaRPr>
          </a:p>
        </p:txBody>
      </p:sp>
      <p:sp>
        <p:nvSpPr>
          <p:cNvPr id="6758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9633"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1075055" rtl="0" eaLnBrk="1" fontAlgn="auto" latinLnBrk="0" hangingPunct="1">
              <a:lnSpc>
                <a:spcPct val="150000"/>
              </a:lnSpc>
              <a:spcBef>
                <a:spcPts val="0"/>
              </a:spcBef>
              <a:spcAft>
                <a:spcPts val="0"/>
              </a:spcAft>
              <a:buClrTx/>
              <a:buSzTx/>
              <a:buFontTx/>
              <a:buNone/>
              <a:defRPr/>
            </a:pPr>
            <a:r>
              <a:rPr lang="zh-CN" altLang="en-US" sz="1200" strike="noStrike" noProof="1" dirty="0">
                <a:solidFill>
                  <a:schemeClr val="tx1">
                    <a:lumMod val="75000"/>
                    <a:lumOff val="25000"/>
                  </a:schemeClr>
                </a:solidFill>
                <a:latin typeface="微软雅黑" panose="020B0503020204020204" charset="-122"/>
                <a:ea typeface="微软雅黑" panose="020B0503020204020204" charset="-122"/>
                <a:sym typeface="微软雅黑" panose="020B0503020204020204" charset="-122"/>
              </a:rPr>
              <a:t>另一项</a:t>
            </a:r>
            <a:r>
              <a:rPr lang="en-US" altLang="zh-CN" sz="1200" b="0" i="0" strike="noStrike" kern="1200" noProof="1" dirty="0">
                <a:solidFill>
                  <a:schemeClr val="tx1"/>
                </a:solidFill>
                <a:effectLst/>
                <a:latin typeface="+mn-lt"/>
                <a:ea typeface="+mn-ea"/>
                <a:cs typeface="+mn-cs"/>
              </a:rPr>
              <a:t>3</a:t>
            </a:r>
            <a:r>
              <a:rPr lang="zh-CN" altLang="en-US" sz="1200" b="0" i="0" strike="noStrike" kern="1200" noProof="1" dirty="0">
                <a:solidFill>
                  <a:schemeClr val="tx1"/>
                </a:solidFill>
                <a:effectLst/>
                <a:latin typeface="+mn-lt"/>
                <a:ea typeface="+mn-ea"/>
                <a:cs typeface="+mn-cs"/>
              </a:rPr>
              <a:t>期研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SSEMBLE</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研究也展示了积极结果，研究纳入了</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9</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个国家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2</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个治疗中心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5</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例患者，并接受了随机治疗。患者年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8</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岁，且为住院治疗，确诊为</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BL-GNB</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感染的</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HAP/VAP</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等</a:t>
            </a:r>
            <a:endPar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endParaRPr>
          </a:p>
          <a:p>
            <a:pPr marL="0" marR="0" lvl="0" indent="0" algn="l" defTabSz="1075055" rtl="0" eaLnBrk="1" fontAlgn="auto" latinLnBrk="0" hangingPunct="1">
              <a:lnSpc>
                <a:spcPct val="15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MTZ</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治疗组患者在</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30</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分钟内通过静脉输注接受了</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负荷剂量，并立即在</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3</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内通过静脉输注接受</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延长负荷剂量。随后在三小时内通过静脉输注给予维持剂量。根据患者的肾功能调整剂量并维持剂量频率。</a:t>
            </a:r>
            <a:b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b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在治疗</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中添加 </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TZ</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是为了对厌氧菌提供抗菌保护，而厌氧菌通常是多微生物胃肠道感染的一部分。因此，</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 </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患者每</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8</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q8h</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接受一次</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TZ 500mg</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静脉输注，输注时间为</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BAT</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治疗组的患者根据治疗地点的实际情况和当地流行病学接受治疗，可采用单一疗法或联合疗法。</a:t>
            </a:r>
            <a:b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b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主要终点是</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在</a:t>
            </a:r>
            <a:r>
              <a:rPr kumimoji="0" lang="en-US"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TOC</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时，</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Times New Roman" panose="02020503050405090304" pitchFamily="18" charset="0"/>
                <a:sym typeface="微软雅黑" panose="020B0503020204020204" charset="-122"/>
              </a:rPr>
              <a:t> </a:t>
            </a:r>
            <a:r>
              <a:rPr kumimoji="0" lang="en-US" altLang="zh-CN" sz="1200" b="0" i="0" u="none" strike="noStrike" kern="1200" cap="none" spc="0" normalizeH="0" baseline="0" noProof="0" dirty="0" err="1">
                <a:ln>
                  <a:noFill/>
                </a:ln>
                <a:solidFill>
                  <a:schemeClr val="tx1">
                    <a:lumMod val="75000"/>
                    <a:lumOff val="25000"/>
                  </a:schemeClr>
                </a:solidFill>
                <a:effectLst/>
                <a:uLnTx/>
                <a:uFillTx/>
                <a:latin typeface="微软雅黑" panose="020B0503020204020204" charset="-122"/>
                <a:ea typeface="微软雅黑" panose="020B0503020204020204" charset="-122"/>
                <a:cs typeface="Times New Roman" panose="02020503050405090304" pitchFamily="18" charset="0"/>
                <a:sym typeface="微软雅黑" panose="020B0503020204020204" charset="-122"/>
              </a:rPr>
              <a:t>mITT</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人群的临床治愈率。次要终点还观察了</a:t>
            </a:r>
            <a:r>
              <a:rPr kumimoji="0" lang="en-AU"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28</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天死亡率以及安全性等结局</a:t>
            </a:r>
            <a:endParaRPr kumimoji="0" lang="en-AU"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endParaRPr>
          </a:p>
          <a:p>
            <a:pPr marL="0" marR="0" lvl="0" indent="0" algn="l" defTabSz="1075055" rtl="0" eaLnBrk="1" fontAlgn="auto" latinLnBrk="0" hangingPunct="1">
              <a:lnSpc>
                <a:spcPct val="15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endParaRPr>
          </a:p>
          <a:p>
            <a:pPr marL="0" marR="0" lvl="0" indent="0" algn="l" defTabSz="1075055" rtl="0" eaLnBrk="1" fontAlgn="auto" latinLnBrk="0" hangingPunct="1">
              <a:lnSpc>
                <a:spcPct val="150000"/>
              </a:lnSpc>
              <a:spcBef>
                <a:spcPts val="0"/>
              </a:spcBef>
              <a:spcAft>
                <a:spcPts val="0"/>
              </a:spcAft>
              <a:buClrTx/>
              <a:buSzTx/>
              <a:buFontTx/>
              <a:buNone/>
              <a:defRPr/>
            </a:pPr>
            <a:endParaRPr lang="zh-CN" altLang="en-US" strike="noStrike" noProof="1" dirty="0"/>
          </a:p>
        </p:txBody>
      </p:sp>
      <p:sp>
        <p:nvSpPr>
          <p:cNvPr id="6963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p:cNvSpPr>
          <p:nvPr>
            <p:ph type="sldImg"/>
          </p:nvPr>
        </p:nvSpPr>
        <p:spPr/>
      </p:sp>
      <p:sp>
        <p:nvSpPr>
          <p:cNvPr id="7168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en-US" altLang="zh-CN" dirty="0"/>
              <a:t>ASSEMBLE</a:t>
            </a:r>
            <a:r>
              <a:rPr lang="zh-CN" altLang="en-US" dirty="0"/>
              <a:t>研究疗效结果显示，</a:t>
            </a:r>
            <a:r>
              <a:rPr lang="en-US" altLang="zh-CN" dirty="0"/>
              <a:t>TOC</a:t>
            </a:r>
            <a:r>
              <a:rPr lang="zh-CN" altLang="en-US" dirty="0"/>
              <a:t>时氨曲南</a:t>
            </a:r>
            <a:r>
              <a:rPr lang="en-US" altLang="zh-CN" dirty="0"/>
              <a:t>-</a:t>
            </a:r>
            <a:r>
              <a:rPr lang="zh-CN" altLang="en-US" dirty="0"/>
              <a:t>阿维巴坦在</a:t>
            </a:r>
            <a:r>
              <a:rPr lang="en-US" altLang="zh-CN" dirty="0" err="1"/>
              <a:t>mITT</a:t>
            </a:r>
            <a:r>
              <a:rPr lang="zh-CN" altLang="en-US" dirty="0"/>
              <a:t>人群的临床治愈率为</a:t>
            </a:r>
            <a:r>
              <a:rPr lang="en-US" altLang="zh-CN" dirty="0"/>
              <a:t>41.7%</a:t>
            </a:r>
            <a:r>
              <a:rPr lang="zh-CN" altLang="en-US" dirty="0"/>
              <a:t>，而最佳可用疗法仅为</a:t>
            </a:r>
            <a:r>
              <a:rPr lang="en-US" altLang="zh-CN" dirty="0"/>
              <a:t>0%</a:t>
            </a:r>
            <a:r>
              <a:rPr lang="zh-CN" altLang="en-US" dirty="0"/>
              <a:t>。安全性方面，氨曲南</a:t>
            </a:r>
            <a:r>
              <a:rPr lang="en-US" altLang="zh-CN" dirty="0"/>
              <a:t>-</a:t>
            </a:r>
            <a:r>
              <a:rPr lang="zh-CN" altLang="en-US" dirty="0"/>
              <a:t>阿维巴坦治疗患者未出现治疗相关的 </a:t>
            </a:r>
            <a:r>
              <a:rPr lang="en-US" altLang="zh-CN" dirty="0"/>
              <a:t>SAE</a:t>
            </a:r>
            <a:r>
              <a:rPr lang="zh-CN" altLang="en-US" dirty="0"/>
              <a:t>，</a:t>
            </a:r>
            <a:r>
              <a:rPr lang="en-US" altLang="zh-CN" dirty="0"/>
              <a:t>BAT</a:t>
            </a:r>
            <a:r>
              <a:rPr lang="zh-CN" altLang="en-US" dirty="0"/>
              <a:t>组中有一例</a:t>
            </a:r>
            <a:r>
              <a:rPr lang="en-US" altLang="zh-CN" dirty="0"/>
              <a:t>SAE</a:t>
            </a:r>
            <a:r>
              <a:rPr lang="zh-CN" altLang="en-US" dirty="0"/>
              <a:t>（急性肾损伤）被认为与治疗有关。整体疗效</a:t>
            </a:r>
            <a:r>
              <a:rPr lang="en-US" altLang="zh-CN" dirty="0"/>
              <a:t>-</a:t>
            </a:r>
            <a:r>
              <a:rPr lang="zh-CN" altLang="en-US" dirty="0"/>
              <a:t>安全性氨曲南</a:t>
            </a:r>
            <a:r>
              <a:rPr lang="en-US" altLang="zh-CN" dirty="0"/>
              <a:t>-</a:t>
            </a:r>
            <a:r>
              <a:rPr lang="zh-CN" altLang="en-US" dirty="0"/>
              <a:t>阿维巴坦优于最佳可用疗法</a:t>
            </a:r>
            <a:br>
              <a:rPr lang="en-US" altLang="zh-CN" dirty="0"/>
            </a:br>
            <a:r>
              <a:rPr lang="zh-CN" altLang="en-US" dirty="0"/>
              <a:t>综合</a:t>
            </a:r>
            <a:r>
              <a:rPr lang="en-US" altLang="zh-CN" dirty="0"/>
              <a:t>ASSEMBLE</a:t>
            </a:r>
            <a:r>
              <a:rPr lang="zh-CN" altLang="en-US" dirty="0"/>
              <a:t>研究和</a:t>
            </a:r>
            <a:r>
              <a:rPr lang="en-US" altLang="zh-CN" dirty="0"/>
              <a:t>REVISIT</a:t>
            </a:r>
            <a:r>
              <a:rPr lang="zh-CN" altLang="en-US" dirty="0"/>
              <a:t>研究结果，氨曲南</a:t>
            </a:r>
            <a:r>
              <a:rPr lang="en-US" altLang="zh-CN" dirty="0"/>
              <a:t>-</a:t>
            </a:r>
            <a:r>
              <a:rPr lang="zh-CN" altLang="en-US" dirty="0"/>
              <a:t>阿维巴坦治疗</a:t>
            </a:r>
            <a:r>
              <a:rPr lang="en-US" altLang="zh-CN" dirty="0"/>
              <a:t>MBL</a:t>
            </a:r>
            <a:r>
              <a:rPr lang="zh-CN" altLang="en-US" dirty="0"/>
              <a:t>感染的疗效和安全性良好。</a:t>
            </a:r>
            <a:endParaRPr lang="zh-CN" altLang="en-US" dirty="0"/>
          </a:p>
          <a:p>
            <a:pPr lvl="0" indent="0" defTabSz="914400"/>
            <a:endParaRPr lang="zh-CN" altLang="en-US" dirty="0"/>
          </a:p>
        </p:txBody>
      </p:sp>
      <p:sp>
        <p:nvSpPr>
          <p:cNvPr id="7168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4753" name="幻灯片图像占位符 1"/>
          <p:cNvSpPr>
            <a:spLocks noGrp="1" noRot="1" noChangeAspect="1"/>
          </p:cNvSpPr>
          <p:nvPr>
            <p:ph type="sldImg"/>
          </p:nvPr>
        </p:nvSpPr>
        <p:spPr/>
      </p:sp>
      <p:sp>
        <p:nvSpPr>
          <p:cNvPr id="7475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体外研究表明，氨曲南</a:t>
            </a:r>
            <a:r>
              <a:rPr lang="en-US" altLang="zh-CN" dirty="0"/>
              <a:t>-</a:t>
            </a:r>
            <a:r>
              <a:rPr lang="zh-CN" altLang="en-US" dirty="0"/>
              <a:t>阿维巴坦</a:t>
            </a:r>
            <a:r>
              <a:rPr lang="en-US" altLang="zh-CN" dirty="0"/>
              <a:t> </a:t>
            </a:r>
            <a:r>
              <a:rPr lang="zh-CN" altLang="en-US" dirty="0"/>
              <a:t>在体外可有效对抗产 </a:t>
            </a:r>
            <a:r>
              <a:rPr lang="en-US" altLang="zh-CN" dirty="0"/>
              <a:t>MBL </a:t>
            </a:r>
            <a:r>
              <a:rPr lang="zh-CN" altLang="en-US" dirty="0"/>
              <a:t>肠杆菌以及嗜麦芽窄食单胞菌。在没有获得性耐药机制的情况下，这些病原体对氨曲南 </a:t>
            </a:r>
            <a:r>
              <a:rPr lang="en-US" altLang="zh-CN" dirty="0"/>
              <a:t>- </a:t>
            </a:r>
            <a:r>
              <a:rPr lang="zh-CN" altLang="en-US" dirty="0"/>
              <a:t>阿维巴坦敏感。这为临床应用提供了有力的理论基础。</a:t>
            </a:r>
            <a:endParaRPr lang="zh-CN" altLang="en-US" dirty="0"/>
          </a:p>
        </p:txBody>
      </p:sp>
      <p:sp>
        <p:nvSpPr>
          <p:cNvPr id="7475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es-MX" altLang="en-US" sz="1200"/>
            </a:fld>
            <a:endParaRPr lang="es-MX" altLang="en-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6801"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trike="noStrike" noProof="1" dirty="0"/>
              <a:t>在</a:t>
            </a:r>
            <a:r>
              <a:rPr lang="en-US" altLang="zh-CN" strike="noStrike" noProof="1" dirty="0">
                <a:latin typeface="+mn-lt"/>
              </a:rPr>
              <a:t>PK/PD</a:t>
            </a:r>
            <a:r>
              <a:rPr lang="zh-CN" altLang="en-US" strike="noStrike" noProof="1" dirty="0">
                <a:latin typeface="+mn-lt"/>
              </a:rPr>
              <a:t>方面，思福诺</a:t>
            </a:r>
            <a:r>
              <a:rPr lang="en-US" altLang="zh-CN" strike="noStrike" baseline="30000" noProof="1" dirty="0">
                <a:latin typeface="+mn-lt"/>
              </a:rPr>
              <a:t>®</a:t>
            </a:r>
            <a:r>
              <a:rPr lang="zh-CN" altLang="en-US" strike="noStrike" noProof="1" dirty="0"/>
              <a:t>静脉</a:t>
            </a:r>
            <a:r>
              <a:rPr kumimoji="1" lang="zh-CN" altLang="en-US" sz="12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rPr>
              <a:t>输注</a:t>
            </a:r>
            <a:r>
              <a:rPr lang="zh-CN" altLang="en-US" strike="noStrike" noProof="1" dirty="0"/>
              <a:t>可实现快速、完全的生物利用度；</a:t>
            </a:r>
            <a:br>
              <a:rPr lang="en-US" altLang="zh-CN" dirty="0"/>
            </a:b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氨曲南和阿维巴坦具有相当的</a:t>
            </a:r>
            <a:r>
              <a:rPr kumimoji="0" lang="en-GB" altLang="zh-CN" sz="1200" b="1" i="0" u="none" strike="noStrike" kern="1200" cap="none" spc="0" normalizeH="0" baseline="0" noProof="0" dirty="0" err="1">
                <a:ln>
                  <a:noFill/>
                </a:ln>
                <a:solidFill>
                  <a:srgbClr val="00C987"/>
                </a:solidFill>
                <a:effectLst/>
                <a:uLnTx/>
                <a:uFillTx/>
                <a:latin typeface="微软雅黑" panose="020B0503020204020204" charset="-122"/>
                <a:ea typeface="微软雅黑" panose="020B0503020204020204" charset="-122"/>
                <a:cs typeface="Times New Roman" panose="02020503050405090304" pitchFamily="18" charset="0"/>
              </a:rPr>
              <a:t>稳态</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Vd</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a:t>
            </a:r>
            <a:r>
              <a:rPr lang="zh-CN" altLang="en-US" strike="noStrike" noProof="1" dirty="0"/>
              <a:t>蛋白结合率低；</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主要通过肾脏清除</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无显著的</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肝脏代谢</a:t>
            </a:r>
            <a:r>
              <a:rPr lang="zh-CN" altLang="en-US" sz="1200" strike="noStrike" noProof="1" dirty="0">
                <a:solidFill>
                  <a:srgbClr val="000000"/>
                </a:solidFill>
                <a:latin typeface="微软雅黑" panose="020B0503020204020204" charset="-122"/>
                <a:ea typeface="微软雅黑" panose="020B0503020204020204" charset="-122"/>
                <a:cs typeface="Times New Roman" panose="02020503050405090304" pitchFamily="18" charset="0"/>
              </a:rPr>
              <a:t>，肝功能损害患者</a:t>
            </a:r>
            <a:r>
              <a:rPr lang="zh-CN" altLang="en-US" sz="1200" b="1" strike="noStrike" noProof="1" dirty="0">
                <a:solidFill>
                  <a:srgbClr val="00C987"/>
                </a:solidFill>
                <a:latin typeface="微软雅黑" panose="020B0503020204020204" charset="-122"/>
                <a:ea typeface="微软雅黑" panose="020B0503020204020204" charset="-122"/>
                <a:cs typeface="Times New Roman" panose="02020503050405090304" pitchFamily="18" charset="0"/>
              </a:rPr>
              <a:t>无需调整</a:t>
            </a:r>
            <a:r>
              <a:rPr lang="zh-CN" altLang="en-US" sz="1200" strike="noStrike" noProof="1" dirty="0">
                <a:solidFill>
                  <a:srgbClr val="000000"/>
                </a:solidFill>
                <a:latin typeface="微软雅黑" panose="020B0503020204020204" charset="-122"/>
                <a:ea typeface="微软雅黑" panose="020B0503020204020204" charset="-122"/>
                <a:cs typeface="Times New Roman" panose="02020503050405090304" pitchFamily="18" charset="0"/>
              </a:rPr>
              <a:t>本品的剂量；</a:t>
            </a:r>
            <a:r>
              <a:rPr lang="zh-CN" altLang="en-US" strike="noStrike" noProof="1" dirty="0"/>
              <a:t>药物间相互作用可能性小，确保了疗效及安全性；</a:t>
            </a:r>
            <a:endParaRPr lang="zh-CN" altLang="en-US" strike="noStrike" noProof="1" dirty="0"/>
          </a:p>
        </p:txBody>
      </p:sp>
      <p:sp>
        <p:nvSpPr>
          <p:cNvPr id="7680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8849" name="幻灯片图像占位符 1"/>
          <p:cNvSpPr>
            <a:spLocks noGrp="1" noRot="1" noChangeAspect="1"/>
          </p:cNvSpPr>
          <p:nvPr>
            <p:ph type="sldImg"/>
          </p:nvPr>
        </p:nvSpPr>
        <p:spPr/>
      </p:sp>
      <p:sp>
        <p:nvSpPr>
          <p:cNvPr id="7885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并且，</a:t>
            </a:r>
            <a:r>
              <a:rPr lang="zh-CN" altLang="en-US" dirty="0">
                <a:latin typeface="Pfizer Tomorrow" charset="0"/>
                <a:sym typeface="等线" panose="02010600030101010101" pitchFamily="2" charset="-122"/>
              </a:rPr>
              <a:t>治疗</a:t>
            </a:r>
            <a:r>
              <a:rPr lang="en-US" altLang="zh-CN" dirty="0" err="1">
                <a:latin typeface="Pfizer Tomorrow" charset="0"/>
                <a:sym typeface="等线" panose="02010600030101010101" pitchFamily="2" charset="-122"/>
              </a:rPr>
              <a:t>cIAI</a:t>
            </a:r>
            <a:r>
              <a:rPr lang="zh-CN" altLang="en-US" dirty="0">
                <a:latin typeface="Pfizer Tomorrow" charset="0"/>
                <a:sym typeface="等线" panose="02010600030101010101" pitchFamily="2" charset="-122"/>
              </a:rPr>
              <a:t>及</a:t>
            </a:r>
            <a:r>
              <a:rPr lang="en-US" altLang="zh-CN" dirty="0">
                <a:latin typeface="Pfizer Tomorrow" charset="0"/>
                <a:sym typeface="等线" panose="02010600030101010101" pitchFamily="2" charset="-122"/>
              </a:rPr>
              <a:t>HAP/VAP</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肾功能正常</a:t>
            </a:r>
            <a:r>
              <a:rPr lang="zh-CN" altLang="en-US" dirty="0">
                <a:latin typeface="Pfizer Tomorrow" charset="0"/>
                <a:sym typeface="等线" panose="02010600030101010101" pitchFamily="2" charset="-122"/>
              </a:rPr>
              <a:t>患者在首次给药间隔和稳态时的联合</a:t>
            </a:r>
            <a:r>
              <a:rPr lang="en-US" altLang="zh-CN" dirty="0">
                <a:latin typeface="Pfizer Tomorrow" charset="0"/>
                <a:sym typeface="等线" panose="02010600030101010101" pitchFamily="2" charset="-122"/>
              </a:rPr>
              <a:t>PTA</a:t>
            </a:r>
            <a:r>
              <a:rPr lang="zh-CN" altLang="en-US" dirty="0">
                <a:latin typeface="Pfizer Tomorrow" charset="0"/>
                <a:sym typeface="等线" panose="02010600030101010101" pitchFamily="2" charset="-122"/>
              </a:rPr>
              <a:t>超</a:t>
            </a:r>
            <a:r>
              <a:rPr lang="en-US" altLang="zh-CN" dirty="0">
                <a:latin typeface="Pfizer Tomorrow" charset="0"/>
                <a:sym typeface="等线" panose="02010600030101010101" pitchFamily="2" charset="-122"/>
              </a:rPr>
              <a:t>96.7%</a:t>
            </a:r>
            <a:r>
              <a:rPr lang="zh-CN" altLang="en-US" dirty="0">
                <a:latin typeface="Pfizer Tomorrow" charset="0"/>
                <a:sym typeface="等线" panose="02010600030101010101" pitchFamily="2" charset="-122"/>
              </a:rPr>
              <a:t>；</a:t>
            </a:r>
            <a:endParaRPr lang="en-US" altLang="zh-CN" dirty="0">
              <a:latin typeface="Pfizer Tomorrow" charset="0"/>
              <a:sym typeface="等线" panose="02010600030101010101" pitchFamily="2" charset="-122"/>
            </a:endParaRPr>
          </a:p>
          <a:p>
            <a:pPr lvl="0" indent="0" defTabSz="914400" fontAlgn="base">
              <a:lnSpc>
                <a:spcPct val="100000"/>
              </a:lnSpc>
              <a:spcBef>
                <a:spcPct val="0"/>
              </a:spcBef>
              <a:spcAft>
                <a:spcPct val="0"/>
              </a:spcAft>
              <a:buNone/>
            </a:pP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除终末期肾病</a:t>
            </a:r>
            <a:r>
              <a:rPr lang="en-US" altLang="zh-CN" dirty="0" err="1">
                <a:solidFill>
                  <a:srgbClr val="000000"/>
                </a:solidFill>
                <a:latin typeface="Arial" panose="020B0604020202090204" pitchFamily="34" charset="0"/>
                <a:ea typeface="微软雅黑" panose="020B0503020204020204" charset="-122"/>
                <a:sym typeface="等线" panose="02010600030101010101" pitchFamily="2" charset="-122"/>
              </a:rPr>
              <a:t>cIAI</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患者在稳态时联合</a:t>
            </a:r>
            <a:r>
              <a:rPr lang="en-US" altLang="zh-CN" dirty="0">
                <a:solidFill>
                  <a:srgbClr val="000000"/>
                </a:solidFill>
                <a:latin typeface="Arial" panose="020B0604020202090204" pitchFamily="34" charset="0"/>
                <a:ea typeface="微软雅黑" panose="020B0503020204020204" charset="-122"/>
                <a:sym typeface="等线" panose="02010600030101010101" pitchFamily="2" charset="-122"/>
              </a:rPr>
              <a:t>PTA</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为</a:t>
            </a:r>
            <a:r>
              <a:rPr lang="en-US" altLang="zh-CN" dirty="0">
                <a:solidFill>
                  <a:srgbClr val="000000"/>
                </a:solidFill>
                <a:latin typeface="Arial" panose="020B0604020202090204" pitchFamily="34" charset="0"/>
                <a:ea typeface="微软雅黑" panose="020B0503020204020204" charset="-122"/>
                <a:sym typeface="等线" panose="02010600030101010101" pitchFamily="2" charset="-122"/>
              </a:rPr>
              <a:t>89.1%</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以外，</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不同肾功能的</a:t>
            </a:r>
            <a:r>
              <a:rPr lang="en-US" altLang="zh-CN" b="1" dirty="0" err="1">
                <a:solidFill>
                  <a:srgbClr val="00C987"/>
                </a:solidFill>
                <a:latin typeface="Arial" panose="020B0604020202090204" pitchFamily="34" charset="0"/>
                <a:ea typeface="微软雅黑" panose="020B0503020204020204" charset="-122"/>
                <a:sym typeface="等线" panose="02010600030101010101" pitchFamily="2" charset="-122"/>
              </a:rPr>
              <a:t>cIAI</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及</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HAP/VAP</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患者在首次给药间隔和稳态时的联合</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PTA</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均＞</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90%</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达标率高</a:t>
            </a:r>
            <a:endParaRPr lang="en-GB" altLang="zh-CN" b="1" dirty="0">
              <a:solidFill>
                <a:srgbClr val="00C987"/>
              </a:solidFill>
              <a:latin typeface="Arial" panose="020B0604020202090204" pitchFamily="34" charset="0"/>
              <a:ea typeface="微软雅黑" panose="020B0503020204020204" charset="-122"/>
              <a:sym typeface="等线" panose="02010600030101010101" pitchFamily="2" charset="-122"/>
            </a:endParaRPr>
          </a:p>
          <a:p>
            <a:pPr lvl="0" indent="0" defTabSz="914400"/>
            <a:endParaRPr lang="zh-CN" altLang="en-US" dirty="0"/>
          </a:p>
        </p:txBody>
      </p:sp>
      <p:sp>
        <p:nvSpPr>
          <p:cNvPr id="7885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0897" name="幻灯片图像占位符 1"/>
          <p:cNvSpPr>
            <a:spLocks noGrp="1" noRot="1" noChangeAspect="1"/>
          </p:cNvSpPr>
          <p:nvPr>
            <p:ph type="sldImg"/>
          </p:nvPr>
        </p:nvSpPr>
        <p:spPr/>
      </p:sp>
      <p:sp>
        <p:nvSpPr>
          <p:cNvPr id="8089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最后是指南推荐方面：</a:t>
            </a:r>
            <a:br>
              <a:rPr lang="en-US" altLang="zh-CN" dirty="0"/>
            </a:br>
            <a:r>
              <a:rPr lang="zh-CN" altLang="en-US" dirty="0"/>
              <a:t>中国碳青霉烯耐药肠杆菌科细菌感染诊治与防控专家共识指出</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氨曲南与阿维巴坦联合后对产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B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以及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β‑</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内酰胺酶的肠杆菌目细菌均显示一定的抗菌活性，</a:t>
            </a:r>
            <a:r>
              <a:rPr lang="zh-CN" altLang="en-US" dirty="0"/>
              <a:t>推荐对产金属酶的</a:t>
            </a:r>
            <a:r>
              <a:rPr lang="en-US" altLang="zh-CN" dirty="0"/>
              <a:t>CRE</a:t>
            </a:r>
            <a:r>
              <a:rPr lang="zh-CN" altLang="en-US" dirty="0"/>
              <a:t>感染可以使用氨曲南</a:t>
            </a:r>
            <a:r>
              <a:rPr lang="en-US" altLang="zh-CN" dirty="0"/>
              <a:t>-</a:t>
            </a:r>
            <a:r>
              <a:rPr lang="zh-CN" altLang="en-US" dirty="0"/>
              <a:t>阿维巴坦，也就是思福诺</a:t>
            </a:r>
            <a:endParaRPr lang="zh-CN" altLang="en-US" dirty="0"/>
          </a:p>
          <a:p>
            <a:pPr lvl="0"/>
            <a:endParaRPr lang="zh-CN" altLang="en-US" dirty="0"/>
          </a:p>
        </p:txBody>
      </p:sp>
      <p:sp>
        <p:nvSpPr>
          <p:cNvPr id="8089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2945" name="幻灯片图像占位符 1"/>
          <p:cNvSpPr>
            <a:spLocks noGrp="1" noRot="1" noChangeAspect="1"/>
          </p:cNvSpPr>
          <p:nvPr>
            <p:ph type="sldImg"/>
          </p:nvPr>
        </p:nvSpPr>
        <p:spPr/>
      </p:sp>
      <p:sp>
        <p:nvSpPr>
          <p:cNvPr id="8294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并且最新的</a:t>
            </a:r>
            <a:r>
              <a:rPr lang="en-US" altLang="zh-CN" dirty="0"/>
              <a:t>2025</a:t>
            </a:r>
            <a:r>
              <a:rPr lang="zh-CN" altLang="en-US" dirty="0"/>
              <a:t>新版</a:t>
            </a:r>
            <a:r>
              <a:rPr lang="en-US" altLang="zh-CN" dirty="0"/>
              <a:t>《</a:t>
            </a:r>
            <a:r>
              <a:rPr lang="zh-CN" altLang="en-US" dirty="0"/>
              <a:t>细菌药物敏感试验执行标准和典型报告解读（第三版）</a:t>
            </a:r>
            <a:r>
              <a:rPr lang="en-US" altLang="zh-CN" dirty="0"/>
              <a:t>》</a:t>
            </a:r>
            <a:r>
              <a:rPr lang="zh-CN" altLang="en-US" dirty="0"/>
              <a:t>推荐氨曲南</a:t>
            </a:r>
            <a:r>
              <a:rPr lang="en-US" altLang="zh-CN" dirty="0"/>
              <a:t>-</a:t>
            </a:r>
            <a:r>
              <a:rPr lang="zh-CN" altLang="en-US" dirty="0"/>
              <a:t>阿维巴坦用于产</a:t>
            </a:r>
            <a:r>
              <a:rPr lang="en-US" altLang="zh-CN" dirty="0"/>
              <a:t>MBL</a:t>
            </a:r>
            <a:r>
              <a:rPr lang="zh-CN" altLang="en-US" dirty="0"/>
              <a:t>酶的肠杆菌目细菌</a:t>
            </a:r>
            <a:r>
              <a:rPr lang="en-US" altLang="zh-CN" dirty="0"/>
              <a:t>(</a:t>
            </a:r>
            <a:r>
              <a:rPr lang="zh-CN" altLang="en-US" dirty="0"/>
              <a:t>包括大肠埃希菌、克雷伯菌属等</a:t>
            </a:r>
            <a:r>
              <a:rPr lang="en-US" altLang="zh-CN" dirty="0"/>
              <a:t>)</a:t>
            </a:r>
            <a:r>
              <a:rPr lang="zh-CN" altLang="en-US" dirty="0"/>
              <a:t>的一线治疗；</a:t>
            </a:r>
            <a:r>
              <a:rPr lang="zh-CN" altLang="en-US" dirty="0">
                <a:solidFill>
                  <a:srgbClr val="404040"/>
                </a:solidFill>
                <a:latin typeface="Pfizer Tomorrow" charset="0"/>
                <a:ea typeface="微软雅黑" panose="020B0503020204020204" charset="-122"/>
              </a:rPr>
              <a:t>强调其作为国内首个可单药治疗产金属酶</a:t>
            </a:r>
            <a:r>
              <a:rPr lang="en-US" altLang="zh-CN" dirty="0">
                <a:solidFill>
                  <a:srgbClr val="404040"/>
                </a:solidFill>
                <a:latin typeface="Pfizer Tomorrow" charset="0"/>
                <a:ea typeface="微软雅黑" panose="020B0503020204020204" charset="-122"/>
              </a:rPr>
              <a:t>CRE</a:t>
            </a:r>
            <a:r>
              <a:rPr lang="zh-CN" altLang="en-US" dirty="0">
                <a:solidFill>
                  <a:srgbClr val="404040"/>
                </a:solidFill>
                <a:latin typeface="Pfizer Tomorrow" charset="0"/>
                <a:ea typeface="微软雅黑" panose="020B0503020204020204" charset="-122"/>
              </a:rPr>
              <a:t>的新型</a:t>
            </a:r>
            <a:r>
              <a:rPr lang="en-US" altLang="zh-CN" dirty="0">
                <a:solidFill>
                  <a:srgbClr val="404040"/>
                </a:solidFill>
                <a:latin typeface="Pfizer Tomorrow" charset="0"/>
                <a:ea typeface="微软雅黑" panose="020B0503020204020204" charset="-122"/>
              </a:rPr>
              <a:t>β-</a:t>
            </a:r>
            <a:r>
              <a:rPr lang="zh-CN" altLang="en-US" dirty="0">
                <a:solidFill>
                  <a:srgbClr val="404040"/>
                </a:solidFill>
                <a:latin typeface="Pfizer Tomorrow" charset="0"/>
                <a:ea typeface="微软雅黑" panose="020B0503020204020204" charset="-122"/>
              </a:rPr>
              <a:t>内酰胺酶抑制剂复方制剂的临床价值。提出“头孢他啶</a:t>
            </a:r>
            <a:r>
              <a:rPr lang="en-US" altLang="zh-CN" dirty="0">
                <a:solidFill>
                  <a:srgbClr val="404040"/>
                </a:solidFill>
                <a:latin typeface="Pfizer Tomorrow" charset="0"/>
                <a:ea typeface="微软雅黑" panose="020B0503020204020204" charset="-122"/>
              </a:rPr>
              <a:t>/</a:t>
            </a:r>
            <a:r>
              <a:rPr lang="zh-CN" altLang="en-US" dirty="0">
                <a:solidFill>
                  <a:srgbClr val="404040"/>
                </a:solidFill>
                <a:latin typeface="Pfizer Tomorrow" charset="0"/>
                <a:ea typeface="微软雅黑" panose="020B0503020204020204" charset="-122"/>
              </a:rPr>
              <a:t>阿维巴坦联合氨曲南”方案中可能存在</a:t>
            </a:r>
            <a:r>
              <a:rPr lang="zh-CN" altLang="en-US" b="1" dirty="0">
                <a:solidFill>
                  <a:srgbClr val="000D45"/>
                </a:solidFill>
                <a:latin typeface="Pfizer Tomorrow" charset="0"/>
                <a:ea typeface="微软雅黑" panose="020B0503020204020204" charset="-122"/>
              </a:rPr>
              <a:t>阿维巴坦剂量不足风险</a:t>
            </a:r>
            <a:r>
              <a:rPr lang="zh-CN" altLang="en-US" dirty="0">
                <a:solidFill>
                  <a:srgbClr val="404040"/>
                </a:solidFill>
                <a:latin typeface="Pfizer Tomorrow" charset="0"/>
                <a:ea typeface="微软雅黑" panose="020B0503020204020204" charset="-122"/>
              </a:rPr>
              <a:t>，为临床合理用药提供了重要的科学依据</a:t>
            </a:r>
            <a:br>
              <a:rPr lang="en-US" altLang="zh-CN" dirty="0">
                <a:solidFill>
                  <a:srgbClr val="404040"/>
                </a:solidFill>
                <a:latin typeface="Pfizer Tomorrow" charset="0"/>
                <a:ea typeface="微软雅黑" panose="020B0503020204020204" charset="-122"/>
              </a:rPr>
            </a:br>
            <a:br>
              <a:rPr lang="en-US" altLang="zh-CN" dirty="0">
                <a:solidFill>
                  <a:srgbClr val="404040"/>
                </a:solidFill>
                <a:latin typeface="Pfizer Tomorrow" charset="0"/>
                <a:ea typeface="微软雅黑" panose="020B0503020204020204" charset="-122"/>
              </a:rPr>
            </a:br>
            <a:r>
              <a:rPr lang="zh-CN" altLang="en-US" dirty="0">
                <a:solidFill>
                  <a:srgbClr val="404040"/>
                </a:solidFill>
                <a:latin typeface="Pfizer Tomorrow" charset="0"/>
                <a:ea typeface="微软雅黑" panose="020B0503020204020204" charset="-122"/>
              </a:rPr>
              <a:t>在具体的治疗方案推荐中，推荐</a:t>
            </a:r>
            <a:r>
              <a:rPr lang="zh-CN" altLang="en-US" dirty="0"/>
              <a:t>氨曲南</a:t>
            </a:r>
            <a:r>
              <a:rPr lang="en-US" altLang="zh-CN" dirty="0"/>
              <a:t>-</a:t>
            </a:r>
            <a:r>
              <a:rPr lang="zh-CN" altLang="en-US" dirty="0"/>
              <a:t>阿维巴坦是</a:t>
            </a:r>
            <a:r>
              <a:rPr lang="zh-CN" altLang="en-US" dirty="0">
                <a:solidFill>
                  <a:schemeClr val="bg1"/>
                </a:solidFill>
                <a:latin typeface="Pfizer Tomorrow" charset="0"/>
                <a:ea typeface="微软雅黑" panose="020B0503020204020204" charset="-122"/>
                <a:sym typeface="Pfizer Tomorrow" charset="0"/>
              </a:rPr>
              <a:t>产金属酶肠杆菌目细菌</a:t>
            </a:r>
            <a:r>
              <a:rPr lang="en-US" altLang="zh-CN" dirty="0">
                <a:solidFill>
                  <a:schemeClr val="bg1"/>
                </a:solidFill>
                <a:latin typeface="Pfizer Tomorrow" charset="0"/>
                <a:ea typeface="微软雅黑" panose="020B0503020204020204" charset="-122"/>
                <a:sym typeface="Pfizer Tomorrow" charset="0"/>
              </a:rPr>
              <a:t>(</a:t>
            </a:r>
            <a:r>
              <a:rPr lang="zh-CN" altLang="en-US" dirty="0">
                <a:solidFill>
                  <a:schemeClr val="bg1"/>
                </a:solidFill>
                <a:latin typeface="Pfizer Tomorrow" charset="0"/>
                <a:ea typeface="微软雅黑" panose="020B0503020204020204" charset="-122"/>
                <a:sym typeface="Pfizer Tomorrow" charset="0"/>
              </a:rPr>
              <a:t>大肠埃希菌、克雷伯菌属、摩根摩根菌、弗劳地柠檬酸杆菌、阴沟肠杆菌复合群、变形杆菌属、黏质沙雷菌</a:t>
            </a:r>
            <a:r>
              <a:rPr lang="en-US" altLang="zh-CN" dirty="0">
                <a:solidFill>
                  <a:schemeClr val="bg1"/>
                </a:solidFill>
                <a:latin typeface="Pfizer Tomorrow" charset="0"/>
                <a:ea typeface="微软雅黑" panose="020B0503020204020204" charset="-122"/>
                <a:sym typeface="Pfizer Tomorrow" charset="0"/>
              </a:rPr>
              <a:t>)</a:t>
            </a:r>
            <a:r>
              <a:rPr lang="zh-CN" altLang="en-US" dirty="0">
                <a:solidFill>
                  <a:schemeClr val="bg1"/>
                </a:solidFill>
                <a:latin typeface="Pfizer Tomorrow" charset="0"/>
                <a:ea typeface="微软雅黑" panose="020B0503020204020204" charset="-122"/>
                <a:sym typeface="Pfizer Tomorrow" charset="0"/>
              </a:rPr>
              <a:t>的首选治疗方案；</a:t>
            </a:r>
            <a:br>
              <a:rPr lang="en-US" altLang="zh-CN" dirty="0">
                <a:solidFill>
                  <a:schemeClr val="bg1"/>
                </a:solidFill>
                <a:latin typeface="Pfizer Tomorrow" charset="0"/>
                <a:ea typeface="微软雅黑" panose="020B0503020204020204" charset="-122"/>
                <a:sym typeface="Pfizer Tomorrow" charset="0"/>
              </a:rPr>
            </a:br>
            <a:r>
              <a:rPr lang="zh-CN" altLang="en-US" dirty="0">
                <a:solidFill>
                  <a:schemeClr val="bg1"/>
                </a:solidFill>
                <a:latin typeface="Pfizer Tomorrow" charset="0"/>
                <a:ea typeface="微软雅黑" panose="020B0503020204020204" charset="-122"/>
                <a:sym typeface="Pfizer Tomorrow" charset="0"/>
              </a:rPr>
              <a:t>也推荐用于嗜麦芽窄食单胞菌中重度感染的治疗；</a:t>
            </a:r>
            <a:endParaRPr lang="zh-CN" altLang="en-US" dirty="0">
              <a:solidFill>
                <a:schemeClr val="bg1"/>
              </a:solidFill>
              <a:latin typeface="Pfizer Tomorrow" charset="0"/>
              <a:ea typeface="微软雅黑" panose="020B0503020204020204" charset="-122"/>
              <a:sym typeface="Pfizer Tomorrow" charset="0"/>
            </a:endParaRPr>
          </a:p>
          <a:p>
            <a:pPr lvl="0" indent="0" defTabSz="914400" fontAlgn="base">
              <a:lnSpc>
                <a:spcPct val="100000"/>
              </a:lnSpc>
              <a:spcBef>
                <a:spcPct val="0"/>
              </a:spcBef>
              <a:spcAft>
                <a:spcPct val="0"/>
              </a:spcAft>
              <a:buNone/>
            </a:pPr>
            <a:endParaRPr lang="en-US" altLang="zh-CN" dirty="0">
              <a:solidFill>
                <a:schemeClr val="bg1"/>
              </a:solidFill>
              <a:latin typeface="Pfizer Tomorrow" charset="0"/>
              <a:ea typeface="微软雅黑" panose="020B0503020204020204" charset="-122"/>
              <a:sym typeface="Pfizer Tomorrow" charset="0"/>
            </a:endParaRPr>
          </a:p>
          <a:p>
            <a:pPr lvl="0" indent="0" defTabSz="914400" fontAlgn="base">
              <a:lnSpc>
                <a:spcPct val="100000"/>
              </a:lnSpc>
              <a:spcBef>
                <a:spcPct val="0"/>
              </a:spcBef>
              <a:spcAft>
                <a:spcPct val="0"/>
              </a:spcAft>
              <a:buNone/>
            </a:pPr>
            <a:endParaRPr lang="zh-CN" altLang="en-US" dirty="0">
              <a:solidFill>
                <a:schemeClr val="bg1"/>
              </a:solidFill>
              <a:latin typeface="Pfizer Tomorrow" charset="0"/>
              <a:ea typeface="微软雅黑" panose="020B0503020204020204" charset="-122"/>
              <a:sym typeface="Pfizer Tomorrow" charset="0"/>
            </a:endParaRPr>
          </a:p>
          <a:p>
            <a:pPr lvl="0" indent="0" defTabSz="914400"/>
            <a:br>
              <a:rPr lang="en-US" altLang="zh-CN" dirty="0"/>
            </a:br>
            <a:endParaRPr lang="zh-CN" altLang="en-US" dirty="0"/>
          </a:p>
        </p:txBody>
      </p:sp>
      <p:sp>
        <p:nvSpPr>
          <p:cNvPr id="8294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4993" name="幻灯片图像占位符 1"/>
          <p:cNvSpPr>
            <a:spLocks noGrp="1" noRot="1" noChangeAspect="1"/>
          </p:cNvSpPr>
          <p:nvPr>
            <p:ph type="sldImg"/>
          </p:nvPr>
        </p:nvSpPr>
        <p:spPr/>
      </p:sp>
      <p:sp>
        <p:nvSpPr>
          <p:cNvPr id="8499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至此，我对以上分享的内容进行小结，我国</a:t>
            </a:r>
            <a:r>
              <a:rPr lang="en-US" altLang="zh-CN" dirty="0"/>
              <a:t>CRE</a:t>
            </a:r>
            <a:r>
              <a:rPr lang="zh-CN" altLang="en-US" dirty="0"/>
              <a:t>感染检出率呈逐年升高趋势，其主要耐药机制之一的</a:t>
            </a:r>
            <a:r>
              <a:rPr lang="en-US" altLang="zh-CN" dirty="0"/>
              <a:t>MBL</a:t>
            </a:r>
            <a:r>
              <a:rPr lang="zh-CN" altLang="en-US" dirty="0"/>
              <a:t>在临床却缺乏有效治疗药物</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a:t>
            </a:r>
            <a:endParaRPr lang="en-US" altLang="zh-CN" dirty="0">
              <a:solidFill>
                <a:srgbClr val="404040"/>
              </a:solidFill>
              <a:latin typeface="微软雅黑" panose="020B0503020204020204" charset="-122"/>
              <a:ea typeface="微软雅黑" panose="020B0503020204020204" charset="-122"/>
              <a:sym typeface="微软雅黑" panose="020B0503020204020204" charset="-122"/>
            </a:endParaRPr>
          </a:p>
          <a:p>
            <a:pPr lvl="0"/>
            <a:br>
              <a:rPr lang="en-US" altLang="zh-CN" dirty="0">
                <a:solidFill>
                  <a:srgbClr val="404040"/>
                </a:solidFill>
                <a:latin typeface="Pfizer Tomorrow" charset="0"/>
                <a:ea typeface="微软雅黑" panose="020B0503020204020204" charset="-122"/>
                <a:sym typeface="Pfizer Tomorrow" charset="0"/>
              </a:rPr>
            </a:br>
            <a:r>
              <a:rPr lang="zh-CN" altLang="en-US" dirty="0">
                <a:solidFill>
                  <a:srgbClr val="404040"/>
                </a:solidFill>
                <a:latin typeface="Pfizer Tomorrow" charset="0"/>
                <a:ea typeface="微软雅黑" panose="020B0503020204020204" charset="-122"/>
                <a:sym typeface="Pfizer Tomorrow" charset="0"/>
              </a:rPr>
              <a:t>流调研究显示</a:t>
            </a:r>
            <a:r>
              <a:rPr lang="en-US" altLang="zh-CN" dirty="0">
                <a:solidFill>
                  <a:srgbClr val="404040"/>
                </a:solidFill>
                <a:latin typeface="Pfizer Tomorrow" charset="0"/>
                <a:ea typeface="微软雅黑" panose="020B0503020204020204" charset="-122"/>
                <a:sym typeface="Pfizer Tomorrow" charset="0"/>
              </a:rPr>
              <a:t>MBL-CRE</a:t>
            </a:r>
            <a:r>
              <a:rPr lang="zh-CN" altLang="en-US" dirty="0">
                <a:solidFill>
                  <a:srgbClr val="404040"/>
                </a:solidFill>
                <a:latin typeface="Pfizer Tomorrow" charset="0"/>
                <a:ea typeface="微软雅黑" panose="020B0503020204020204" charset="-122"/>
                <a:sym typeface="Pfizer Tomorrow" charset="0"/>
              </a:rPr>
              <a:t>比例高，死亡率高危害严重，应及早治疗。但临床常用的“三剑客”在</a:t>
            </a:r>
            <a:r>
              <a:rPr lang="en-US" altLang="zh-CN" dirty="0">
                <a:solidFill>
                  <a:srgbClr val="404040"/>
                </a:solidFill>
                <a:latin typeface="Pfizer Tomorrow" charset="0"/>
                <a:ea typeface="微软雅黑" panose="020B0503020204020204" charset="-122"/>
                <a:sym typeface="Pfizer Tomorrow" charset="0"/>
              </a:rPr>
              <a:t>CRE</a:t>
            </a:r>
            <a:r>
              <a:rPr lang="zh-CN" altLang="en-US" dirty="0">
                <a:solidFill>
                  <a:srgbClr val="404040"/>
                </a:solidFill>
                <a:latin typeface="Pfizer Tomorrow" charset="0"/>
                <a:ea typeface="微软雅黑" panose="020B0503020204020204" charset="-122"/>
                <a:sym typeface="Pfizer Tomorrow" charset="0"/>
              </a:rPr>
              <a:t>治疗中均存在较大局限</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endParaRPr lang="en-US" altLang="zh-CN" dirty="0">
              <a:solidFill>
                <a:srgbClr val="404040"/>
              </a:solidFill>
              <a:latin typeface="微软雅黑" panose="020B0503020204020204" charset="-122"/>
              <a:ea typeface="微软雅黑" panose="020B0503020204020204" charset="-122"/>
              <a:sym typeface="微软雅黑" panose="020B0503020204020204" charset="-122"/>
            </a:endParaRPr>
          </a:p>
          <a:p>
            <a:pPr lvl="0"/>
            <a:r>
              <a:rPr lang="zh-CN" altLang="en-US" dirty="0">
                <a:solidFill>
                  <a:srgbClr val="404040"/>
                </a:solidFill>
                <a:latin typeface="微软雅黑" panose="020B0503020204020204" charset="-122"/>
                <a:ea typeface="微软雅黑" panose="020B0503020204020204" charset="-122"/>
                <a:sym typeface="微软雅黑" panose="020B0503020204020204" charset="-122"/>
              </a:rPr>
              <a:t>思福诺覆盖</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全酶型，是</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的治疗一线首选，开创抗感染新格局，具体优势表现在</a:t>
            </a:r>
            <a:r>
              <a:rPr lang="zh-CN" altLang="en-US" dirty="0">
                <a:solidFill>
                  <a:schemeClr val="accent1"/>
                </a:solidFill>
                <a:latin typeface="Pfizer Tomorrow" charset="0"/>
                <a:ea typeface="微软雅黑" panose="020B0503020204020204" charset="-122"/>
                <a:sym typeface="Pfizer Tomorrow" charset="0"/>
              </a:rPr>
              <a:t>抑酶谱广，覆盖</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全酶型；抗菌活性强，产</a:t>
            </a:r>
            <a:r>
              <a:rPr lang="en-US" altLang="zh-CN" dirty="0">
                <a:solidFill>
                  <a:schemeClr val="accent1"/>
                </a:solidFill>
                <a:latin typeface="Pfizer Tomorrow" charset="0"/>
                <a:ea typeface="微软雅黑" panose="020B0503020204020204" charset="-122"/>
                <a:sym typeface="Pfizer Tomorrow" charset="0"/>
              </a:rPr>
              <a:t>KPC</a:t>
            </a:r>
            <a:r>
              <a:rPr lang="zh-CN" altLang="en-US" dirty="0">
                <a:solidFill>
                  <a:schemeClr val="accent1"/>
                </a:solidFill>
                <a:latin typeface="Pfizer Tomorrow" charset="0"/>
                <a:ea typeface="微软雅黑" panose="020B0503020204020204" charset="-122"/>
                <a:sym typeface="Pfizer Tomorrow" charset="0"/>
              </a:rPr>
              <a:t>、</a:t>
            </a:r>
            <a:r>
              <a:rPr lang="en-US" altLang="zh-CN" dirty="0">
                <a:solidFill>
                  <a:schemeClr val="accent1"/>
                </a:solidFill>
                <a:latin typeface="Pfizer Tomorrow" charset="0"/>
                <a:ea typeface="微软雅黑" panose="020B0503020204020204" charset="-122"/>
                <a:sym typeface="Pfizer Tomorrow" charset="0"/>
              </a:rPr>
              <a:t>MBL</a:t>
            </a:r>
            <a:r>
              <a:rPr lang="zh-CN" altLang="en-US" dirty="0">
                <a:solidFill>
                  <a:schemeClr val="accent1"/>
                </a:solidFill>
                <a:latin typeface="Pfizer Tomorrow" charset="0"/>
                <a:ea typeface="微软雅黑" panose="020B0503020204020204" charset="-122"/>
                <a:sym typeface="Pfizer Tomorrow" charset="0"/>
              </a:rPr>
              <a:t>及共产酶</a:t>
            </a:r>
            <a:r>
              <a:rPr lang="en-US" altLang="zh-CN" dirty="0">
                <a:solidFill>
                  <a:schemeClr val="accent1"/>
                </a:solidFill>
                <a:latin typeface="Pfizer Tomorrow" charset="0"/>
                <a:ea typeface="微软雅黑" panose="020B0503020204020204" charset="-122"/>
                <a:sym typeface="Pfizer Tomorrow" charset="0"/>
              </a:rPr>
              <a:t>KPC+MBL</a:t>
            </a:r>
            <a:r>
              <a:rPr lang="zh-CN" altLang="en-US" dirty="0">
                <a:solidFill>
                  <a:schemeClr val="accent1"/>
                </a:solidFill>
                <a:latin typeface="Pfizer Tomorrow" charset="0"/>
                <a:ea typeface="微软雅黑" panose="020B0503020204020204" charset="-122"/>
                <a:sym typeface="Pfizer Tomorrow" charset="0"/>
              </a:rPr>
              <a:t>的</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分离株对思福诺的耐药率均为</a:t>
            </a:r>
            <a:r>
              <a:rPr lang="en-US" altLang="zh-CN" dirty="0">
                <a:solidFill>
                  <a:schemeClr val="accent1"/>
                </a:solidFill>
                <a:latin typeface="Pfizer Tomorrow" charset="0"/>
                <a:ea typeface="微软雅黑" panose="020B0503020204020204" charset="-122"/>
                <a:sym typeface="Pfizer Tomorrow" charset="0"/>
              </a:rPr>
              <a:t>0%</a:t>
            </a:r>
            <a:r>
              <a:rPr lang="zh-CN" altLang="en-US" dirty="0">
                <a:solidFill>
                  <a:schemeClr val="accent1"/>
                </a:solidFill>
                <a:latin typeface="Pfizer Tomorrow" charset="0"/>
                <a:ea typeface="微软雅黑" panose="020B0503020204020204" charset="-122"/>
                <a:sym typeface="Pfizer Tomorrow" charset="0"/>
              </a:rPr>
              <a:t>，对不同酶型</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及“三剑客”耐药</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的敏感率近</a:t>
            </a:r>
            <a:r>
              <a:rPr lang="en-US" altLang="zh-CN" dirty="0">
                <a:solidFill>
                  <a:schemeClr val="accent1"/>
                </a:solidFill>
                <a:latin typeface="Pfizer Tomorrow" charset="0"/>
                <a:ea typeface="微软雅黑" panose="020B0503020204020204" charset="-122"/>
                <a:sym typeface="Pfizer Tomorrow" charset="0"/>
              </a:rPr>
              <a:t>100%</a:t>
            </a:r>
            <a:r>
              <a:rPr lang="zh-CN" altLang="en-US" dirty="0">
                <a:solidFill>
                  <a:schemeClr val="accent1"/>
                </a:solidFill>
                <a:latin typeface="Pfizer Tomorrow" charset="0"/>
                <a:ea typeface="微软雅黑" panose="020B0503020204020204" charset="-122"/>
                <a:sym typeface="Pfizer Tomorrow" charset="0"/>
              </a:rPr>
              <a:t>；疗效优异，治疗</a:t>
            </a:r>
            <a:r>
              <a:rPr lang="en-US" altLang="zh-CN" dirty="0">
                <a:solidFill>
                  <a:schemeClr val="accent1"/>
                </a:solidFill>
                <a:latin typeface="Pfizer Tomorrow" charset="0"/>
                <a:ea typeface="微软雅黑" panose="020B0503020204020204" charset="-122"/>
                <a:sym typeface="Pfizer Tomorrow" charset="0"/>
              </a:rPr>
              <a:t>MBL-CRE</a:t>
            </a:r>
            <a:r>
              <a:rPr lang="zh-CN" altLang="en-US" dirty="0">
                <a:solidFill>
                  <a:schemeClr val="accent1"/>
                </a:solidFill>
                <a:latin typeface="Pfizer Tomorrow" charset="0"/>
                <a:ea typeface="微软雅黑" panose="020B0503020204020204" charset="-122"/>
                <a:sym typeface="Pfizer Tomorrow" charset="0"/>
              </a:rPr>
              <a:t>的临床治愈率高，全因死亡率低，耐受性良好；治疗</a:t>
            </a:r>
            <a:r>
              <a:rPr lang="en-US" altLang="zh-CN" dirty="0" err="1">
                <a:solidFill>
                  <a:schemeClr val="accent1"/>
                </a:solidFill>
                <a:latin typeface="Pfizer Tomorrow" charset="0"/>
                <a:ea typeface="微软雅黑" panose="020B0503020204020204" charset="-122"/>
                <a:sym typeface="Pfizer Tomorrow" charset="0"/>
              </a:rPr>
              <a:t>cIAI</a:t>
            </a:r>
            <a:r>
              <a:rPr lang="zh-CN" altLang="en-US" dirty="0">
                <a:solidFill>
                  <a:schemeClr val="accent1"/>
                </a:solidFill>
                <a:latin typeface="Pfizer Tomorrow" charset="0"/>
                <a:ea typeface="微软雅黑" panose="020B0503020204020204" charset="-122"/>
                <a:sym typeface="Pfizer Tomorrow" charset="0"/>
              </a:rPr>
              <a:t>及</a:t>
            </a:r>
            <a:r>
              <a:rPr lang="en-US" altLang="zh-CN" dirty="0">
                <a:solidFill>
                  <a:schemeClr val="accent1"/>
                </a:solidFill>
                <a:latin typeface="Pfizer Tomorrow" charset="0"/>
                <a:ea typeface="微软雅黑" panose="020B0503020204020204" charset="-122"/>
                <a:sym typeface="Pfizer Tomorrow" charset="0"/>
              </a:rPr>
              <a:t>HAP/VAP</a:t>
            </a:r>
            <a:r>
              <a:rPr lang="zh-CN" altLang="en-US" dirty="0">
                <a:solidFill>
                  <a:schemeClr val="accent1"/>
                </a:solidFill>
                <a:latin typeface="Pfizer Tomorrow" charset="0"/>
                <a:ea typeface="微软雅黑" panose="020B0503020204020204" charset="-122"/>
                <a:sym typeface="Pfizer Tomorrow" charset="0"/>
              </a:rPr>
              <a:t>患者</a:t>
            </a:r>
            <a:br>
              <a:rPr lang="zh-CN" altLang="en-US" dirty="0">
                <a:solidFill>
                  <a:schemeClr val="accent1"/>
                </a:solidFill>
                <a:latin typeface="Pfizer Tomorrow" charset="0"/>
                <a:ea typeface="微软雅黑" panose="020B0503020204020204" charset="-122"/>
                <a:sym typeface="Pfizer Tomorrow" charset="0"/>
              </a:rPr>
            </a:br>
            <a:r>
              <a:rPr lang="zh-CN" altLang="en-US" dirty="0">
                <a:solidFill>
                  <a:schemeClr val="accent1"/>
                </a:solidFill>
                <a:latin typeface="Pfizer Tomorrow" charset="0"/>
                <a:ea typeface="微软雅黑" panose="020B0503020204020204" charset="-122"/>
                <a:sym typeface="Pfizer Tomorrow" charset="0"/>
              </a:rPr>
              <a:t>在首次给药间隔和稳态时的联合</a:t>
            </a:r>
            <a:r>
              <a:rPr lang="en-US" altLang="zh-CN" dirty="0">
                <a:solidFill>
                  <a:schemeClr val="accent1"/>
                </a:solidFill>
                <a:latin typeface="Pfizer Tomorrow" charset="0"/>
                <a:ea typeface="微软雅黑" panose="020B0503020204020204" charset="-122"/>
                <a:sym typeface="Pfizer Tomorrow" charset="0"/>
              </a:rPr>
              <a:t>PTA</a:t>
            </a:r>
            <a:r>
              <a:rPr lang="zh-CN" altLang="en-US" dirty="0">
                <a:solidFill>
                  <a:schemeClr val="accent1"/>
                </a:solidFill>
                <a:latin typeface="Pfizer Tomorrow" charset="0"/>
                <a:ea typeface="微软雅黑" panose="020B0503020204020204" charset="-122"/>
                <a:sym typeface="Pfizer Tomorrow" charset="0"/>
              </a:rPr>
              <a:t>超</a:t>
            </a:r>
            <a:r>
              <a:rPr lang="en-US" altLang="zh-CN" dirty="0">
                <a:solidFill>
                  <a:schemeClr val="accent1"/>
                </a:solidFill>
                <a:latin typeface="Pfizer Tomorrow" charset="0"/>
                <a:ea typeface="微软雅黑" panose="020B0503020204020204" charset="-122"/>
                <a:sym typeface="Pfizer Tomorrow" charset="0"/>
              </a:rPr>
              <a:t>96.7%</a:t>
            </a:r>
            <a:r>
              <a:rPr lang="zh-CN" altLang="en-US" dirty="0">
                <a:solidFill>
                  <a:schemeClr val="accent1"/>
                </a:solidFill>
                <a:latin typeface="Pfizer Tomorrow" charset="0"/>
                <a:ea typeface="微软雅黑" panose="020B0503020204020204" charset="-122"/>
                <a:sym typeface="Pfizer Tomorrow" charset="0"/>
              </a:rPr>
              <a:t>，达标率高。</a:t>
            </a:r>
            <a:r>
              <a:rPr lang="en-US" altLang="zh-CN" dirty="0">
                <a:solidFill>
                  <a:schemeClr val="accent1"/>
                </a:solidFill>
                <a:latin typeface="Pfizer Tomorrow" charset="0"/>
                <a:ea typeface="微软雅黑" panose="020B0503020204020204" charset="-122"/>
                <a:sym typeface="Pfizer Tomorrow" charset="0"/>
              </a:rPr>
              <a:t>|</a:t>
            </a:r>
            <a:br>
              <a:rPr lang="en-US" altLang="zh-CN" dirty="0">
                <a:solidFill>
                  <a:schemeClr val="accent1"/>
                </a:solidFill>
                <a:latin typeface="Pfizer Tomorrow" charset="0"/>
                <a:ea typeface="微软雅黑" panose="020B0503020204020204" charset="-122"/>
                <a:sym typeface="Pfizer Tomorrow" charset="0"/>
              </a:rPr>
            </a:br>
            <a:r>
              <a:rPr lang="zh-CN" altLang="en-US" dirty="0">
                <a:solidFill>
                  <a:schemeClr val="accent1"/>
                </a:solidFill>
                <a:latin typeface="Pfizer Tomorrow" charset="0"/>
                <a:ea typeface="微软雅黑" panose="020B0503020204020204" charset="-122"/>
                <a:sym typeface="Pfizer Tomorrow" charset="0"/>
              </a:rPr>
              <a:t>中国</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感染诊治与防控专家共识推荐</a:t>
            </a:r>
            <a:r>
              <a:rPr lang="zh-CN" altLang="en-US" dirty="0">
                <a:solidFill>
                  <a:srgbClr val="000D45"/>
                </a:solidFill>
                <a:latin typeface="Pfizer Tomorrow" charset="0"/>
                <a:ea typeface="微软雅黑" panose="020B0503020204020204" charset="-122"/>
                <a:sym typeface="Pfizer Tomorrow" charset="0"/>
              </a:rPr>
              <a:t>思福诺</a:t>
            </a:r>
            <a:r>
              <a:rPr lang="en-US" altLang="zh-CN" baseline="30000" dirty="0">
                <a:solidFill>
                  <a:srgbClr val="000D45"/>
                </a:solidFill>
                <a:latin typeface="Pfizer Tomorrow" charset="0"/>
                <a:ea typeface="微软雅黑" panose="020B0503020204020204" charset="-122"/>
                <a:sym typeface="Pfizer Tomorrow" charset="0"/>
              </a:rPr>
              <a:t>®️</a:t>
            </a:r>
            <a:r>
              <a:rPr lang="zh-CN" altLang="en-US" dirty="0">
                <a:solidFill>
                  <a:schemeClr val="accent1"/>
                </a:solidFill>
                <a:latin typeface="Pfizer Tomorrow" charset="0"/>
                <a:ea typeface="微软雅黑" panose="020B0503020204020204" charset="-122"/>
                <a:sym typeface="Pfizer Tomorrow" charset="0"/>
              </a:rPr>
              <a:t>治疗</a:t>
            </a:r>
            <a:r>
              <a:rPr lang="en-US" altLang="zh-CN" dirty="0">
                <a:solidFill>
                  <a:schemeClr val="accent1"/>
                </a:solidFill>
                <a:latin typeface="Pfizer Tomorrow" charset="0"/>
                <a:ea typeface="微软雅黑" panose="020B0503020204020204" charset="-122"/>
                <a:sym typeface="Pfizer Tomorrow" charset="0"/>
              </a:rPr>
              <a:t>MBL-CRE</a:t>
            </a:r>
            <a:r>
              <a:rPr lang="zh-CN" altLang="en-US" dirty="0">
                <a:solidFill>
                  <a:schemeClr val="accent1"/>
                </a:solidFill>
                <a:latin typeface="Pfizer Tomorrow" charset="0"/>
                <a:ea typeface="微软雅黑" panose="020B0503020204020204" charset="-122"/>
                <a:sym typeface="Pfizer Tomorrow" charset="0"/>
              </a:rPr>
              <a:t>感染；</a:t>
            </a:r>
            <a:r>
              <a:rPr lang="zh-CN" altLang="en-US" dirty="0">
                <a:solidFill>
                  <a:schemeClr val="accent1"/>
                </a:solidFill>
                <a:latin typeface="Pfizer Tomorrow" charset="0"/>
                <a:ea typeface="微软雅黑" panose="020B0503020204020204" charset="-122"/>
                <a:sym typeface="Pfizer Tomorrow" charset="0"/>
              </a:rPr>
              <a:t>细菌药物敏感试验执行标准和典型报告解读推荐</a:t>
            </a:r>
            <a:r>
              <a:rPr lang="zh-CN" altLang="en-US" dirty="0">
                <a:solidFill>
                  <a:srgbClr val="000D45"/>
                </a:solidFill>
                <a:latin typeface="Pfizer Tomorrow" charset="0"/>
                <a:ea typeface="微软雅黑" panose="020B0503020204020204" charset="-122"/>
                <a:sym typeface="Pfizer Tomorrow" charset="0"/>
              </a:rPr>
              <a:t>思福诺</a:t>
            </a:r>
            <a:r>
              <a:rPr lang="en-US" altLang="zh-CN" baseline="30000" dirty="0">
                <a:solidFill>
                  <a:srgbClr val="000D45"/>
                </a:solidFill>
                <a:latin typeface="Pfizer Tomorrow" charset="0"/>
                <a:ea typeface="微软雅黑" panose="020B0503020204020204" charset="-122"/>
                <a:sym typeface="Pfizer Tomorrow" charset="0"/>
              </a:rPr>
              <a:t>®️</a:t>
            </a:r>
            <a:r>
              <a:rPr lang="zh-CN" altLang="en-US" dirty="0">
                <a:solidFill>
                  <a:schemeClr val="accent1"/>
                </a:solidFill>
                <a:latin typeface="Pfizer Tomorrow" charset="0"/>
                <a:ea typeface="微软雅黑" panose="020B0503020204020204" charset="-122"/>
                <a:sym typeface="Pfizer Tomorrow" charset="0"/>
              </a:rPr>
              <a:t>是</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治疗的一线首选</a:t>
            </a:r>
            <a:endParaRPr lang="zh-CN" altLang="en-US" dirty="0">
              <a:solidFill>
                <a:srgbClr val="404040"/>
              </a:solidFill>
              <a:latin typeface="微软雅黑" panose="020B0503020204020204" charset="-122"/>
              <a:ea typeface="微软雅黑" panose="020B0503020204020204" charset="-122"/>
              <a:sym typeface="微软雅黑" panose="020B0503020204020204" charset="-122"/>
            </a:endParaRPr>
          </a:p>
        </p:txBody>
      </p:sp>
      <p:sp>
        <p:nvSpPr>
          <p:cNvPr id="8499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碳青霉烯类抗生素对革兰阴性菌具有广谱活性，是耐药肠杆菌科细菌感染的一线抗菌药物。但是由于抗菌药物的不合理使用等原因，细菌对碳青霉烯类药物产生了多种耐药性。越来越多的耐碳青霉烯类肠杆菌科细菌（</a:t>
            </a:r>
            <a:r>
              <a:rPr lang="en-US" altLang="zh-CN"/>
              <a:t>CRE</a:t>
            </a:r>
            <a:r>
              <a:rPr lang="zh-CN" altLang="en-US"/>
              <a:t>）被发现。</a:t>
            </a:r>
            <a:endParaRPr lang="en-US" altLang="zh-CN"/>
          </a:p>
          <a:p>
            <a:r>
              <a:rPr lang="zh-CN" altLang="en-US"/>
              <a:t>这个时间轴总结了抗生素疗法的引入和全球抗菌药耐药性的出现。</a:t>
            </a:r>
            <a:endParaRPr lang="en-US" altLang="zh-CN"/>
          </a:p>
          <a:p>
            <a:r>
              <a:rPr lang="en-US" altLang="zh-CN"/>
              <a:t>1980 </a:t>
            </a:r>
            <a:r>
              <a:rPr lang="zh-CN" altLang="en-US"/>
              <a:t>年代广谱头孢菌素获批并普及，紧接着</a:t>
            </a:r>
            <a:r>
              <a:rPr lang="en-US" altLang="zh-CN"/>
              <a:t>1983</a:t>
            </a:r>
            <a:r>
              <a:rPr lang="zh-CN" altLang="en-US"/>
              <a:t>年产广谱</a:t>
            </a:r>
            <a:r>
              <a:rPr lang="en-US" altLang="zh-CN"/>
              <a:t>β-</a:t>
            </a:r>
            <a:r>
              <a:rPr lang="zh-CN" altLang="en-US"/>
              <a:t>内酰胺酶大肠杆菌被发现；</a:t>
            </a:r>
            <a:endParaRPr lang="en-US" altLang="zh-CN"/>
          </a:p>
          <a:p>
            <a:r>
              <a:rPr lang="en-US" altLang="zh-CN"/>
              <a:t>1985</a:t>
            </a:r>
            <a:r>
              <a:rPr lang="zh-CN" altLang="en-US"/>
              <a:t>年第一个碳青霉烯类药物亚胺培南投入临床使用，后续</a:t>
            </a:r>
            <a:r>
              <a:rPr lang="en-US" altLang="zh-CN"/>
              <a:t>1996 </a:t>
            </a:r>
            <a:r>
              <a:rPr lang="zh-CN" altLang="en-US"/>
              <a:t>年美国发现首例 </a:t>
            </a:r>
            <a:r>
              <a:rPr lang="en-US" altLang="zh-CN"/>
              <a:t>CRE</a:t>
            </a:r>
            <a:r>
              <a:rPr lang="zh-CN" altLang="en-US"/>
              <a:t>，标志着碳青霉烯耐药时代的来临，随后产维罗纳整合素编码的金属</a:t>
            </a:r>
            <a:r>
              <a:rPr lang="en-US" altLang="zh-CN"/>
              <a:t>-β-</a:t>
            </a:r>
            <a:r>
              <a:rPr lang="zh-CN" altLang="en-US"/>
              <a:t>内酰胺酶（</a:t>
            </a:r>
            <a:r>
              <a:rPr lang="en-US" altLang="zh-CN"/>
              <a:t>VIM-1</a:t>
            </a:r>
            <a:r>
              <a:rPr lang="zh-CN" altLang="en-US"/>
              <a:t>）、苯唑西林酶（</a:t>
            </a:r>
            <a:r>
              <a:rPr lang="en-US" altLang="zh-CN"/>
              <a:t>OXA-48</a:t>
            </a:r>
            <a:r>
              <a:rPr lang="zh-CN" altLang="en-US"/>
              <a:t>）、新德里金属</a:t>
            </a:r>
            <a:r>
              <a:rPr lang="en-US" altLang="zh-CN"/>
              <a:t>-β-</a:t>
            </a:r>
            <a:r>
              <a:rPr lang="zh-CN" altLang="en-US"/>
              <a:t>内酰胺酶（</a:t>
            </a:r>
            <a:r>
              <a:rPr lang="en-US" altLang="zh-CN"/>
              <a:t>NDM-1</a:t>
            </a:r>
            <a:r>
              <a:rPr lang="zh-CN" altLang="en-US"/>
              <a:t>）等耐药菌相继被发现，耐碳青霉烯类菌株成为世界公共卫生面临的重要威胁</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肠杆菌科细菌对碳青霉烯类抗生素耐药机制多样，其中产碳青霉烯酶是关键因素，碳青霉烯酶能使碳青霉烯类和其他 </a:t>
            </a:r>
            <a:r>
              <a:rPr lang="en-US" altLang="zh-CN"/>
              <a:t>β-</a:t>
            </a:r>
            <a:r>
              <a:rPr lang="zh-CN" altLang="en-US"/>
              <a:t>内酰胺类抗生素失活，从而对这类药物耐药。</a:t>
            </a:r>
            <a:endParaRPr lang="en-US" altLang="zh-CN"/>
          </a:p>
          <a:p>
            <a:pPr marL="171450" indent="-171450">
              <a:buFont typeface="Arial" panose="020B0604020202090204" pitchFamily="34" charset="0"/>
              <a:buChar char="•"/>
            </a:pPr>
            <a:r>
              <a:rPr lang="zh-CN" altLang="en-US"/>
              <a:t>碳青霉烯酶是 </a:t>
            </a:r>
            <a:r>
              <a:rPr lang="en-US" altLang="zh-CN"/>
              <a:t>β-</a:t>
            </a:r>
            <a:r>
              <a:rPr lang="zh-CN" altLang="en-US"/>
              <a:t>内酰胺酶的一个亚群，包括丝氨酸类 </a:t>
            </a:r>
            <a:r>
              <a:rPr lang="en-US" altLang="zh-CN"/>
              <a:t>A </a:t>
            </a:r>
            <a:r>
              <a:rPr lang="zh-CN" altLang="en-US"/>
              <a:t>（</a:t>
            </a:r>
            <a:r>
              <a:rPr lang="en-US" altLang="zh-CN"/>
              <a:t>KPC</a:t>
            </a:r>
            <a:r>
              <a:rPr lang="zh-CN" altLang="en-US"/>
              <a:t>） 和 </a:t>
            </a:r>
            <a:r>
              <a:rPr lang="en-US" altLang="zh-CN"/>
              <a:t>D </a:t>
            </a:r>
            <a:r>
              <a:rPr lang="zh-CN" altLang="en-US"/>
              <a:t>（</a:t>
            </a:r>
            <a:r>
              <a:rPr lang="en-US" altLang="zh-CN"/>
              <a:t>OXA</a:t>
            </a:r>
            <a:r>
              <a:rPr lang="zh-CN" altLang="en-US"/>
              <a:t>） 、以及以 </a:t>
            </a:r>
            <a:r>
              <a:rPr lang="en-US" altLang="zh-CN"/>
              <a:t>B </a:t>
            </a:r>
            <a:r>
              <a:rPr lang="zh-CN" altLang="en-US"/>
              <a:t>类为代表的金属</a:t>
            </a:r>
            <a:r>
              <a:rPr lang="en-US" altLang="zh-CN"/>
              <a:t>-β-</a:t>
            </a:r>
            <a:r>
              <a:rPr lang="zh-CN" altLang="en-US"/>
              <a:t>内酰胺酶 </a:t>
            </a:r>
            <a:r>
              <a:rPr lang="en-US" altLang="zh-CN"/>
              <a:t>(MBLs)</a:t>
            </a:r>
            <a:r>
              <a:rPr lang="zh-CN" altLang="en-US"/>
              <a:t> </a:t>
            </a:r>
            <a:endParaRPr lang="en-US" altLang="zh-CN"/>
          </a:p>
          <a:p>
            <a:pPr marL="171450" indent="-171450">
              <a:buFont typeface="Arial" panose="020B0604020202090204" pitchFamily="34" charset="0"/>
              <a:buChar char="•"/>
            </a:pPr>
            <a:r>
              <a:rPr lang="zh-CN" altLang="en-US"/>
              <a:t>其中，金属</a:t>
            </a:r>
            <a:r>
              <a:rPr lang="en-US" altLang="zh-CN"/>
              <a:t>-β-</a:t>
            </a:r>
            <a:r>
              <a:rPr lang="zh-CN" altLang="en-US"/>
              <a:t>内酰胺酶 </a:t>
            </a:r>
            <a:r>
              <a:rPr lang="en-US" altLang="zh-CN"/>
              <a:t>(MBLs)</a:t>
            </a:r>
            <a:r>
              <a:rPr lang="zh-CN" altLang="en-US"/>
              <a:t>可水解几乎所有的 </a:t>
            </a:r>
            <a:r>
              <a:rPr lang="en-US" altLang="zh-CN"/>
              <a:t>β-</a:t>
            </a:r>
            <a:r>
              <a:rPr lang="zh-CN" altLang="en-US"/>
              <a:t>内酰胺类抗生素，难以治疗，是当前治疗面临的主要障碍</a:t>
            </a:r>
            <a:endParaRPr lang="en-US" altLang="zh-CN"/>
          </a:p>
          <a:p>
            <a:pPr marL="171450" indent="-171450">
              <a:buFont typeface="Arial" panose="020B0604020202090204" pitchFamily="34" charset="0"/>
              <a:buChar char="•"/>
            </a:pPr>
            <a:r>
              <a:rPr lang="zh-CN" altLang="en-US"/>
              <a:t>表达</a:t>
            </a:r>
            <a:r>
              <a:rPr lang="en-US" altLang="zh-CN"/>
              <a:t>MBLs </a:t>
            </a:r>
            <a:r>
              <a:rPr lang="zh-CN" altLang="en-US"/>
              <a:t>的常见病原体有耐碳青霉烯类肠杆菌和嗜麦芽窄食单胞菌，临床亟待开发针对性抗菌药物</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肠杆菌科细菌对碳青霉烯类抗生素耐药机制多样，其中产碳青霉烯酶是关键因素，碳青霉烯酶能使碳青霉烯类和其他 </a:t>
            </a:r>
            <a:r>
              <a:rPr lang="en-US" altLang="zh-CN"/>
              <a:t>β-</a:t>
            </a:r>
            <a:r>
              <a:rPr lang="zh-CN" altLang="en-US"/>
              <a:t>内酰胺类抗生素失活，从而对这类药物耐药。</a:t>
            </a:r>
            <a:endParaRPr lang="en-US" altLang="zh-CN"/>
          </a:p>
          <a:p>
            <a:pPr marL="171450" indent="-171450">
              <a:buFont typeface="Arial" panose="020B0604020202090204" pitchFamily="34" charset="0"/>
              <a:buChar char="•"/>
            </a:pPr>
            <a:r>
              <a:rPr lang="zh-CN" altLang="en-US"/>
              <a:t>碳青霉烯酶是 </a:t>
            </a:r>
            <a:r>
              <a:rPr lang="en-US" altLang="zh-CN"/>
              <a:t>β-</a:t>
            </a:r>
            <a:r>
              <a:rPr lang="zh-CN" altLang="en-US"/>
              <a:t>内酰胺酶的一个亚群，包括丝氨酸类 </a:t>
            </a:r>
            <a:r>
              <a:rPr lang="en-US" altLang="zh-CN"/>
              <a:t>A </a:t>
            </a:r>
            <a:r>
              <a:rPr lang="zh-CN" altLang="en-US"/>
              <a:t>（</a:t>
            </a:r>
            <a:r>
              <a:rPr lang="en-US" altLang="zh-CN"/>
              <a:t>KPC</a:t>
            </a:r>
            <a:r>
              <a:rPr lang="zh-CN" altLang="en-US"/>
              <a:t>） 和 </a:t>
            </a:r>
            <a:r>
              <a:rPr lang="en-US" altLang="zh-CN"/>
              <a:t>D </a:t>
            </a:r>
            <a:r>
              <a:rPr lang="zh-CN" altLang="en-US"/>
              <a:t>（</a:t>
            </a:r>
            <a:r>
              <a:rPr lang="en-US" altLang="zh-CN"/>
              <a:t>OXA</a:t>
            </a:r>
            <a:r>
              <a:rPr lang="zh-CN" altLang="en-US"/>
              <a:t>） 、以及以 </a:t>
            </a:r>
            <a:r>
              <a:rPr lang="en-US" altLang="zh-CN"/>
              <a:t>B </a:t>
            </a:r>
            <a:r>
              <a:rPr lang="zh-CN" altLang="en-US"/>
              <a:t>类为代表的金属</a:t>
            </a:r>
            <a:r>
              <a:rPr lang="en-US" altLang="zh-CN"/>
              <a:t>-β-</a:t>
            </a:r>
            <a:r>
              <a:rPr lang="zh-CN" altLang="en-US"/>
              <a:t>内酰胺酶 </a:t>
            </a:r>
            <a:r>
              <a:rPr lang="en-US" altLang="zh-CN"/>
              <a:t>(MBLs)</a:t>
            </a:r>
            <a:r>
              <a:rPr lang="zh-CN" altLang="en-US"/>
              <a:t> </a:t>
            </a:r>
            <a:endParaRPr lang="en-US" altLang="zh-CN"/>
          </a:p>
          <a:p>
            <a:pPr marL="171450" indent="-171450">
              <a:buFont typeface="Arial" panose="020B0604020202090204" pitchFamily="34" charset="0"/>
              <a:buChar char="•"/>
            </a:pPr>
            <a:r>
              <a:rPr lang="zh-CN" altLang="en-US"/>
              <a:t>其中，金属</a:t>
            </a:r>
            <a:r>
              <a:rPr lang="en-US" altLang="zh-CN"/>
              <a:t>-β-</a:t>
            </a:r>
            <a:r>
              <a:rPr lang="zh-CN" altLang="en-US"/>
              <a:t>内酰胺酶 </a:t>
            </a:r>
            <a:r>
              <a:rPr lang="en-US" altLang="zh-CN"/>
              <a:t>(MBLs)</a:t>
            </a:r>
            <a:r>
              <a:rPr lang="zh-CN" altLang="en-US"/>
              <a:t>可水解几乎所有的 </a:t>
            </a:r>
            <a:r>
              <a:rPr lang="en-US" altLang="zh-CN"/>
              <a:t>β-</a:t>
            </a:r>
            <a:r>
              <a:rPr lang="zh-CN" altLang="en-US"/>
              <a:t>内酰胺类抗生素，难以治疗，是当前治疗面临的主要障碍</a:t>
            </a:r>
            <a:endParaRPr lang="en-US" altLang="zh-CN"/>
          </a:p>
          <a:p>
            <a:pPr marL="171450" indent="-171450">
              <a:buFont typeface="Arial" panose="020B0604020202090204" pitchFamily="34" charset="0"/>
              <a:buChar char="•"/>
            </a:pPr>
            <a:r>
              <a:rPr lang="zh-CN" altLang="en-US"/>
              <a:t>表达</a:t>
            </a:r>
            <a:r>
              <a:rPr lang="en-US" altLang="zh-CN"/>
              <a:t>MBLs </a:t>
            </a:r>
            <a:r>
              <a:rPr lang="zh-CN" altLang="en-US"/>
              <a:t>的常见病原体有耐碳青霉烯类肠杆菌和嗜麦芽窄食单胞菌，临床亟待开发针对性抗菌药物</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8673"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trike="noStrike" noProof="1" dirty="0"/>
              <a:t>另外一项</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收集了</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016</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年</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月</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日至</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017</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年</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月</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3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日期间重庆市</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5</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个地理区域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家医院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及其临床信息的</a:t>
            </a:r>
            <a:r>
              <a:rPr lang="zh-CN" altLang="en-US" strike="noStrike" noProof="1" dirty="0"/>
              <a:t>多中心研究，</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根据实验室标准化研究所</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LSI)</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推荐的药敏试验操作方法和判断标准，确定收集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的抗菌敏感性，旨在了解碳青霉烯酶基因的分布特征。研究共收集了</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31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株不同基因型</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结果显示</a:t>
            </a:r>
            <a:r>
              <a:rPr lang="zh-CN" altLang="en-US" strike="noStrike" noProof="1" dirty="0">
                <a:latin typeface="Pfizer Tomorrow" charset="0"/>
                <a:sym typeface="Pfizer Tomorrow" charset="0"/>
              </a:rPr>
              <a:t>产</a:t>
            </a:r>
            <a:r>
              <a:rPr lang="en-US" altLang="zh-CN" strike="noStrike" noProof="1" dirty="0">
                <a:latin typeface="Pfizer Tomorrow" charset="0"/>
                <a:sym typeface="Pfizer Tomorrow" charset="0"/>
              </a:rPr>
              <a:t>KPC</a:t>
            </a:r>
            <a:r>
              <a:rPr lang="zh-CN" altLang="en-US" strike="noStrike" noProof="1" dirty="0">
                <a:latin typeface="Pfizer Tomorrow" charset="0"/>
                <a:sym typeface="Pfizer Tomorrow" charset="0"/>
              </a:rPr>
              <a:t>占比为</a:t>
            </a:r>
            <a:r>
              <a:rPr lang="en-US" altLang="zh-CN" strike="noStrike" noProof="1" dirty="0">
                <a:latin typeface="Pfizer Tomorrow" charset="0"/>
                <a:sym typeface="Pfizer Tomorrow" charset="0"/>
              </a:rPr>
              <a:t>47.1%</a:t>
            </a:r>
            <a:r>
              <a:rPr lang="zh-CN" altLang="en-US" strike="noStrike" noProof="1" dirty="0">
                <a:latin typeface="Pfizer Tomorrow" charset="0"/>
                <a:sym typeface="Pfizer Tomorrow" charset="0"/>
              </a:rPr>
              <a:t>，产</a:t>
            </a:r>
            <a:r>
              <a:rPr lang="en-US" altLang="zh-CN" strike="noStrike" noProof="1" dirty="0">
                <a:latin typeface="Pfizer Tomorrow" charset="0"/>
                <a:sym typeface="Pfizer Tomorrow" charset="0"/>
              </a:rPr>
              <a:t>MBL</a:t>
            </a:r>
            <a:r>
              <a:rPr lang="zh-CN" altLang="en-US" strike="noStrike" noProof="1" dirty="0">
                <a:latin typeface="Pfizer Tomorrow" charset="0"/>
                <a:sym typeface="Pfizer Tomorrow" charset="0"/>
              </a:rPr>
              <a:t>占比为</a:t>
            </a:r>
            <a:r>
              <a:rPr lang="en-US" altLang="zh-CN" strike="noStrike" noProof="1" dirty="0">
                <a:latin typeface="Pfizer Tomorrow" charset="0"/>
                <a:sym typeface="Pfizer Tomorrow" charset="0"/>
              </a:rPr>
              <a:t>45.2%</a:t>
            </a:r>
            <a:r>
              <a:rPr lang="zh-CN" altLang="en-US" strike="noStrike" noProof="1" dirty="0">
                <a:latin typeface="Pfizer Tomorrow" charset="0"/>
                <a:sym typeface="Pfizer Tomorrow" charset="0"/>
              </a:rPr>
              <a:t>，其中</a:t>
            </a:r>
            <a:r>
              <a:rPr lang="en-US" altLang="zh-CN" strike="noStrike" noProof="1" dirty="0">
                <a:latin typeface="Pfizer Tomorrow" charset="0"/>
                <a:sym typeface="Pfizer Tomorrow" charset="0"/>
              </a:rPr>
              <a:t>7.4%</a:t>
            </a:r>
            <a:r>
              <a:rPr lang="zh-CN" altLang="en-US" strike="noStrike" noProof="1" dirty="0">
                <a:latin typeface="Pfizer Tomorrow" charset="0"/>
                <a:sym typeface="Pfizer Tomorrow" charset="0"/>
              </a:rPr>
              <a:t>共产</a:t>
            </a:r>
            <a:r>
              <a:rPr lang="en-US" altLang="zh-CN" strike="noStrike" noProof="1" dirty="0">
                <a:latin typeface="Pfizer Tomorrow" charset="0"/>
                <a:sym typeface="Pfizer Tomorrow" charset="0"/>
              </a:rPr>
              <a:t>KPC</a:t>
            </a:r>
            <a:r>
              <a:rPr lang="zh-CN" altLang="en-US" strike="noStrike" noProof="1" dirty="0">
                <a:latin typeface="Pfizer Tomorrow" charset="0"/>
                <a:sym typeface="Pfizer Tomorrow" charset="0"/>
              </a:rPr>
              <a:t>、</a:t>
            </a:r>
            <a:r>
              <a:rPr lang="en-US" altLang="zh-CN" strike="noStrike" noProof="1" dirty="0">
                <a:latin typeface="Pfizer Tomorrow" charset="0"/>
                <a:sym typeface="Pfizer Tomorrow" charset="0"/>
              </a:rPr>
              <a:t>MBL</a:t>
            </a:r>
            <a:r>
              <a:rPr lang="zh-CN" altLang="en-US" strike="noStrike" noProof="1" dirty="0">
                <a:latin typeface="Pfizer Tomorrow" charset="0"/>
                <a:sym typeface="Pfizer Tomorrow" charset="0"/>
              </a:rPr>
              <a:t>。</a:t>
            </a:r>
            <a:endParaRPr lang="en-US" altLang="zh-CN" strike="noStrike" noProof="1" dirty="0">
              <a:latin typeface="Pfizer Tomorrow" charset="0"/>
              <a:sym typeface="Pfizer Tomorrow"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strike="noStrike" noProof="1" dirty="0">
                <a:latin typeface="Pfizer Tomorrow" charset="0"/>
                <a:sym typeface="Pfizer Tomorrow" charset="0"/>
              </a:rPr>
              <a:t>而研究显示，</a:t>
            </a:r>
            <a:r>
              <a:rPr lang="en-US" altLang="zh-CN" sz="1200" strike="noStrike" noProof="1" dirty="0">
                <a:latin typeface="Pfizer Tomorrow" charset="0"/>
                <a:sym typeface="Pfizer Tomorrow" charset="0"/>
              </a:rPr>
              <a:t>CRE</a:t>
            </a:r>
            <a:r>
              <a:rPr lang="zh-CN" altLang="en-US" sz="1200" strike="noStrike" noProof="1" dirty="0">
                <a:latin typeface="Pfizer Tomorrow" charset="0"/>
                <a:sym typeface="Pfizer Tomorrow" charset="0"/>
              </a:rPr>
              <a:t>共产</a:t>
            </a:r>
            <a:r>
              <a:rPr lang="en-US" altLang="zh-CN" sz="1200" strike="noStrike" noProof="1" dirty="0">
                <a:latin typeface="Pfizer Tomorrow" charset="0"/>
                <a:sym typeface="Pfizer Tomorrow" charset="0"/>
              </a:rPr>
              <a:t>KPC</a:t>
            </a:r>
            <a:r>
              <a:rPr lang="zh-CN" altLang="en-US" sz="1200" strike="noStrike" noProof="1" dirty="0">
                <a:latin typeface="Pfizer Tomorrow" charset="0"/>
                <a:sym typeface="Pfizer Tomorrow" charset="0"/>
              </a:rPr>
              <a:t>、</a:t>
            </a:r>
            <a:r>
              <a:rPr lang="en-US" altLang="zh-CN" sz="1200" strike="noStrike" noProof="1" dirty="0">
                <a:latin typeface="Pfizer Tomorrow" charset="0"/>
                <a:sym typeface="Pfizer Tomorrow" charset="0"/>
              </a:rPr>
              <a:t>MBL</a:t>
            </a:r>
            <a:r>
              <a:rPr lang="zh-CN" altLang="en-US" sz="1200" strike="noStrike" noProof="1" dirty="0">
                <a:latin typeface="Pfizer Tomorrow" charset="0"/>
                <a:sym typeface="Pfizer Tomorrow" charset="0"/>
              </a:rPr>
              <a:t>可对临床产生不利，包括</a:t>
            </a:r>
            <a:r>
              <a:rPr lang="zh-CN" altLang="en-US" sz="1200" strike="noStrike" noProof="1" dirty="0"/>
              <a:t>耐药性的增加、治疗选择极其有限，进一步加大了临床应对难度</a:t>
            </a:r>
            <a:endParaRPr lang="zh-CN" altLang="en-US" strike="noStrike" noProof="1" dirty="0"/>
          </a:p>
        </p:txBody>
      </p:sp>
      <p:sp>
        <p:nvSpPr>
          <p:cNvPr id="2867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0721" name="幻灯片图像占位符 1"/>
          <p:cNvSpPr>
            <a:spLocks noGrp="1" noRot="1" noChangeAspect="1"/>
          </p:cNvSpPr>
          <p:nvPr>
            <p:ph type="sldImg"/>
          </p:nvPr>
        </p:nvSpPr>
        <p:spPr/>
      </p:sp>
      <p:sp>
        <p:nvSpPr>
          <p:cNvPr id="3072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此外，根据抗菌测试领导和监测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的数据，评估了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2016 </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年至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2020 </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年间氨曲南</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阿维巴坦和对照抗菌药物对</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计划收集的肠杆菌属（包含非洲中东部、亚太地区、欧洲、拉丁美洲和北美的呼吸道感染、尿路感染、血流感染和腹腔感染患者）分离株和关键耐药表型的活性，并按照</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和非</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感染源和地理区域分层。根据</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指南确定最低抑菌浓度，使用</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和</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折点确定抗菌药物的敏感性。结果显示，在亚太地区，</a:t>
            </a:r>
            <a:r>
              <a:rPr lang="en-US" altLang="zh-CN" dirty="0">
                <a:latin typeface="Pfizer Tomorrow" charset="0"/>
                <a:sym typeface="Pfizer Tomorrow" charset="0"/>
              </a:rPr>
              <a:t>MBL-CRE</a:t>
            </a:r>
            <a:r>
              <a:rPr lang="zh-CN" altLang="en-US" dirty="0">
                <a:latin typeface="Pfizer Tomorrow" charset="0"/>
                <a:sym typeface="Pfizer Tomorrow" charset="0"/>
              </a:rPr>
              <a:t>在</a:t>
            </a:r>
            <a:r>
              <a:rPr lang="en-US" altLang="zh-CN" dirty="0">
                <a:latin typeface="Pfizer Tomorrow" charset="0"/>
                <a:sym typeface="Pfizer Tomorrow" charset="0"/>
              </a:rPr>
              <a:t>ICU</a:t>
            </a:r>
            <a:r>
              <a:rPr lang="zh-CN" altLang="en-US" dirty="0">
                <a:latin typeface="Pfizer Tomorrow" charset="0"/>
                <a:sym typeface="Pfizer Tomorrow" charset="0"/>
              </a:rPr>
              <a:t>中检出率高，感染部位主要为血液、呼吸道及腹腔等，提示感染病情严重</a:t>
            </a:r>
            <a:endParaRPr lang="zh-CN" altLang="en-US" dirty="0"/>
          </a:p>
          <a:p>
            <a:pPr lvl="0" indent="0" defTabSz="914400"/>
            <a:endParaRPr lang="zh-CN" altLang="en-US" dirty="0"/>
          </a:p>
        </p:txBody>
      </p:sp>
      <p:sp>
        <p:nvSpPr>
          <p:cNvPr id="3072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入住 </a:t>
            </a:r>
            <a:r>
              <a:rPr lang="en-US" altLang="zh-CN"/>
              <a:t>ICU </a:t>
            </a:r>
            <a:r>
              <a:rPr lang="zh-CN" altLang="en-US"/>
              <a:t>是 </a:t>
            </a:r>
            <a:r>
              <a:rPr lang="en-US" altLang="zh-CN"/>
              <a:t>CRE </a:t>
            </a:r>
            <a:r>
              <a:rPr lang="zh-CN" altLang="en-US"/>
              <a:t>及嗜麦芽窄食单胞菌（</a:t>
            </a:r>
            <a:r>
              <a:rPr lang="en-US" altLang="zh-CN"/>
              <a:t>SMA</a:t>
            </a:r>
            <a:r>
              <a:rPr lang="zh-CN" altLang="en-US"/>
              <a:t>）感染的重要危险因素之一。像既往使用抗菌药物、入住 </a:t>
            </a:r>
            <a:r>
              <a:rPr lang="en-US" altLang="zh-CN"/>
              <a:t>ICU</a:t>
            </a:r>
            <a:r>
              <a:rPr lang="zh-CN" altLang="en-US"/>
              <a:t>、机械通气、留置导管等都可能增加感染风险，这些风险因素相互交织，使得 </a:t>
            </a:r>
            <a:r>
              <a:rPr lang="en-US" altLang="zh-CN"/>
              <a:t>ICU </a:t>
            </a:r>
            <a:r>
              <a:rPr lang="zh-CN" altLang="en-US"/>
              <a:t>患者处于产</a:t>
            </a:r>
            <a:r>
              <a:rPr lang="en-US" altLang="zh-CN"/>
              <a:t>MBL</a:t>
            </a:r>
            <a:r>
              <a:rPr lang="zh-CN" altLang="en-US"/>
              <a:t>耐药菌感染的高危境地</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5.svg"/><Relationship Id="rId3" Type="http://schemas.openxmlformats.org/officeDocument/2006/relationships/image" Target="../media/image4.png"/><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4" Type="http://schemas.openxmlformats.org/officeDocument/2006/relationships/image" Target="../media/image7.svg"/><Relationship Id="rId3" Type="http://schemas.openxmlformats.org/officeDocument/2006/relationships/image" Target="../media/image6.png"/><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tags" Target="../tags/tag5.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tags" Target="../tags/tag6.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tags" Target="../tags/tag9.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microsoft.com/office/2007/relationships/hdphoto" Target="../media/image12.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4" Type="http://schemas.openxmlformats.org/officeDocument/2006/relationships/image" Target="../media/image5.svg"/><Relationship Id="rId3" Type="http://schemas.openxmlformats.org/officeDocument/2006/relationships/image" Target="../media/image4.png"/><Relationship Id="rId2" Type="http://schemas.openxmlformats.org/officeDocument/2006/relationships/tags" Target="../tags/tag11.xm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4" Type="http://schemas.openxmlformats.org/officeDocument/2006/relationships/image" Target="../media/image7.svg"/><Relationship Id="rId3" Type="http://schemas.openxmlformats.org/officeDocument/2006/relationships/image" Target="../media/image6.png"/><Relationship Id="rId2" Type="http://schemas.openxmlformats.org/officeDocument/2006/relationships/tags" Target="../tags/tag12.xm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tags" Target="../tags/tag13.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tags" Target="../tags/tag14.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8" name="标题 7"/>
          <p:cNvSpPr>
            <a:spLocks noGrp="1"/>
          </p:cNvSpPr>
          <p:nvPr>
            <p:ph type="title"/>
          </p:nvPr>
        </p:nvSpPr>
        <p:spPr>
          <a:xfrm>
            <a:off x="479425" y="152405"/>
            <a:ext cx="10340975" cy="755646"/>
          </a:xfrm>
          <a:prstGeom prst="rect">
            <a:avLst/>
          </a:prstGeom>
        </p:spPr>
        <p:txBody>
          <a:bodyPr lIns="0" tIns="0" rIns="0" bIns="0" anchor="ctr"/>
          <a:lstStyle>
            <a:lvl1pPr>
              <a:lnSpc>
                <a:spcPct val="100000"/>
              </a:lnSpc>
              <a:defRPr sz="2400" b="1">
                <a:solidFill>
                  <a:schemeClr val="accent2"/>
                </a:solidFill>
                <a:latin typeface="AR Fruda Sans Flat" panose="020B0600000000000000" charset="0"/>
                <a:ea typeface="AR Fruda Sans Flat" panose="020B0600000000000000" charset="0"/>
                <a:cs typeface="AR Fruda Sans Flat" panose="020B0600000000000000" charset="0"/>
              </a:defRPr>
            </a:lvl1pPr>
          </a:lstStyle>
          <a:p>
            <a:r>
              <a:rPr lang="zh-CN" altLang="en-US"/>
              <a:t>单击此处编辑母版标题样式</a:t>
            </a:r>
            <a:endParaRPr lang="zh-CN" altLang="en-US"/>
          </a:p>
        </p:txBody>
      </p:sp>
      <p:sp>
        <p:nvSpPr>
          <p:cNvPr id="10" name="文本占位符 9"/>
          <p:cNvSpPr>
            <a:spLocks noGrp="1"/>
          </p:cNvSpPr>
          <p:nvPr>
            <p:ph type="body" sz="quarter" idx="10" hasCustomPrompt="1"/>
          </p:nvPr>
        </p:nvSpPr>
        <p:spPr>
          <a:xfrm>
            <a:off x="1262063" y="6382941"/>
            <a:ext cx="9164085" cy="432000"/>
          </a:xfrm>
          <a:prstGeom prst="rect">
            <a:avLst/>
          </a:prstGeom>
        </p:spPr>
        <p:txBody>
          <a:bodyPr lIns="0" tIns="0" rIns="0" bIns="0"/>
          <a:lstStyle>
            <a:lvl1pPr marL="172720" indent="-172720">
              <a:lnSpc>
                <a:spcPct val="100000"/>
              </a:lnSpc>
              <a:spcBef>
                <a:spcPts val="0"/>
              </a:spcBef>
              <a:buFont typeface="+mj-lt"/>
              <a:buAutoNum type="arabicPeriod"/>
              <a:defRPr sz="800">
                <a:solidFill>
                  <a:schemeClr val="tx1"/>
                </a:solidFill>
                <a:latin typeface="AR Fruda Sans Flat" panose="020B0600000000000000" charset="0"/>
                <a:ea typeface="AR Fruda Sans Flat" panose="020B0600000000000000" charset="0"/>
                <a:cs typeface="AR Fruda Sans Flat" panose="020B0600000000000000" charset="0"/>
              </a:defRPr>
            </a:lvl1pPr>
          </a:lstStyle>
          <a:p>
            <a:pPr lvl="0"/>
            <a:r>
              <a:rPr lang="zh-CN" altLang="en-US"/>
              <a:t>文献</a:t>
            </a:r>
            <a:endParaRPr lang="zh-CN" altLang="en-US"/>
          </a:p>
        </p:txBody>
      </p:sp>
      <p:pic>
        <p:nvPicPr>
          <p:cNvPr id="13" name="Imagen 9"/>
          <p:cNvPicPr>
            <a:picLocks noChangeAspect="1"/>
          </p:cNvPicPr>
          <p:nvPr userDrawn="1"/>
        </p:nvPicPr>
        <p:blipFill>
          <a:blip r:embed="rId2"/>
          <a:stretch>
            <a:fillRect/>
          </a:stretch>
        </p:blipFill>
        <p:spPr>
          <a:xfrm>
            <a:off x="341450" y="6416379"/>
            <a:ext cx="885472" cy="365125"/>
          </a:xfrm>
          <a:prstGeom prst="rect">
            <a:avLst/>
          </a:prstGeom>
        </p:spPr>
      </p:pic>
      <p:pic>
        <p:nvPicPr>
          <p:cNvPr id="14" name="图片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5644" y="359642"/>
            <a:ext cx="976312" cy="341172"/>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9818" y="2993544"/>
            <a:ext cx="5741932" cy="1218795"/>
          </a:xfrm>
          <a:prstGeom prst="rect">
            <a:avLst/>
          </a:prstGeom>
        </p:spPr>
        <p:txBody>
          <a:bodyPr anchor="t" anchorCtr="0"/>
          <a:lstStyle>
            <a:lvl1pPr algn="l">
              <a:defRPr sz="4400" spc="100" baseline="0"/>
            </a:lvl1pPr>
          </a:lstStyle>
          <a:p>
            <a:r>
              <a:rPr lang="en-US"/>
              <a:t>Aenean Comodo </a:t>
            </a:r>
            <a:br>
              <a:rPr lang="en-US"/>
            </a:br>
            <a:r>
              <a:rPr lang="en-US" err="1"/>
              <a:t>Maecena</a:t>
            </a:r>
            <a:r>
              <a:rPr lang="en-US"/>
              <a:t> Tempus</a:t>
            </a:r>
            <a:endParaRPr lang="en-US"/>
          </a:p>
        </p:txBody>
      </p:sp>
      <p:sp>
        <p:nvSpPr>
          <p:cNvPr id="31" name="TextBox 30"/>
          <p:cNvSpPr txBox="1"/>
          <p:nvPr userDrawn="1"/>
        </p:nvSpPr>
        <p:spPr>
          <a:xfrm>
            <a:off x="643793" y="2204092"/>
            <a:ext cx="3840125" cy="430887"/>
          </a:xfrm>
          <a:prstGeom prst="rect">
            <a:avLst/>
          </a:prstGeom>
          <a:solidFill>
            <a:schemeClr val="bg2"/>
          </a:solidFill>
        </p:spPr>
        <p:txBody>
          <a:bodyPr wrap="square" lIns="91440" tIns="91440" rIns="91440" bIns="91440" anchor="ctr" anchorCtr="0">
            <a:spAutoFit/>
          </a:bodyPr>
          <a:lstStyle/>
          <a:p>
            <a:pPr algn="ctr"/>
            <a:r>
              <a:rPr lang="en-US" sz="1600" b="1" spc="100">
                <a:solidFill>
                  <a:schemeClr val="tx2"/>
                </a:solidFill>
                <a:latin typeface="Arial" panose="020B0604020202090204" pitchFamily="34" charset="0"/>
                <a:cs typeface="Arial" panose="020B0604020202090204" pitchFamily="34" charset="0"/>
              </a:rPr>
              <a:t>Virtual Classroom Training (VCT)</a:t>
            </a:r>
            <a:endParaRPr lang="en-US" sz="1600" b="1" spc="100">
              <a:solidFill>
                <a:schemeClr val="tx2"/>
              </a:solidFill>
              <a:latin typeface="Arial" panose="020B0604020202090204" pitchFamily="34" charset="0"/>
              <a:cs typeface="Arial" panose="020B0604020202090204" pitchFamily="34" charset="0"/>
            </a:endParaRPr>
          </a:p>
        </p:txBody>
      </p:sp>
      <p:sp>
        <p:nvSpPr>
          <p:cNvPr id="32" name="Rectangle 31"/>
          <p:cNvSpPr/>
          <p:nvPr userDrawn="1">
            <p:custDataLst>
              <p:tags r:id="rId2"/>
            </p:custDataLst>
          </p:nvPr>
        </p:nvSpPr>
        <p:spPr>
          <a:xfrm>
            <a:off x="635812" y="6462095"/>
            <a:ext cx="7777402"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sz="900" b="0" i="0" u="none" strike="noStrike" kern="0" cap="none" spc="0" normalizeH="0" baseline="0" noProof="0">
              <a:ln>
                <a:noFill/>
              </a:ln>
              <a:effectLst/>
              <a:uLnTx/>
              <a:uFillTx/>
              <a:latin typeface="Arial" panose="020B0604020202090204" pitchFamily="34" charset="0"/>
              <a:ea typeface="+mn-ea"/>
              <a:cs typeface="+mn-cs"/>
            </a:endParaRPr>
          </a:p>
        </p:txBody>
      </p:sp>
      <p:pic>
        <p:nvPicPr>
          <p:cNvPr id="41" name="Graphic 40"/>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3"/>
          </a:xfrm>
          <a:prstGeom prst="rect">
            <a:avLst/>
          </a:prstGeom>
        </p:spPr>
      </p:pic>
      <p:sp>
        <p:nvSpPr>
          <p:cNvPr id="46" name="Freeform: Shape 45"/>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_AL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6040" y="2449243"/>
            <a:ext cx="5735710" cy="1073113"/>
          </a:xfrm>
          <a:prstGeom prst="rect">
            <a:avLst/>
          </a:prstGeom>
        </p:spPr>
        <p:txBody>
          <a:bodyPr anchor="t" anchorCtr="0"/>
          <a:lstStyle>
            <a:lvl1pPr algn="l">
              <a:defRPr sz="4400" spc="100" baseline="0">
                <a:solidFill>
                  <a:schemeClr val="bg1"/>
                </a:solidFill>
              </a:defRPr>
            </a:lvl1pPr>
          </a:lstStyle>
          <a:p>
            <a:r>
              <a:rPr lang="en-US"/>
              <a:t>Aenean Comodo </a:t>
            </a:r>
            <a:br>
              <a:rPr lang="en-US"/>
            </a:br>
            <a:r>
              <a:rPr lang="en-US" err="1"/>
              <a:t>Maecena</a:t>
            </a:r>
            <a:r>
              <a:rPr lang="en-US"/>
              <a:t> Tempus</a:t>
            </a:r>
            <a:endParaRPr lang="en-US"/>
          </a:p>
        </p:txBody>
      </p:sp>
      <p:sp>
        <p:nvSpPr>
          <p:cNvPr id="32" name="Rectangle 31"/>
          <p:cNvSpPr/>
          <p:nvPr userDrawn="1">
            <p:custDataLst>
              <p:tags r:id="rId2"/>
            </p:custDataLst>
          </p:nvPr>
        </p:nvSpPr>
        <p:spPr>
          <a:xfrm>
            <a:off x="635812" y="6462095"/>
            <a:ext cx="5174438"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endParaRPr>
          </a:p>
        </p:txBody>
      </p:sp>
      <p:sp>
        <p:nvSpPr>
          <p:cNvPr id="3" name="Subtitle 2"/>
          <p:cNvSpPr>
            <a:spLocks noGrp="1"/>
          </p:cNvSpPr>
          <p:nvPr>
            <p:ph type="subTitle" idx="1"/>
          </p:nvPr>
        </p:nvSpPr>
        <p:spPr>
          <a:xfrm>
            <a:off x="646040" y="3887235"/>
            <a:ext cx="5735710" cy="276999"/>
          </a:xfrm>
          <a:prstGeom prst="rect">
            <a:avLst/>
          </a:prstGeom>
        </p:spPr>
        <p:txBody>
          <a:bodyPr/>
          <a:lstStyle>
            <a:lvl1pPr marL="0" indent="0" algn="l">
              <a:buNone/>
              <a:defRPr sz="18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pic>
        <p:nvPicPr>
          <p:cNvPr id="52" name="Graphic 51"/>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2"/>
          </a:xfrm>
          <a:prstGeom prst="rect">
            <a:avLst/>
          </a:prstGeom>
        </p:spPr>
      </p:pic>
      <p:sp>
        <p:nvSpPr>
          <p:cNvPr id="53" name="Freeform: Shape 52"/>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Freeform: Shape 53"/>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Imagen 8"/>
          <p:cNvPicPr>
            <a:picLocks noChangeAspect="1"/>
          </p:cNvPicPr>
          <p:nvPr userDrawn="1"/>
        </p:nvPicPr>
        <p:blipFill>
          <a:blip r:embed="rId5"/>
          <a:stretch>
            <a:fillRect/>
          </a:stretch>
        </p:blipFill>
        <p:spPr>
          <a:xfrm>
            <a:off x="0" y="0"/>
            <a:ext cx="12192000" cy="6858000"/>
          </a:xfrm>
          <a:prstGeom prst="rect">
            <a:avLst/>
          </a:prstGeom>
        </p:spPr>
      </p:pic>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1_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pic>
        <p:nvPicPr>
          <p:cNvPr id="7" name="Imagen 11"/>
          <p:cNvPicPr>
            <a:picLocks noChangeAspect="1"/>
          </p:cNvPicPr>
          <p:nvPr userDrawn="1"/>
        </p:nvPicPr>
        <p:blipFill>
          <a:blip r:embed="rId6"/>
          <a:stretch>
            <a:fillRect/>
          </a:stretch>
        </p:blipFill>
        <p:spPr>
          <a:xfrm>
            <a:off x="0" y="0"/>
            <a:ext cx="12192000" cy="6858000"/>
          </a:xfrm>
          <a:prstGeom prst="rect">
            <a:avLst/>
          </a:prstGeom>
        </p:spPr>
      </p:pic>
      <p:sp>
        <p:nvSpPr>
          <p:cNvPr id="8" name="文本框 7"/>
          <p:cNvSpPr txBox="1"/>
          <p:nvPr userDrawn="1"/>
        </p:nvSpPr>
        <p:spPr>
          <a:xfrm>
            <a:off x="0" y="6609245"/>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3136" y="756259"/>
            <a:ext cx="10916275" cy="332399"/>
          </a:xfrm>
          <a:prstGeom prst="rect">
            <a:avLst/>
          </a:prstGeom>
        </p:spPr>
        <p:txBody>
          <a:bodyPr/>
          <a:lstStyle/>
          <a:p>
            <a:r>
              <a:rPr lang="en-US"/>
              <a:t>Click to edit Master title style</a:t>
            </a:r>
            <a:endParaRPr lang="en-US"/>
          </a:p>
        </p:txBody>
      </p:sp>
      <p:sp>
        <p:nvSpPr>
          <p:cNvPr id="3" name="Content Placeholder 2"/>
          <p:cNvSpPr>
            <a:spLocks noGrp="1"/>
          </p:cNvSpPr>
          <p:nvPr>
            <p:ph idx="1"/>
          </p:nvPr>
        </p:nvSpPr>
        <p:spPr>
          <a:xfrm>
            <a:off x="635812" y="1422380"/>
            <a:ext cx="10916275" cy="1264642"/>
          </a:xfrm>
          <a:prstGeom prst="rect">
            <a:avLst/>
          </a:prstGeo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5"/>
          <p:cNvSpPr>
            <a:spLocks noGrp="1"/>
          </p:cNvSpPr>
          <p:nvPr>
            <p:ph type="sldNum" sz="quarter" idx="12"/>
          </p:nvPr>
        </p:nvSpPr>
        <p:spPr>
          <a:xfrm>
            <a:off x="11674730" y="92842"/>
            <a:ext cx="295613" cy="365125"/>
          </a:xfrm>
          <a:prstGeom prst="rect">
            <a:avLst/>
          </a:prstGeom>
        </p:spPr>
        <p:txBody>
          <a:bodyPr/>
          <a:lstStyle/>
          <a:p>
            <a:fld id="{79CF5E0B-DC24-4598-AD87-85BEEC7BEC71}" type="slidenum">
              <a:rPr lang="en-US" smtClean="0"/>
            </a:fld>
            <a:endParaRPr lang="en-US"/>
          </a:p>
        </p:txBody>
      </p:sp>
      <p:sp>
        <p:nvSpPr>
          <p:cNvPr id="9" name="Text Placeholder 8"/>
          <p:cNvSpPr>
            <a:spLocks noGrp="1"/>
          </p:cNvSpPr>
          <p:nvPr>
            <p:ph type="body" sz="quarter" idx="13" hasCustomPrompt="1"/>
          </p:nvPr>
        </p:nvSpPr>
        <p:spPr>
          <a:xfrm>
            <a:off x="849082" y="353256"/>
            <a:ext cx="256277" cy="184666"/>
          </a:xfrm>
          <a:prstGeom prst="rect">
            <a:avLst/>
          </a:prstGeom>
        </p:spPr>
        <p:txBody>
          <a:bodyPr anchor="ctr">
            <a:noAutofit/>
          </a:bodyPr>
          <a:lstStyle>
            <a:lvl1pPr>
              <a:defRPr sz="1200" spc="100" baseline="0">
                <a:solidFill>
                  <a:schemeClr val="bg2"/>
                </a:solidFill>
                <a:latin typeface="Arial Black" panose="020B0A04020102020204" pitchFamily="34" charset="0"/>
              </a:defRPr>
            </a:lvl1pPr>
          </a:lstStyle>
          <a:p>
            <a:pPr lvl="0"/>
            <a:r>
              <a:rPr lang="en-US"/>
              <a:t>00</a:t>
            </a:r>
            <a:endParaRPr lang="en-US"/>
          </a:p>
        </p:txBody>
      </p:sp>
      <p:sp>
        <p:nvSpPr>
          <p:cNvPr id="11" name="Text Placeholder 8"/>
          <p:cNvSpPr>
            <a:spLocks noGrp="1"/>
          </p:cNvSpPr>
          <p:nvPr>
            <p:ph type="body" sz="quarter" idx="14" hasCustomPrompt="1"/>
          </p:nvPr>
        </p:nvSpPr>
        <p:spPr>
          <a:xfrm>
            <a:off x="1161227" y="353256"/>
            <a:ext cx="10388184" cy="184666"/>
          </a:xfrm>
          <a:prstGeom prst="rect">
            <a:avLst/>
          </a:prstGeom>
        </p:spPr>
        <p:txBody>
          <a:bodyPr anchor="ctr">
            <a:noAutofit/>
          </a:bodyPr>
          <a:lstStyle>
            <a:lvl1pPr>
              <a:defRPr sz="1100" b="0" spc="60" baseline="0">
                <a:solidFill>
                  <a:schemeClr val="tx2"/>
                </a:solidFill>
                <a:latin typeface="Arial" panose="020B0604020202090204" pitchFamily="34" charset="0"/>
                <a:cs typeface="Arial" panose="020B0604020202090204" pitchFamily="34" charset="0"/>
              </a:defRPr>
            </a:lvl1pPr>
          </a:lstStyle>
          <a:p>
            <a:pPr lvl="0"/>
            <a:r>
              <a:rPr lang="en-US"/>
              <a:t>Nella Facilis </a:t>
            </a:r>
            <a:r>
              <a:rPr lang="en-US" err="1"/>
              <a:t>Nulam</a:t>
            </a:r>
            <a:r>
              <a:rPr lang="en-US"/>
              <a:t> </a:t>
            </a:r>
            <a:r>
              <a:rPr lang="en-US" err="1"/>
              <a:t>Vehicula</a:t>
            </a:r>
            <a:r>
              <a:rPr lang="en-US"/>
              <a:t> </a:t>
            </a:r>
            <a:r>
              <a:rPr lang="en-US" err="1"/>
              <a:t>Arcu</a:t>
            </a:r>
            <a:endParaRPr lang="en-US"/>
          </a:p>
        </p:txBody>
      </p:sp>
      <p:sp>
        <p:nvSpPr>
          <p:cNvPr id="13" name="Text Placeholder 12"/>
          <p:cNvSpPr>
            <a:spLocks noGrp="1"/>
          </p:cNvSpPr>
          <p:nvPr>
            <p:ph type="body" sz="quarter" idx="15" hasCustomPrompt="1"/>
          </p:nvPr>
        </p:nvSpPr>
        <p:spPr>
          <a:xfrm>
            <a:off x="639763" y="5987438"/>
            <a:ext cx="10909648" cy="140488"/>
          </a:xfrm>
          <a:prstGeom prst="rect">
            <a:avLst/>
          </a:prstGeom>
        </p:spPr>
        <p:txBody>
          <a:bodyPr anchor="b" anchorCtr="0"/>
          <a:lstStyle>
            <a:lvl1pPr>
              <a:defRPr sz="900" b="0">
                <a:solidFill>
                  <a:schemeClr val="tx1"/>
                </a:solidFill>
              </a:defRPr>
            </a:lvl1pPr>
          </a:lstStyle>
          <a:p>
            <a:pPr lvl="0"/>
            <a:r>
              <a:rPr lang="en-US"/>
              <a:t>Footnotes/Abbreviations</a:t>
            </a:r>
            <a:endParaRPr lang="en-US"/>
          </a:p>
        </p:txBody>
      </p:sp>
      <p:sp>
        <p:nvSpPr>
          <p:cNvPr id="5" name="Rectangle 33"/>
          <p:cNvSpPr/>
          <p:nvPr userDrawn="1">
            <p:custDataLst>
              <p:tags r:id="rId2"/>
            </p:custDataLst>
          </p:nvPr>
        </p:nvSpPr>
        <p:spPr>
          <a:xfrm>
            <a:off x="639763" y="649546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3136" y="756259"/>
            <a:ext cx="10916275" cy="332399"/>
          </a:xfrm>
          <a:prstGeom prst="rect">
            <a:avLst/>
          </a:prstGeom>
        </p:spPr>
        <p:txBody>
          <a:bodyPr/>
          <a:lstStyle/>
          <a:p>
            <a:r>
              <a:rPr lang="en-US"/>
              <a:t>Click to edit Master title style</a:t>
            </a:r>
            <a:endParaRPr lang="en-US"/>
          </a:p>
        </p:txBody>
      </p:sp>
      <p:sp>
        <p:nvSpPr>
          <p:cNvPr id="3" name="Content Placeholder 2"/>
          <p:cNvSpPr>
            <a:spLocks noGrp="1"/>
          </p:cNvSpPr>
          <p:nvPr>
            <p:ph idx="1"/>
          </p:nvPr>
        </p:nvSpPr>
        <p:spPr>
          <a:xfrm>
            <a:off x="635812" y="1422380"/>
            <a:ext cx="10916275" cy="1264642"/>
          </a:xfrm>
          <a:prstGeom prst="rect">
            <a:avLst/>
          </a:prstGeo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Slide Number Placeholder 5"/>
          <p:cNvSpPr txBox="1"/>
          <p:nvPr userDrawn="1"/>
        </p:nvSpPr>
        <p:spPr>
          <a:xfrm>
            <a:off x="11674730" y="92842"/>
            <a:ext cx="295613" cy="365125"/>
          </a:xfrm>
          <a:prstGeom prst="rect">
            <a:avLst/>
          </a:prstGeom>
        </p:spPr>
        <p:txBody>
          <a:bodyPr vert="horz" lIns="0" tIns="45720" rIns="0" bIns="45720" rtlCol="0" anchor="ctr"/>
          <a:lstStyle>
            <a:defPPr>
              <a:defRPr lang="en-US"/>
            </a:defPPr>
            <a:lvl1pPr marL="0" algn="r" defTabSz="457200" rtl="0" eaLnBrk="1" latinLnBrk="0" hangingPunct="1">
              <a:defRPr sz="1000" kern="1200">
                <a:solidFill>
                  <a:schemeClr val="accent3"/>
                </a:solidFill>
                <a:latin typeface="Arial" panose="020B0604020202090204" pitchFamily="34" charset="0"/>
                <a:ea typeface="+mn-ea"/>
                <a:cs typeface="Arial" panose="020B060402020209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9CF5E0B-DC24-4598-AD87-85BEEC7BEC71}" type="slidenum">
              <a:rPr lang="en-US" smtClean="0"/>
            </a:fld>
            <a:endParaRPr lang="en-US"/>
          </a:p>
        </p:txBody>
      </p:sp>
      <p:sp>
        <p:nvSpPr>
          <p:cNvPr id="4" name="Rectangle 33"/>
          <p:cNvSpPr/>
          <p:nvPr userDrawn="1">
            <p:custDataLst>
              <p:tags r:id="rId2"/>
            </p:custDataLst>
          </p:nvPr>
        </p:nvSpPr>
        <p:spPr>
          <a:xfrm>
            <a:off x="639763" y="649546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33"/>
          <p:cNvSpPr/>
          <p:nvPr userDrawn="1">
            <p:custDataLst>
              <p:tags r:id="rId2"/>
            </p:custDataLst>
          </p:nvPr>
        </p:nvSpPr>
        <p:spPr>
          <a:xfrm>
            <a:off x="635001" y="646687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9D61FF-B7DE-409B-BA9B-5E3C534BAA79}" type="datetime1">
              <a:rPr lang="zh-CN" altLang="en-US" smtClean="0"/>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261386" y="6356350"/>
            <a:ext cx="295613" cy="365125"/>
          </a:xfrm>
          <a:prstGeom prst="rect">
            <a:avLst/>
          </a:prstGeom>
        </p:spPr>
        <p:txBody>
          <a:bodyPr/>
          <a:lstStyle/>
          <a:p>
            <a:fld id="{79CF5E0B-DC24-4598-AD87-85BEEC7BEC71}" type="slidenum">
              <a:rPr lang="en-US" smtClean="0"/>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6" name="文本占位符 5"/>
          <p:cNvSpPr>
            <a:spLocks noGrp="1"/>
          </p:cNvSpPr>
          <p:nvPr>
            <p:ph type="body" sz="quarter" idx="13"/>
          </p:nvPr>
        </p:nvSpPr>
        <p:spPr>
          <a:xfrm>
            <a:off x="479981" y="690895"/>
            <a:ext cx="10515600" cy="473279"/>
          </a:xfrm>
          <a:prstGeom prst="rect">
            <a:avLst/>
          </a:prstGeom>
        </p:spPr>
        <p:txBody>
          <a:bodyPr>
            <a:noAutofit/>
          </a:bodyPr>
          <a:lstStyle>
            <a:lvl1pPr marL="0" indent="0">
              <a:lnSpc>
                <a:spcPct val="100000"/>
              </a:lnSpc>
              <a:buNone/>
              <a:defRPr sz="2600" b="1">
                <a:solidFill>
                  <a:schemeClr val="tx2"/>
                </a:solidFill>
              </a:defRPr>
            </a:lvl1pPr>
            <a:lvl2pPr marL="457200" indent="0">
              <a:buNone/>
              <a:defRPr/>
            </a:lvl2pPr>
          </a:lstStyle>
          <a:p>
            <a:pPr lvl="0"/>
            <a:r>
              <a:rPr lang="zh-CN" altLang="en-US"/>
              <a:t>单击此处编辑母版文本样式</a:t>
            </a:r>
            <a:endParaRPr lang="zh-CN" altLang="en-US"/>
          </a:p>
        </p:txBody>
      </p:sp>
      <p:sp>
        <p:nvSpPr>
          <p:cNvPr id="7" name="文本占位符 6"/>
          <p:cNvSpPr>
            <a:spLocks noGrp="1"/>
          </p:cNvSpPr>
          <p:nvPr>
            <p:ph type="body" sz="quarter" idx="14"/>
          </p:nvPr>
        </p:nvSpPr>
        <p:spPr>
          <a:xfrm>
            <a:off x="1722955" y="6258925"/>
            <a:ext cx="5346700" cy="125804"/>
          </a:xfrm>
          <a:prstGeom prst="rect">
            <a:avLst/>
          </a:prstGeom>
        </p:spPr>
        <p:txBody>
          <a:bodyPr/>
          <a:lstStyle>
            <a:lvl1pPr marL="228600" indent="-228600">
              <a:lnSpc>
                <a:spcPct val="100000"/>
              </a:lnSpc>
              <a:buFont typeface="+mj-lt"/>
              <a:buAutoNum type="arabicPeriod"/>
              <a:defRPr sz="800" b="0">
                <a:solidFill>
                  <a:schemeClr val="tx1">
                    <a:lumMod val="50000"/>
                    <a:lumOff val="50000"/>
                  </a:schemeClr>
                </a:solidFill>
              </a:defRPr>
            </a:lvl1pPr>
          </a:lstStyle>
          <a:p>
            <a:pPr lvl="0"/>
            <a:r>
              <a:rPr lang="zh-CN" altLang="en-US"/>
              <a:t>单击此处编辑母版文本样式</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E1E48A8-18D4-4542-A93E-736ABDCB5BF1}"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a:xfrm>
            <a:off x="11465349" y="6356350"/>
            <a:ext cx="501650" cy="365125"/>
          </a:xfrm>
          <a:prstGeom prst="rect">
            <a:avLst/>
          </a:prstGeom>
        </p:spPr>
        <p:txBody>
          <a:bodyPr/>
          <a:lstStyle/>
          <a:p>
            <a:fld id="{247809CE-C81D-4D16-989B-012F6A548CA1}"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grpSp>
        <p:nvGrpSpPr>
          <p:cNvPr id="18" name="组合 17"/>
          <p:cNvGrpSpPr/>
          <p:nvPr userDrawn="1"/>
        </p:nvGrpSpPr>
        <p:grpSpPr>
          <a:xfrm>
            <a:off x="-1" y="341750"/>
            <a:ext cx="12192001" cy="665689"/>
            <a:chOff x="-1" y="341750"/>
            <a:chExt cx="12192001" cy="665689"/>
          </a:xfrm>
        </p:grpSpPr>
        <p:sp>
          <p:nvSpPr>
            <p:cNvPr id="19" name="矩形 18"/>
            <p:cNvSpPr/>
            <p:nvPr/>
          </p:nvSpPr>
          <p:spPr>
            <a:xfrm>
              <a:off x="-1" y="341751"/>
              <a:ext cx="12192001" cy="660627"/>
            </a:xfrm>
            <a:prstGeom prst="rect">
              <a:avLst/>
            </a:prstGeom>
            <a:solidFill>
              <a:srgbClr val="143A62"/>
            </a:solidFill>
            <a:ln>
              <a:noFill/>
            </a:ln>
            <a:effectLst>
              <a:outerShdw blurRad="152400" dist="88900" dir="5400000" algn="t" rotWithShape="0">
                <a:srgbClr val="143A62">
                  <a:alpha val="3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20" name="矩形 19"/>
            <p:cNvSpPr/>
            <p:nvPr/>
          </p:nvSpPr>
          <p:spPr>
            <a:xfrm>
              <a:off x="1225858" y="422664"/>
              <a:ext cx="10303536" cy="584775"/>
            </a:xfrm>
            <a:prstGeom prst="rect">
              <a:avLst/>
            </a:prstGeom>
          </p:spPr>
          <p:txBody>
            <a:bodyPr wrap="square">
              <a:spAutoFit/>
            </a:bodyPr>
            <a:lstStyle/>
            <a:p>
              <a:endParaRPr lang="zh-CN" altLang="en-US" sz="3200" b="1">
                <a:solidFill>
                  <a:schemeClr val="bg1"/>
                </a:solidFill>
                <a:latin typeface="微软雅黑" panose="020B0503020204020204" charset="-122"/>
                <a:ea typeface="微软雅黑" panose="020B0503020204020204" charset="-122"/>
              </a:endParaRPr>
            </a:p>
          </p:txBody>
        </p:sp>
        <p:sp>
          <p:nvSpPr>
            <p:cNvPr id="21" name="矩形 20"/>
            <p:cNvSpPr/>
            <p:nvPr/>
          </p:nvSpPr>
          <p:spPr>
            <a:xfrm>
              <a:off x="0" y="341750"/>
              <a:ext cx="961802" cy="660627"/>
            </a:xfrm>
            <a:prstGeom prst="rect">
              <a:avLst/>
            </a:prstGeom>
            <a:solidFill>
              <a:srgbClr val="7F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pic>
        <p:nvPicPr>
          <p:cNvPr id="22" name="图片 21"/>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Photocopy trans="30000" detail="2"/>
                    </a14:imgEffect>
                    <a14:imgEffect>
                      <a14:brightnessContrast bright="40000"/>
                    </a14:imgEffect>
                  </a14:imgLayer>
                </a14:imgProps>
              </a:ext>
              <a:ext uri="{28A0092B-C50C-407E-A947-70E740481C1C}">
                <a14:useLocalDpi xmlns:a14="http://schemas.microsoft.com/office/drawing/2010/main" val="0"/>
              </a:ext>
            </a:extLst>
          </a:blip>
          <a:srcRect r="69905"/>
          <a:stretch>
            <a:fillRect/>
          </a:stretch>
        </p:blipFill>
        <p:spPr>
          <a:xfrm>
            <a:off x="165223" y="415551"/>
            <a:ext cx="631356" cy="513024"/>
          </a:xfrm>
          <a:prstGeom prst="rect">
            <a:avLst/>
          </a:prstGeom>
        </p:spPr>
      </p:pic>
      <p:sp>
        <p:nvSpPr>
          <p:cNvPr id="23" name="标题 1"/>
          <p:cNvSpPr>
            <a:spLocks noGrp="1"/>
          </p:cNvSpPr>
          <p:nvPr>
            <p:ph type="title"/>
          </p:nvPr>
        </p:nvSpPr>
        <p:spPr>
          <a:xfrm>
            <a:off x="1073459" y="368559"/>
            <a:ext cx="9296427" cy="622300"/>
          </a:xfrm>
        </p:spPr>
        <p:txBody>
          <a:bodyPr>
            <a:normAutofit/>
            <a:scene3d>
              <a:camera prst="orthographicFront"/>
              <a:lightRig rig="soft" dir="tl">
                <a:rot lat="0" lon="0" rev="0"/>
              </a:lightRig>
            </a:scene3d>
            <a:sp3d contourW="25400" prstMaterial="matte">
              <a:contourClr>
                <a:schemeClr val="accent2">
                  <a:tint val="20000"/>
                </a:schemeClr>
              </a:contourClr>
            </a:sp3d>
          </a:bodyPr>
          <a:lstStyle>
            <a:lvl1pPr>
              <a:defRPr sz="3200" b="1" cap="none" spc="38">
                <a:ln w="11430"/>
                <a:solidFill>
                  <a:schemeClr val="bg1"/>
                </a:solidFill>
                <a:effectLst/>
                <a:latin typeface="微软雅黑" panose="020B0503020204020204" charset="-122"/>
                <a:ea typeface="微软雅黑" panose="020B0503020204020204" charset="-122"/>
              </a:defRPr>
            </a:lvl1pPr>
          </a:lstStyle>
          <a:p>
            <a:r>
              <a:rPr lang="zh-CN" altLang="en-US"/>
              <a:t>单击此处编辑母版标题样式</a:t>
            </a:r>
            <a:endParaRPr lang="zh-CN" altLang="en-US"/>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rgbClr val="EBF2F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9818" y="2993544"/>
            <a:ext cx="5741932" cy="1218795"/>
          </a:xfrm>
          <a:prstGeom prst="rect">
            <a:avLst/>
          </a:prstGeom>
        </p:spPr>
        <p:txBody>
          <a:bodyPr anchor="t" anchorCtr="0"/>
          <a:lstStyle>
            <a:lvl1pPr algn="l">
              <a:defRPr sz="4400" spc="100" baseline="0">
                <a:solidFill>
                  <a:schemeClr val="tx1"/>
                </a:solidFill>
              </a:defRPr>
            </a:lvl1pPr>
          </a:lstStyle>
          <a:p>
            <a:r>
              <a:rPr lang="en-US"/>
              <a:t>Aenean Comodo </a:t>
            </a:r>
            <a:br>
              <a:rPr lang="en-US"/>
            </a:br>
            <a:r>
              <a:rPr lang="en-US" err="1"/>
              <a:t>Maecena</a:t>
            </a:r>
            <a:r>
              <a:rPr lang="en-US"/>
              <a:t> Tempus</a:t>
            </a:r>
            <a:endParaRPr lang="en-US"/>
          </a:p>
        </p:txBody>
      </p:sp>
      <p:sp>
        <p:nvSpPr>
          <p:cNvPr id="31" name="TextBox 30"/>
          <p:cNvSpPr txBox="1"/>
          <p:nvPr userDrawn="1"/>
        </p:nvSpPr>
        <p:spPr>
          <a:xfrm>
            <a:off x="643793" y="2204092"/>
            <a:ext cx="3840125" cy="430887"/>
          </a:xfrm>
          <a:prstGeom prst="rect">
            <a:avLst/>
          </a:prstGeom>
          <a:solidFill>
            <a:srgbClr val="03C987"/>
          </a:solidFill>
        </p:spPr>
        <p:txBody>
          <a:bodyPr wrap="square" lIns="91440" tIns="91440" rIns="91440" bIns="91440" anchor="ctr" anchorCtr="0">
            <a:spAutoFit/>
          </a:bodyPr>
          <a:lstStyle/>
          <a:p>
            <a:pPr algn="ctr"/>
            <a:r>
              <a:rPr lang="en-US" sz="1600" b="1" spc="100">
                <a:solidFill>
                  <a:schemeClr val="tx2"/>
                </a:solidFill>
                <a:latin typeface="Arial" panose="020B0604020202090204" pitchFamily="34" charset="0"/>
                <a:cs typeface="Arial" panose="020B0604020202090204" pitchFamily="34" charset="0"/>
              </a:rPr>
              <a:t>Virtual Classroom Training (VCT)</a:t>
            </a:r>
            <a:endParaRPr lang="en-US" sz="1600" b="1" spc="100">
              <a:solidFill>
                <a:schemeClr val="tx2"/>
              </a:solidFill>
              <a:latin typeface="Arial" panose="020B0604020202090204" pitchFamily="34" charset="0"/>
              <a:cs typeface="Arial" panose="020B0604020202090204" pitchFamily="34" charset="0"/>
            </a:endParaRPr>
          </a:p>
        </p:txBody>
      </p:sp>
      <p:sp>
        <p:nvSpPr>
          <p:cNvPr id="32" name="Rectangle 31"/>
          <p:cNvSpPr/>
          <p:nvPr userDrawn="1">
            <p:custDataLst>
              <p:tags r:id="rId2"/>
            </p:custDataLst>
          </p:nvPr>
        </p:nvSpPr>
        <p:spPr>
          <a:xfrm>
            <a:off x="635812" y="6462095"/>
            <a:ext cx="7777402"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sz="900" b="0" i="0" u="none" strike="noStrike" kern="0" cap="none" spc="0" normalizeH="0" baseline="0" noProof="0">
              <a:ln>
                <a:noFill/>
              </a:ln>
              <a:effectLst/>
              <a:uLnTx/>
              <a:uFillTx/>
              <a:latin typeface="Arial" panose="020B0604020202090204" pitchFamily="34" charset="0"/>
              <a:ea typeface="+mn-ea"/>
              <a:cs typeface="+mn-cs"/>
            </a:endParaRPr>
          </a:p>
        </p:txBody>
      </p:sp>
      <p:pic>
        <p:nvPicPr>
          <p:cNvPr id="41" name="Graphic 40"/>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3"/>
          </a:xfrm>
          <a:prstGeom prst="rect">
            <a:avLst/>
          </a:prstGeom>
        </p:spPr>
      </p:pic>
      <p:sp>
        <p:nvSpPr>
          <p:cNvPr id="46" name="Freeform: Shape 45"/>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rgbClr val="03C98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Title Slide_AL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6040" y="2449243"/>
            <a:ext cx="5735710" cy="1073113"/>
          </a:xfrm>
          <a:prstGeom prst="rect">
            <a:avLst/>
          </a:prstGeom>
        </p:spPr>
        <p:txBody>
          <a:bodyPr anchor="t" anchorCtr="0"/>
          <a:lstStyle>
            <a:lvl1pPr algn="l">
              <a:defRPr sz="4400" spc="100" baseline="0">
                <a:solidFill>
                  <a:schemeClr val="bg1"/>
                </a:solidFill>
              </a:defRPr>
            </a:lvl1pPr>
          </a:lstStyle>
          <a:p>
            <a:r>
              <a:rPr lang="en-US"/>
              <a:t>Aenean Comodo </a:t>
            </a:r>
            <a:br>
              <a:rPr lang="en-US"/>
            </a:br>
            <a:r>
              <a:rPr lang="en-US" err="1"/>
              <a:t>Maecena</a:t>
            </a:r>
            <a:r>
              <a:rPr lang="en-US"/>
              <a:t> Tempus</a:t>
            </a:r>
            <a:endParaRPr lang="en-US"/>
          </a:p>
        </p:txBody>
      </p:sp>
      <p:sp>
        <p:nvSpPr>
          <p:cNvPr id="32" name="Rectangle 31"/>
          <p:cNvSpPr/>
          <p:nvPr userDrawn="1">
            <p:custDataLst>
              <p:tags r:id="rId2"/>
            </p:custDataLst>
          </p:nvPr>
        </p:nvSpPr>
        <p:spPr>
          <a:xfrm>
            <a:off x="635812" y="6462095"/>
            <a:ext cx="5174438"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endParaRPr>
          </a:p>
        </p:txBody>
      </p:sp>
      <p:sp>
        <p:nvSpPr>
          <p:cNvPr id="3" name="Subtitle 2"/>
          <p:cNvSpPr>
            <a:spLocks noGrp="1"/>
          </p:cNvSpPr>
          <p:nvPr>
            <p:ph type="subTitle" idx="1"/>
          </p:nvPr>
        </p:nvSpPr>
        <p:spPr>
          <a:xfrm>
            <a:off x="646040" y="3887235"/>
            <a:ext cx="5735710" cy="276999"/>
          </a:xfrm>
          <a:prstGeom prst="rect">
            <a:avLst/>
          </a:prstGeom>
        </p:spPr>
        <p:txBody>
          <a:bodyPr/>
          <a:lstStyle>
            <a:lvl1pPr marL="0" indent="0" algn="l">
              <a:buNone/>
              <a:defRPr sz="1800" b="1">
                <a:solidFill>
                  <a:srgbClr val="03C9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pic>
        <p:nvPicPr>
          <p:cNvPr id="52" name="Graphic 51"/>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2"/>
          </a:xfrm>
          <a:prstGeom prst="rect">
            <a:avLst/>
          </a:prstGeom>
        </p:spPr>
      </p:pic>
      <p:sp>
        <p:nvSpPr>
          <p:cNvPr id="53" name="Freeform: Shape 52"/>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Freeform: Shape 53"/>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rgbClr val="03C98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Imagen 8"/>
          <p:cNvPicPr>
            <a:picLocks noChangeAspect="1"/>
          </p:cNvPicPr>
          <p:nvPr userDrawn="1"/>
        </p:nvPicPr>
        <p:blipFill>
          <a:blip r:embed="rId5"/>
          <a:stretch>
            <a:fillRect/>
          </a:stretch>
        </p:blipFill>
        <p:spPr>
          <a:xfrm>
            <a:off x="0" y="0"/>
            <a:ext cx="12192000" cy="6858000"/>
          </a:xfrm>
          <a:prstGeom prst="rect">
            <a:avLst/>
          </a:prstGeom>
        </p:spPr>
      </p:pic>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1_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pic>
        <p:nvPicPr>
          <p:cNvPr id="7" name="Imagen 11"/>
          <p:cNvPicPr>
            <a:picLocks noChangeAspect="1"/>
          </p:cNvPicPr>
          <p:nvPr userDrawn="1"/>
        </p:nvPicPr>
        <p:blipFill>
          <a:blip r:embed="rId6"/>
          <a:stretch>
            <a:fillRect/>
          </a:stretch>
        </p:blipFill>
        <p:spPr>
          <a:xfrm>
            <a:off x="0" y="0"/>
            <a:ext cx="12192000" cy="6858000"/>
          </a:xfrm>
          <a:prstGeom prst="rect">
            <a:avLst/>
          </a:prstGeom>
        </p:spPr>
      </p:pic>
      <p:sp>
        <p:nvSpPr>
          <p:cNvPr id="8" name="文本框 7"/>
          <p:cNvSpPr txBox="1"/>
          <p:nvPr userDrawn="1"/>
        </p:nvSpPr>
        <p:spPr>
          <a:xfrm>
            <a:off x="0" y="6609245"/>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96617" y="2465629"/>
            <a:ext cx="5257800" cy="1655762"/>
          </a:xfrm>
        </p:spPr>
        <p:txBody>
          <a:bodyPr anchor="b">
            <a:noAutofit/>
          </a:bodyPr>
          <a:lstStyle>
            <a:lvl1pPr algn="r">
              <a:defRPr sz="3600"/>
            </a:lvl1pPr>
          </a:lstStyle>
          <a:p>
            <a:r>
              <a:rPr lang="es-MX"/>
              <a:t>Haz clic para modificar el estilo de título del patrón</a:t>
            </a:r>
            <a:endParaRPr lang="es-MX"/>
          </a:p>
        </p:txBody>
      </p:sp>
      <p:sp>
        <p:nvSpPr>
          <p:cNvPr id="3" name="Subtítulo 2"/>
          <p:cNvSpPr>
            <a:spLocks noGrp="1"/>
          </p:cNvSpPr>
          <p:nvPr>
            <p:ph type="subTitle" idx="1" hasCustomPrompt="1"/>
          </p:nvPr>
        </p:nvSpPr>
        <p:spPr>
          <a:xfrm>
            <a:off x="6861313" y="2601119"/>
            <a:ext cx="4989441"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idx="1" hasCustomPrompt="1"/>
          </p:nvPr>
        </p:nvSpPr>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71468" y="1858412"/>
            <a:ext cx="5419863" cy="2127180"/>
          </a:xfrm>
        </p:spPr>
        <p:txBody>
          <a:bodyPr anchor="b">
            <a:noAutofit/>
          </a:bodyPr>
          <a:lstStyle>
            <a:lvl1pPr>
              <a:defRPr sz="4000"/>
            </a:lvl1p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6861312" y="2425149"/>
            <a:ext cx="4486137" cy="2285999"/>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sz="half" idx="1" hasCustomPrompt="1"/>
          </p:nvPr>
        </p:nvSpPr>
        <p:spPr>
          <a:xfrm>
            <a:off x="838200" y="1825625"/>
            <a:ext cx="5181600" cy="435133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contenido 3"/>
          <p:cNvSpPr>
            <a:spLocks noGrp="1"/>
          </p:cNvSpPr>
          <p:nvPr>
            <p:ph sz="half" idx="2" hasCustomPrompt="1"/>
          </p:nvPr>
        </p:nvSpPr>
        <p:spPr>
          <a:xfrm>
            <a:off x="6172200" y="1825625"/>
            <a:ext cx="5181600" cy="435133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标题 7"/>
          <p:cNvSpPr>
            <a:spLocks noGrp="1"/>
          </p:cNvSpPr>
          <p:nvPr>
            <p:ph type="title"/>
          </p:nvPr>
        </p:nvSpPr>
        <p:spPr>
          <a:xfrm>
            <a:off x="479425" y="152405"/>
            <a:ext cx="10340975" cy="755646"/>
          </a:xfrm>
          <a:prstGeom prst="rect">
            <a:avLst/>
          </a:prstGeom>
        </p:spPr>
        <p:txBody>
          <a:bodyPr lIns="0" tIns="0" rIns="0" bIns="0" anchor="ctr"/>
          <a:lstStyle>
            <a:lvl1pPr>
              <a:lnSpc>
                <a:spcPct val="100000"/>
              </a:lnSpc>
              <a:defRPr sz="2400" b="1">
                <a:solidFill>
                  <a:schemeClr val="accent2"/>
                </a:solidFill>
              </a:defRPr>
            </a:lvl1pPr>
          </a:lstStyle>
          <a:p>
            <a:r>
              <a:rPr lang="zh-CN" altLang="en-US"/>
              <a:t>单击此处编辑母版标题样式</a:t>
            </a:r>
            <a:endParaRPr lang="zh-CN" altLang="en-US"/>
          </a:p>
        </p:txBody>
      </p:sp>
      <p:sp>
        <p:nvSpPr>
          <p:cNvPr id="10" name="文本占位符 9"/>
          <p:cNvSpPr>
            <a:spLocks noGrp="1"/>
          </p:cNvSpPr>
          <p:nvPr>
            <p:ph type="body" sz="quarter" idx="10" hasCustomPrompt="1"/>
          </p:nvPr>
        </p:nvSpPr>
        <p:spPr>
          <a:xfrm>
            <a:off x="1262063" y="6382941"/>
            <a:ext cx="9164085" cy="432000"/>
          </a:xfrm>
          <a:prstGeom prst="rect">
            <a:avLst/>
          </a:prstGeom>
        </p:spPr>
        <p:txBody>
          <a:bodyPr lIns="0" tIns="0" rIns="0" bIns="0"/>
          <a:lstStyle>
            <a:lvl1pPr marL="172720" indent="-172720">
              <a:lnSpc>
                <a:spcPct val="100000"/>
              </a:lnSpc>
              <a:spcBef>
                <a:spcPts val="0"/>
              </a:spcBef>
              <a:buFont typeface="+mj-lt"/>
              <a:buAutoNum type="arabicPeriod"/>
              <a:defRPr sz="800">
                <a:solidFill>
                  <a:schemeClr val="tx1"/>
                </a:solidFill>
              </a:defRPr>
            </a:lvl1pPr>
          </a:lstStyle>
          <a:p>
            <a:pPr lvl="0"/>
            <a:r>
              <a:rPr lang="zh-CN" altLang="en-US"/>
              <a:t>文献</a:t>
            </a:r>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p:spPr>
        <p:txBody>
          <a:body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endParaRPr lang="es-MX"/>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endParaRPr lang="es-MX"/>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8" name="Marcador de pie de página 7"/>
          <p:cNvSpPr>
            <a:spLocks noGrp="1"/>
          </p:cNvSpPr>
          <p:nvPr>
            <p:ph type="ftr" sz="quarter" idx="11"/>
          </p:nvPr>
        </p:nvSpPr>
        <p:spPr/>
        <p:txBody>
          <a:bodyPr/>
          <a:lstStyle/>
          <a:p>
            <a:endParaRPr lang="es-MX"/>
          </a:p>
        </p:txBody>
      </p:sp>
      <p:sp>
        <p:nvSpPr>
          <p:cNvPr id="9" name="Marcador de número de diapositiva 8"/>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1017105" y="2481124"/>
            <a:ext cx="5257800" cy="1325563"/>
          </a:xfrm>
        </p:spPr>
        <p:txBody>
          <a:bodyPr/>
          <a:lstStyle/>
          <a:p>
            <a:r>
              <a:rPr lang="es-MX"/>
              <a:t>Haz clic para modificar el estilo de título del patrón</a:t>
            </a:r>
            <a:endParaRPr lang="es-MX"/>
          </a:p>
        </p:txBody>
      </p:sp>
      <p:sp>
        <p:nvSpPr>
          <p:cNvPr id="4" name="Marcador de pie de página 3"/>
          <p:cNvSpPr>
            <a:spLocks noGrp="1"/>
          </p:cNvSpPr>
          <p:nvPr>
            <p:ph type="ftr" sz="quarter" idx="11"/>
          </p:nvPr>
        </p:nvSpPr>
        <p:spPr/>
        <p:txBody>
          <a:bodyPr/>
          <a:lstStyle/>
          <a:p>
            <a:endParaRPr lang="es-MX"/>
          </a:p>
        </p:txBody>
      </p:sp>
      <p:sp>
        <p:nvSpPr>
          <p:cNvPr id="5" name="Marcador de número de diapositiva 4"/>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3" name="Marcador de pie de página 2"/>
          <p:cNvSpPr>
            <a:spLocks noGrp="1"/>
          </p:cNvSpPr>
          <p:nvPr>
            <p:ph type="ftr" sz="quarter" idx="11"/>
          </p:nvPr>
        </p:nvSpPr>
        <p:spPr/>
        <p:txBody>
          <a:bodyPr/>
          <a:lstStyle/>
          <a:p>
            <a:endParaRPr lang="es-MX"/>
          </a:p>
        </p:txBody>
      </p:sp>
      <p:sp>
        <p:nvSpPr>
          <p:cNvPr id="4" name="Marcador de número de diapositiva 3"/>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p:spPr>
        <p:txBody>
          <a:bodyPr anchor="b"/>
          <a:lstStyle>
            <a:lvl1pPr>
              <a:defRPr sz="3200"/>
            </a:lvl1pPr>
          </a:lstStyle>
          <a:p>
            <a:r>
              <a:rPr lang="es-MX"/>
              <a:t>Haz clic para modificar el estilo de título del patrón</a:t>
            </a:r>
            <a:endParaRPr lang="es-MX"/>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p:spPr>
        <p:txBody>
          <a:bodyPr anchor="b"/>
          <a:lstStyle>
            <a:lvl1pPr>
              <a:defRPr sz="3200"/>
            </a:lvl1pPr>
          </a:lstStyle>
          <a:p>
            <a:r>
              <a:rPr lang="es-MX"/>
              <a:t>Haz clic para modificar el estilo de título del patrón</a:t>
            </a:r>
            <a:endParaRPr lang="es-MX"/>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3" name="Subtítulo 2"/>
          <p:cNvSpPr>
            <a:spLocks noGrp="1"/>
          </p:cNvSpPr>
          <p:nvPr>
            <p:ph type="subTitle" idx="1" hasCustomPrompt="1"/>
          </p:nvPr>
        </p:nvSpPr>
        <p:spPr>
          <a:xfrm>
            <a:off x="1524000" y="4157179"/>
            <a:ext cx="9144000" cy="36512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MX"/>
          </a:p>
        </p:txBody>
      </p:sp>
      <p:sp>
        <p:nvSpPr>
          <p:cNvPr id="4" name="Marcador de fecha 3"/>
          <p:cNvSpPr>
            <a:spLocks noGrp="1"/>
          </p:cNvSpPr>
          <p:nvPr>
            <p:ph type="dt" sz="half" idx="10"/>
          </p:nvPr>
        </p:nvSpPr>
        <p:spPr/>
        <p:txBody>
          <a:bodyPr/>
          <a:lstStyle/>
          <a:p>
            <a:fld id="{41A1659B-6FD2-DB42-9F92-571AC003F124}"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idx="1" hasCustomPrompt="1"/>
          </p:nvPr>
        </p:nvSpPr>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fecha 3"/>
          <p:cNvSpPr>
            <a:spLocks noGrp="1"/>
          </p:cNvSpPr>
          <p:nvPr>
            <p:ph type="dt" sz="half" idx="10"/>
          </p:nvPr>
        </p:nvSpPr>
        <p:spPr/>
        <p:txBody>
          <a:bodyPr/>
          <a:lstStyle/>
          <a:p>
            <a:fld id="{3A3EE86C-35BF-5E4E-8482-6A37AEDEF33C}"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1630293" y="1481138"/>
            <a:ext cx="8749472" cy="884375"/>
          </a:xfrm>
        </p:spPr>
        <p:txBody>
          <a:bodyPr anchor="b">
            <a:noAutofit/>
          </a:bodyPr>
          <a:lstStyle>
            <a:lvl1pPr algn="ctr">
              <a:defRPr sz="3600"/>
            </a:lvl1p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831850" y="4309925"/>
            <a:ext cx="10515600" cy="365125"/>
          </a:xfrm>
        </p:spPr>
        <p:txBody>
          <a:bodyPr>
            <a:normAutofit/>
          </a:bodyPr>
          <a:lstStyle>
            <a:lvl1pPr marL="0" indent="0" algn="ctr">
              <a:buNone/>
              <a:defRPr sz="18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endParaRPr lang="es-MX"/>
          </a:p>
        </p:txBody>
      </p:sp>
      <p:sp>
        <p:nvSpPr>
          <p:cNvPr id="4" name="Marcador de fecha 3"/>
          <p:cNvSpPr>
            <a:spLocks noGrp="1"/>
          </p:cNvSpPr>
          <p:nvPr>
            <p:ph type="dt" sz="half" idx="10"/>
          </p:nvPr>
        </p:nvSpPr>
        <p:spPr/>
        <p:txBody>
          <a:bodyPr/>
          <a:lstStyle/>
          <a:p>
            <a:fld id="{85963939-467D-834E-B13A-1FA2681E401B}"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fecha 2"/>
          <p:cNvSpPr>
            <a:spLocks noGrp="1"/>
          </p:cNvSpPr>
          <p:nvPr>
            <p:ph type="dt" sz="half" idx="10"/>
          </p:nvPr>
        </p:nvSpPr>
        <p:spPr/>
        <p:txBody>
          <a:bodyPr/>
          <a:lstStyle/>
          <a:p>
            <a:fld id="{C7AD0134-84C3-C441-8861-B734CD491E82}" type="datetime1">
              <a:rPr lang="es-MX" smtClean="0"/>
            </a:fld>
            <a:endParaRPr lang="es-MX"/>
          </a:p>
        </p:txBody>
      </p:sp>
      <p:sp>
        <p:nvSpPr>
          <p:cNvPr id="4" name="Marcador de pie de página 3"/>
          <p:cNvSpPr>
            <a:spLocks noGrp="1"/>
          </p:cNvSpPr>
          <p:nvPr>
            <p:ph type="ftr" sz="quarter" idx="11"/>
          </p:nvPr>
        </p:nvSpPr>
        <p:spPr/>
        <p:txBody>
          <a:bodyPr/>
          <a:lstStyle/>
          <a:p>
            <a:endParaRPr lang="es-MX"/>
          </a:p>
        </p:txBody>
      </p:sp>
      <p:sp>
        <p:nvSpPr>
          <p:cNvPr id="5" name="Marcador de número de diapositiva 4"/>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número de diapositiva 5"/>
          <p:cNvSpPr>
            <a:spLocks noGrp="1"/>
          </p:cNvSpPr>
          <p:nvPr>
            <p:ph type="sldNum" sz="quarter" idx="12"/>
          </p:nvPr>
        </p:nvSpPr>
        <p:spPr>
          <a:xfrm>
            <a:off x="11328400" y="6308109"/>
            <a:ext cx="409712" cy="365125"/>
          </a:xfrm>
        </p:spPr>
        <p:txBody>
          <a:bodyPr/>
          <a:lstStyle/>
          <a:p>
            <a:fld id="{356548CD-5D4D-B04A-A769-B1AE8BE662B8}" type="slidenum">
              <a:rPr lang="es-MX" smtClean="0"/>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p>
        </p:txBody>
      </p:sp>
      <p:sp>
        <p:nvSpPr>
          <p:cNvPr id="5" name="Title 4"/>
          <p:cNvSpPr>
            <a:spLocks noGrp="1"/>
          </p:cNvSpPr>
          <p:nvPr>
            <p:ph type="title"/>
          </p:nvPr>
        </p:nvSpPr>
        <p:spPr>
          <a:xfrm>
            <a:off x="453887" y="538045"/>
            <a:ext cx="9421633" cy="586955"/>
          </a:xfrm>
        </p:spPr>
        <p:txBody>
          <a:bodyPr/>
          <a:lstStyle/>
          <a:p>
            <a:r>
              <a:rPr lang="en-US"/>
              <a:t>Click to edit Master title style</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A0600F57-9300-1C40-AF45-46BAFDB837CC}" type="datetime1">
              <a:rPr lang="es-MX" smtClean="0"/>
            </a:fld>
            <a:endParaRPr lang="es-MX"/>
          </a:p>
        </p:txBody>
      </p:sp>
      <p:sp>
        <p:nvSpPr>
          <p:cNvPr id="3" name="Marcador de pie de página 2"/>
          <p:cNvSpPr>
            <a:spLocks noGrp="1"/>
          </p:cNvSpPr>
          <p:nvPr>
            <p:ph type="ftr" sz="quarter" idx="11"/>
          </p:nvPr>
        </p:nvSpPr>
        <p:spPr/>
        <p:txBody>
          <a:bodyPr/>
          <a:lstStyle/>
          <a:p>
            <a:endParaRPr lang="es-MX"/>
          </a:p>
        </p:txBody>
      </p:sp>
      <p:sp>
        <p:nvSpPr>
          <p:cNvPr id="4" name="Marcador de número de diapositiva 3"/>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42913" y="404813"/>
            <a:ext cx="11306174" cy="509587"/>
          </a:xfrm>
          <a:prstGeom prst="rect">
            <a:avLst/>
          </a:prstGeom>
        </p:spPr>
        <p:txBody>
          <a:bodyPr lIns="0" tIns="0" rIns="0" bIns="0"/>
          <a:lstStyle>
            <a:lvl1pPr>
              <a:lnSpc>
                <a:spcPct val="100000"/>
              </a:lnSpc>
              <a:defRPr sz="2800" b="1">
                <a:solidFill>
                  <a:srgbClr val="000D45"/>
                </a:solidFill>
              </a:defRPr>
            </a:lvl1pPr>
          </a:lstStyle>
          <a:p>
            <a:r>
              <a:rPr lang="zh-CN" altLang="en-US"/>
              <a:t>单击此处编辑母版标题样式</a:t>
            </a:r>
            <a:endParaRPr lang="zh-CN" altLang="en-US"/>
          </a:p>
        </p:txBody>
      </p:sp>
      <p:sp>
        <p:nvSpPr>
          <p:cNvPr id="4"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42913" y="404813"/>
            <a:ext cx="11306174" cy="509587"/>
          </a:xfrm>
          <a:prstGeom prst="rect">
            <a:avLst/>
          </a:prstGeom>
        </p:spPr>
        <p:txBody>
          <a:bodyPr lIns="0" tIns="0" rIns="0" bIns="0"/>
          <a:lstStyle>
            <a:lvl1pPr>
              <a:lnSpc>
                <a:spcPct val="100000"/>
              </a:lnSpc>
              <a:defRPr sz="2800" b="1">
                <a:solidFill>
                  <a:srgbClr val="000D45"/>
                </a:solidFill>
              </a:defRPr>
            </a:lvl1pPr>
          </a:lstStyle>
          <a:p>
            <a:r>
              <a:rPr lang="zh-CN" altLang="en-US"/>
              <a:t>单击此处编辑母版标题样式</a:t>
            </a:r>
            <a:endParaRPr lang="zh-CN" altLang="en-US"/>
          </a:p>
        </p:txBody>
      </p:sp>
      <p:sp>
        <p:nvSpPr>
          <p:cNvPr id="4" name="文本占位符 3"/>
          <p:cNvSpPr>
            <a:spLocks noGrp="1"/>
          </p:cNvSpPr>
          <p:nvPr>
            <p:ph type="body" sz="quarter" idx="10" hasCustomPrompt="1"/>
          </p:nvPr>
        </p:nvSpPr>
        <p:spPr>
          <a:xfrm>
            <a:off x="442913" y="6381750"/>
            <a:ext cx="11306175" cy="287337"/>
          </a:xfrm>
          <a:prstGeom prst="rect">
            <a:avLst/>
          </a:prstGeom>
        </p:spPr>
        <p:txBody>
          <a:bodyPr lIns="0" tIns="0" rIns="0" bIns="0" anchor="b" anchorCtr="0"/>
          <a:lstStyle>
            <a:lvl1pPr marL="0" indent="0">
              <a:lnSpc>
                <a:spcPct val="100000"/>
              </a:lnSpc>
              <a:spcBef>
                <a:spcPts val="0"/>
              </a:spcBef>
              <a:buNone/>
              <a:defRPr sz="700">
                <a:solidFill>
                  <a:schemeClr val="tx1">
                    <a:lumMod val="75000"/>
                    <a:lumOff val="25000"/>
                  </a:schemeClr>
                </a:solidFill>
              </a:defRPr>
            </a:lvl1pPr>
          </a:lstStyle>
          <a:p>
            <a:pPr lvl="0"/>
            <a:r>
              <a:rPr lang="zh-CN" altLang="en-US"/>
              <a:t>输入文本</a:t>
            </a:r>
            <a:endParaRPr lang="zh-CN" altLang="en-US"/>
          </a:p>
        </p:txBody>
      </p:sp>
      <p:sp>
        <p:nvSpPr>
          <p:cNvPr id="5"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a:xfrm>
            <a:off x="11328400" y="6308109"/>
            <a:ext cx="409712" cy="365125"/>
          </a:xfrm>
        </p:spPr>
        <p:txBody>
          <a:bodyPr/>
          <a:lstStyle/>
          <a:p>
            <a:fld id="{356548CD-5D4D-B04A-A769-B1AE8BE662B8}" type="slidenum">
              <a:rPr lang="es-MX" smtClean="0"/>
            </a:fld>
            <a:endParaRPr lang="es-MX"/>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538045"/>
            <a:ext cx="9421633" cy="586955"/>
          </a:xfrm>
        </p:spPr>
        <p:txBody>
          <a:bodyPr/>
          <a:lstStyle/>
          <a:p>
            <a:r>
              <a:rPr lang="en-US"/>
              <a:t>Click to edit Master title style</a:t>
            </a:r>
            <a:endParaRPr lang="en-GB"/>
          </a:p>
        </p:txBody>
      </p:sp>
      <p:sp>
        <p:nvSpPr>
          <p:cNvPr id="3" name="Content Placeholder 2"/>
          <p:cNvSpPr>
            <a:spLocks noGrp="1"/>
          </p:cNvSpPr>
          <p:nvPr>
            <p:ph idx="1"/>
          </p:nvPr>
        </p:nvSpPr>
        <p:spPr>
          <a:xfrm>
            <a:off x="453889" y="1670858"/>
            <a:ext cx="11284224" cy="3908139"/>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a:p>
        </p:txBody>
      </p:sp>
      <p:sp>
        <p:nvSpPr>
          <p:cNvPr id="4" name="Date Placeholder 3"/>
          <p:cNvSpPr>
            <a:spLocks noGrp="1"/>
          </p:cNvSpPr>
          <p:nvPr>
            <p:ph type="dt" sz="half" idx="10"/>
          </p:nvPr>
        </p:nvSpPr>
        <p:spPr/>
        <p:txBody>
          <a:bodyPr/>
          <a:lstStyle/>
          <a:p>
            <a:fld id="{110DB9D9-FCC2-42A1-BC1B-A64962A86ED4}" type="datetimeFigureOut">
              <a:rPr lang="en-GB" smtClean="0"/>
            </a:fld>
            <a:endParaRPr lang="en-GB"/>
          </a:p>
        </p:txBody>
      </p:sp>
      <p:sp>
        <p:nvSpPr>
          <p:cNvPr id="5" name="Footer Placeholder 4"/>
          <p:cNvSpPr>
            <a:spLocks noGrp="1"/>
          </p:cNvSpPr>
          <p:nvPr>
            <p:ph type="ftr" sz="quarter" idx="11"/>
          </p:nvPr>
        </p:nvSpPr>
        <p:spPr>
          <a:xfrm>
            <a:off x="453887" y="5745993"/>
            <a:ext cx="11284224" cy="365125"/>
          </a:xfrm>
        </p:spPr>
        <p:txBody>
          <a:bodyPr/>
          <a:lstStyle/>
          <a:p>
            <a:endParaRPr lang="en-GB"/>
          </a:p>
        </p:txBody>
      </p:sp>
      <p:sp>
        <p:nvSpPr>
          <p:cNvPr id="6" name="Slide Number Placeholder 5"/>
          <p:cNvSpPr>
            <a:spLocks noGrp="1"/>
          </p:cNvSpPr>
          <p:nvPr>
            <p:ph type="sldNum" sz="quarter" idx="12"/>
          </p:nvPr>
        </p:nvSpPr>
        <p:spPr>
          <a:xfrm>
            <a:off x="11328400" y="6308109"/>
            <a:ext cx="409712" cy="365125"/>
          </a:xfrm>
        </p:spPr>
        <p:txBody>
          <a:bodyPr/>
          <a:lstStyle/>
          <a:p>
            <a:fld id="{A2E0DDB5-99C4-40AC-ACF2-13C19674CE84}" type="slidenum">
              <a:rPr lang="en-GB" smtClean="0"/>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3887" y="538045"/>
            <a:ext cx="9421633" cy="586955"/>
          </a:xfrm>
        </p:spPr>
        <p:txBody>
          <a:bodyPr/>
          <a:lstStyle/>
          <a:p>
            <a:r>
              <a:rPr lang="en-US"/>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6" name="Conector recto 4"/>
          <p:cNvCxnSpPr/>
          <p:nvPr userDrawn="1"/>
        </p:nvCxnSpPr>
        <p:spPr>
          <a:xfrm>
            <a:off x="457200" y="1209675"/>
            <a:ext cx="11318875"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5" name="标题 4"/>
          <p:cNvSpPr/>
          <p:nvPr>
            <p:ph type="title"/>
          </p:nvPr>
        </p:nvSpPr>
        <p:spPr>
          <a:xfrm>
            <a:off x="838200" y="691707"/>
            <a:ext cx="10515600" cy="461665"/>
          </a:xfrm>
        </p:spPr>
        <p:txBody>
          <a:bodyPr anchor="b" anchorCtr="0">
            <a:spAutoFit/>
          </a:bodyPr>
          <a:lstStyle>
            <a:lvl1pPr algn="ctr">
              <a:lnSpc>
                <a:spcPct val="100000"/>
              </a:lnSpc>
              <a:defRPr sz="2400">
                <a:solidFill>
                  <a:schemeClr val="accent1"/>
                </a:solidFill>
              </a:defRPr>
            </a:lvl1pPr>
          </a:lstStyle>
          <a:p>
            <a:pPr fontAlgn="auto"/>
            <a:r>
              <a:rPr lang="zh-CN" altLang="en-US" strike="noStrike" noProof="1" dirty="0"/>
              <a:t>单击此处编辑母版标题样式</a:t>
            </a:r>
            <a:endParaRPr lang="zh-CN" altLang="en-US" strike="noStrike" noProof="1" dirty="0"/>
          </a:p>
        </p:txBody>
      </p:sp>
      <p:sp>
        <p:nvSpPr>
          <p:cNvPr id="2" name="日期占位符 1"/>
          <p:cNvSpPr/>
          <p:nvPr>
            <p:ph type="dt" sz="half" idx="10"/>
          </p:nvPr>
        </p:nvSpPr>
        <p:spPr>
          <a:xfrm>
            <a:off x="838200" y="6356350"/>
            <a:ext cx="2743200" cy="365125"/>
          </a:xfrm>
          <a:prstGeom prst="rect">
            <a:avLst/>
          </a:prstGeom>
        </p:spPr>
        <p:txBody>
          <a:bodyPr/>
          <a:lstStyle/>
          <a:p>
            <a:pPr fontAlgn="auto"/>
            <a:fld id="{D997B5FA-0921-464F-AAE1-844C04324D75}" type="datetimeFigureOut">
              <a:rPr lang="zh-CN" altLang="en-US" strike="noStrike" noProof="1" smtClean="0">
                <a:latin typeface="+mn-lt"/>
                <a:ea typeface="+mn-ea"/>
                <a:cs typeface="+mn-cs"/>
              </a:rPr>
            </a:fld>
            <a:endParaRPr lang="zh-CN" altLang="en-US" strike="noStrike" noProof="1"/>
          </a:p>
        </p:txBody>
      </p:sp>
      <p:sp>
        <p:nvSpPr>
          <p:cNvPr id="3" name="页脚占位符 2"/>
          <p:cNvSpPr/>
          <p:nvPr>
            <p:ph type="ftr" sz="quarter" idx="11"/>
          </p:nvPr>
        </p:nvSpPr>
        <p:spPr>
          <a:xfrm>
            <a:off x="4038600" y="6356350"/>
            <a:ext cx="4114800" cy="365125"/>
          </a:xfrm>
          <a:prstGeom prst="rect">
            <a:avLst/>
          </a:prstGeom>
        </p:spPr>
        <p:txBody>
          <a:bodyPr/>
          <a:lstStyle/>
          <a:p>
            <a:pPr fontAlgn="auto"/>
            <a:endParaRPr lang="zh-CN" altLang="en-US" strike="noStrike" noProof="1"/>
          </a:p>
        </p:txBody>
      </p:sp>
      <p:sp>
        <p:nvSpPr>
          <p:cNvPr id="4" name="灯片编号占位符 3"/>
          <p:cNvSpPr/>
          <p:nvPr>
            <p:ph type="sldNum" sz="quarter" idx="12"/>
          </p:nvPr>
        </p:nvSpPr>
        <p:spPr>
          <a:xfrm>
            <a:off x="8610600" y="6356350"/>
            <a:ext cx="2743200" cy="365125"/>
          </a:xfrm>
          <a:prstGeom prst="rect">
            <a:avLst/>
          </a:prstGeom>
        </p:spPr>
        <p:txBody>
          <a:bodyPr/>
          <a:lstStyle/>
          <a:p>
            <a:pPr fontAlgn="auto"/>
            <a:fld id="{565CE74E-AB26-4998-AD42-012C4C1AD076}" type="slidenum">
              <a:rPr lang="zh-CN" altLang="en-US" strike="noStrike" noProof="1" smtClean="0">
                <a:latin typeface="+mn-lt"/>
                <a:ea typeface="+mn-ea"/>
                <a:cs typeface="+mn-cs"/>
              </a:rPr>
            </a:fld>
            <a:endParaRPr lang="zh-CN" altLang="en-US" strike="noStrike" noProof="1"/>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cxnSp>
        <p:nvCxnSpPr>
          <p:cNvPr id="7" name="Conector recto 4"/>
          <p:cNvCxnSpPr/>
          <p:nvPr userDrawn="1"/>
        </p:nvCxnSpPr>
        <p:spPr>
          <a:xfrm>
            <a:off x="479425" y="1008805"/>
            <a:ext cx="1123315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8" name="文本占位符 10"/>
          <p:cNvSpPr>
            <a:spLocks noGrp="1"/>
          </p:cNvSpPr>
          <p:nvPr>
            <p:ph type="body" sz="quarter" idx="10"/>
          </p:nvPr>
        </p:nvSpPr>
        <p:spPr>
          <a:xfrm>
            <a:off x="479424" y="405398"/>
            <a:ext cx="9332233" cy="346249"/>
          </a:xfrm>
          <a:prstGeom prst="rect">
            <a:avLst/>
          </a:prstGeom>
        </p:spPr>
        <p:txBody>
          <a:bodyPr vert="horz" lIns="91440" tIns="45720" rIns="91440" bIns="45720" rtlCol="0" anchor="ctr" anchorCtr="0">
            <a:normAutofit/>
          </a:bodyPr>
          <a:lstStyle>
            <a:lvl1pPr>
              <a:defRPr kumimoji="1" lang="zh-CN" altLang="en-US" sz="2500" b="1" dirty="0">
                <a:solidFill>
                  <a:srgbClr val="000D45"/>
                </a:solidFill>
                <a:latin typeface="微软雅黑" panose="020B0503020204020204" charset="-122"/>
                <a:ea typeface="微软雅黑" panose="020B0503020204020204" charset="-122"/>
                <a:cs typeface="微软雅黑" panose="020B0503020204020204" charset="-122"/>
              </a:defRPr>
            </a:lvl1pPr>
          </a:lstStyle>
          <a:p>
            <a:pPr lvl="0">
              <a:spcBef>
                <a:spcPct val="0"/>
              </a:spcBef>
              <a:buNone/>
            </a:pPr>
            <a:r>
              <a:rPr lang="zh-CN" altLang="en-US"/>
              <a:t>单击此处编辑母版文本样式</a:t>
            </a:r>
            <a:endParaRPr lang="zh-CN" altLang="en-US"/>
          </a:p>
        </p:txBody>
      </p:sp>
      <p:sp>
        <p:nvSpPr>
          <p:cNvPr id="9" name="文本占位符 12"/>
          <p:cNvSpPr>
            <a:spLocks noGrp="1"/>
          </p:cNvSpPr>
          <p:nvPr>
            <p:ph type="body" sz="quarter" idx="11"/>
          </p:nvPr>
        </p:nvSpPr>
        <p:spPr>
          <a:xfrm>
            <a:off x="493939" y="6174700"/>
            <a:ext cx="11233150" cy="107722"/>
          </a:xfrm>
          <a:prstGeom prst="rect">
            <a:avLst/>
          </a:prstGeom>
        </p:spPr>
        <p:txBody>
          <a:bodyPr lIns="0" tIns="0" rIns="0" bIns="0">
            <a:spAutoFit/>
          </a:bodyPr>
          <a:lstStyle>
            <a:lvl1pPr>
              <a:lnSpc>
                <a:spcPct val="100000"/>
              </a:lnSpc>
              <a:spcBef>
                <a:spcPts val="0"/>
              </a:spcBef>
              <a:buFont typeface="+mj-lt"/>
              <a:buAutoNum type="arabicPeriod"/>
              <a:defRPr sz="700">
                <a:solidFill>
                  <a:schemeClr val="tx1"/>
                </a:solidFill>
                <a:latin typeface="+mn-ea"/>
                <a:ea typeface="+mn-ea"/>
                <a:cs typeface="AR Fruda Sans Flat" panose="020B0600000000000000" charset="0"/>
              </a:defRPr>
            </a:lvl1pPr>
            <a:lvl2pPr marL="457200" indent="0">
              <a:buNone/>
              <a:defRPr/>
            </a:lvl2pPr>
          </a:lstStyle>
          <a:p>
            <a:pPr lvl="0"/>
            <a:r>
              <a:rPr lang="zh-CN" altLang="en-US"/>
              <a:t>单击此处编辑母版文本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1.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vmlDrawing" Target="../drawings/vmlDrawing1.vml"/><Relationship Id="rId11" Type="http://schemas.openxmlformats.org/officeDocument/2006/relationships/image" Target="../media/image1.emf"/><Relationship Id="rId10" Type="http://schemas.openxmlformats.org/officeDocument/2006/relationships/oleObject" Target="../embeddings/oleObject1.bin"/><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6" Type="http://schemas.openxmlformats.org/officeDocument/2006/relationships/theme" Target="../theme/theme3.xml"/><Relationship Id="rId15" Type="http://schemas.openxmlformats.org/officeDocument/2006/relationships/vmlDrawing" Target="../drawings/vmlDrawing3.vml"/><Relationship Id="rId14" Type="http://schemas.openxmlformats.org/officeDocument/2006/relationships/image" Target="../media/image13.png"/><Relationship Id="rId13" Type="http://schemas.openxmlformats.org/officeDocument/2006/relationships/image" Target="../media/image1.emf"/><Relationship Id="rId12" Type="http://schemas.openxmlformats.org/officeDocument/2006/relationships/oleObject" Target="../embeddings/oleObject3.bin"/><Relationship Id="rId11" Type="http://schemas.openxmlformats.org/officeDocument/2006/relationships/tags" Target="../tags/tag10.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0.xml"/><Relationship Id="rId8" Type="http://schemas.openxmlformats.org/officeDocument/2006/relationships/slideLayout" Target="../slideLayouts/slideLayout29.xml"/><Relationship Id="rId7" Type="http://schemas.openxmlformats.org/officeDocument/2006/relationships/slideLayout" Target="../slideLayouts/slideLayout28.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3" Type="http://schemas.openxmlformats.org/officeDocument/2006/relationships/slideLayout" Target="../slideLayouts/slideLayout24.xml"/><Relationship Id="rId21" Type="http://schemas.openxmlformats.org/officeDocument/2006/relationships/theme" Target="../theme/theme4.xml"/><Relationship Id="rId20" Type="http://schemas.openxmlformats.org/officeDocument/2006/relationships/vmlDrawing" Target="../drawings/vmlDrawing4.vml"/><Relationship Id="rId2" Type="http://schemas.openxmlformats.org/officeDocument/2006/relationships/slideLayout" Target="../slideLayouts/slideLayout23.xml"/><Relationship Id="rId19" Type="http://schemas.openxmlformats.org/officeDocument/2006/relationships/image" Target="../media/image15.png"/><Relationship Id="rId18" Type="http://schemas.openxmlformats.org/officeDocument/2006/relationships/image" Target="../media/image14.png"/><Relationship Id="rId17" Type="http://schemas.openxmlformats.org/officeDocument/2006/relationships/image" Target="../media/image1.emf"/><Relationship Id="rId16" Type="http://schemas.openxmlformats.org/officeDocument/2006/relationships/oleObject" Target="../embeddings/oleObject4.bin"/><Relationship Id="rId15" Type="http://schemas.openxmlformats.org/officeDocument/2006/relationships/tags" Target="../tags/tag15.xml"/><Relationship Id="rId14" Type="http://schemas.openxmlformats.org/officeDocument/2006/relationships/slideLayout" Target="../slideLayouts/slideLayout35.xml"/><Relationship Id="rId13" Type="http://schemas.openxmlformats.org/officeDocument/2006/relationships/slideLayout" Target="../slideLayouts/slideLayout34.xml"/><Relationship Id="rId12" Type="http://schemas.openxmlformats.org/officeDocument/2006/relationships/slideLayout" Target="../slideLayouts/slideLayout33.xml"/><Relationship Id="rId11" Type="http://schemas.openxmlformats.org/officeDocument/2006/relationships/slideLayout" Target="../slideLayouts/slideLayout32.xml"/><Relationship Id="rId10" Type="http://schemas.openxmlformats.org/officeDocument/2006/relationships/slideLayout" Target="../slideLayouts/slideLayout31.xml"/><Relationship Id="rId1"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emf"/><Relationship Id="rId7" Type="http://schemas.openxmlformats.org/officeDocument/2006/relationships/oleObject" Target="../embeddings/oleObject5.bin"/><Relationship Id="rId6" Type="http://schemas.openxmlformats.org/officeDocument/2006/relationships/tags" Target="../tags/tag16.xml"/><Relationship Id="rId5" Type="http://schemas.openxmlformats.org/officeDocument/2006/relationships/slideLayout" Target="../slideLayouts/slideLayout40.xml"/><Relationship Id="rId4" Type="http://schemas.openxmlformats.org/officeDocument/2006/relationships/slideLayout" Target="../slideLayouts/slideLayout39.xml"/><Relationship Id="rId3" Type="http://schemas.openxmlformats.org/officeDocument/2006/relationships/slideLayout" Target="../slideLayouts/slideLayout38.xml"/><Relationship Id="rId2" Type="http://schemas.openxmlformats.org/officeDocument/2006/relationships/slideLayout" Target="../slideLayouts/slideLayout37.xml"/><Relationship Id="rId11" Type="http://schemas.openxmlformats.org/officeDocument/2006/relationships/theme" Target="../theme/theme5.xml"/><Relationship Id="rId10" Type="http://schemas.openxmlformats.org/officeDocument/2006/relationships/vmlDrawing" Target="../drawings/vmlDrawing5.vml"/><Relationship Id="rId1"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17.jpeg"/><Relationship Id="rId7" Type="http://schemas.openxmlformats.org/officeDocument/2006/relationships/image" Target="../media/image1.emf"/><Relationship Id="rId6" Type="http://schemas.openxmlformats.org/officeDocument/2006/relationships/oleObject" Target="../embeddings/oleObject6.bin"/><Relationship Id="rId5" Type="http://schemas.openxmlformats.org/officeDocument/2006/relationships/tags" Target="../tags/tag17.xml"/><Relationship Id="rId4" Type="http://schemas.openxmlformats.org/officeDocument/2006/relationships/slideLayout" Target="../slideLayouts/slideLayout44.xml"/><Relationship Id="rId3" Type="http://schemas.openxmlformats.org/officeDocument/2006/relationships/slideLayout" Target="../slideLayouts/slideLayout43.xml"/><Relationship Id="rId2" Type="http://schemas.openxmlformats.org/officeDocument/2006/relationships/slideLayout" Target="../slideLayouts/slideLayout42.xml"/><Relationship Id="rId10" Type="http://schemas.openxmlformats.org/officeDocument/2006/relationships/theme" Target="../theme/theme6.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0" imgW="0" imgH="0" progId="TCLayout.ActiveDocument.1">
                  <p:embed/>
                </p:oleObj>
              </mc:Choice>
              <mc:Fallback>
                <p:oleObj name="think-cell 幻灯片" r:id="rId10" imgW="0" imgH="0" progId="TCLayout.ActiveDocument.1">
                  <p:embed/>
                  <p:pic>
                    <p:nvPicPr>
                      <p:cNvPr id="0"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5" imgW="0" imgH="0" progId="TCLayout.ActiveDocument.1">
                  <p:embed/>
                </p:oleObj>
              </mc:Choice>
              <mc:Fallback>
                <p:oleObj name="think-cell 幻灯片" r:id="rId5" imgW="0" imgH="0"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hf hdr="0" ftr="0" dt="0"/>
  <p:txStyles>
    <p:titleStyle>
      <a:lvl1pPr algn="l" defTabSz="914400" rtl="0" eaLnBrk="1" latinLnBrk="0" hangingPunct="1">
        <a:lnSpc>
          <a:spcPct val="90000"/>
        </a:lnSpc>
        <a:spcBef>
          <a:spcPct val="0"/>
        </a:spcBef>
        <a:buNone/>
        <a:defRPr sz="4400" b="1"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4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90204" pitchFamily="34" charset="0"/>
        <a:buChar char="•"/>
        <a:defRPr sz="20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6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6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2" imgW="0" imgH="0" progId="TCLayout.ActiveDocument.1">
                  <p:embed/>
                </p:oleObj>
              </mc:Choice>
              <mc:Fallback>
                <p:oleObj name="think-cell 幻灯片" r:id="rId12" imgW="0" imgH="0" progId="TCLayout.ActiveDocument.1">
                  <p:embed/>
                  <p:pic>
                    <p:nvPicPr>
                      <p:cNvPr id="0" name="think-cell data - do not delete"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33136" y="756259"/>
            <a:ext cx="10916275" cy="332399"/>
          </a:xfrm>
          <a:prstGeom prst="rect">
            <a:avLst/>
          </a:prstGeom>
        </p:spPr>
        <p:txBody>
          <a:bodyPr vert="horz" wrap="square" lIns="0" tIns="0" rIns="0" bIns="0" rtlCol="0" anchor="t" anchorCtr="0">
            <a:spAutoFit/>
          </a:bodyPr>
          <a:lstStyle/>
          <a:p>
            <a:r>
              <a:rPr lang="en-US"/>
              <a:t>Click to edit Master title style</a:t>
            </a:r>
            <a:endParaRPr lang="en-US"/>
          </a:p>
        </p:txBody>
      </p:sp>
      <p:sp>
        <p:nvSpPr>
          <p:cNvPr id="4" name="Text Placeholder 2"/>
          <p:cNvSpPr>
            <a:spLocks noGrp="1"/>
          </p:cNvSpPr>
          <p:nvPr>
            <p:ph type="body" idx="1"/>
          </p:nvPr>
        </p:nvSpPr>
        <p:spPr>
          <a:xfrm>
            <a:off x="635812" y="1422380"/>
            <a:ext cx="10916275" cy="1264642"/>
          </a:xfrm>
          <a:prstGeom prst="rect">
            <a:avLst/>
          </a:prstGeom>
        </p:spPr>
        <p:txBody>
          <a:bodyPr vert="horz" wrap="square" lIns="0" tIns="0" rIns="0" bIns="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Imagen 7"/>
          <p:cNvPicPr>
            <a:picLocks noChangeAspect="1"/>
          </p:cNvPicPr>
          <p:nvPr userDrawn="1"/>
        </p:nvPicPr>
        <p:blipFill rotWithShape="1">
          <a:blip r:embed="rId14"/>
          <a:srcRect t="93347" b="2287"/>
          <a:stretch>
            <a:fillRect/>
          </a:stretch>
        </p:blipFill>
        <p:spPr>
          <a:xfrm>
            <a:off x="1345985" y="6393276"/>
            <a:ext cx="10759440" cy="264256"/>
          </a:xfrm>
          <a:prstGeom prst="rect">
            <a:avLst/>
          </a:prstGeom>
        </p:spPr>
      </p:pic>
      <p:cxnSp>
        <p:nvCxnSpPr>
          <p:cNvPr id="7"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2400" kern="1200">
          <a:solidFill>
            <a:schemeClr val="tx2"/>
          </a:solidFill>
          <a:latin typeface="Arial Black" panose="020B0A04020102020204" pitchFamily="34" charset="0"/>
          <a:ea typeface="+mj-ea"/>
          <a:cs typeface="+mj-cs"/>
        </a:defRPr>
      </a:lvl1pPr>
    </p:titleStyle>
    <p:bodyStyle>
      <a:lvl1pPr marL="0" indent="0" algn="l" defTabSz="914400" rtl="0" eaLnBrk="1" latinLnBrk="0" hangingPunct="1">
        <a:lnSpc>
          <a:spcPct val="110000"/>
        </a:lnSpc>
        <a:spcBef>
          <a:spcPts val="1000"/>
        </a:spcBef>
        <a:buFont typeface="Arial" panose="020B0604020202090204" pitchFamily="34" charset="0"/>
        <a:buNone/>
        <a:defRPr sz="1400" b="1" kern="1200">
          <a:solidFill>
            <a:schemeClr val="tx2"/>
          </a:solidFill>
          <a:latin typeface="Arial" panose="020B0604020202090204" pitchFamily="34" charset="0"/>
          <a:ea typeface="+mn-ea"/>
          <a:cs typeface="Arial" panose="020B0604020202090204" pitchFamily="34" charset="0"/>
        </a:defRPr>
      </a:lvl1pPr>
      <a:lvl2pPr marL="0" indent="0" algn="l" defTabSz="914400" rtl="0" eaLnBrk="1" latinLnBrk="0" hangingPunct="1">
        <a:lnSpc>
          <a:spcPct val="110000"/>
        </a:lnSpc>
        <a:spcBef>
          <a:spcPts val="600"/>
        </a:spcBef>
        <a:buFont typeface="Arial" panose="020B0604020202090204" pitchFamily="34" charset="0"/>
        <a:buNone/>
        <a:defRPr sz="1200" kern="1200">
          <a:solidFill>
            <a:schemeClr val="tx1"/>
          </a:solidFill>
          <a:latin typeface="Arial" panose="020B0604020202090204" pitchFamily="34" charset="0"/>
          <a:ea typeface="+mn-ea"/>
          <a:cs typeface="Arial" panose="020B0604020202090204" pitchFamily="34" charset="0"/>
        </a:defRPr>
      </a:lvl2pPr>
      <a:lvl3pPr marL="116205" indent="-116205" algn="l" defTabSz="914400" rtl="0" eaLnBrk="1" latinLnBrk="0" hangingPunct="1">
        <a:lnSpc>
          <a:spcPct val="110000"/>
        </a:lnSpc>
        <a:spcBef>
          <a:spcPts val="5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3pPr>
      <a:lvl4pPr marL="285750" indent="-170180" algn="l" defTabSz="914400" rtl="0" eaLnBrk="1" latinLnBrk="0" hangingPunct="1">
        <a:lnSpc>
          <a:spcPct val="110000"/>
        </a:lnSpc>
        <a:spcBef>
          <a:spcPts val="4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4pPr>
      <a:lvl5pPr marL="457200" indent="-171450" algn="l" defTabSz="914400" rtl="0" eaLnBrk="1" latinLnBrk="0" hangingPunct="1">
        <a:lnSpc>
          <a:spcPct val="110000"/>
        </a:lnSpc>
        <a:spcBef>
          <a:spcPts val="300"/>
        </a:spcBef>
        <a:buClr>
          <a:schemeClr val="bg2"/>
        </a:buClr>
        <a:buFont typeface="Courier New" panose="02070409020205090404" pitchFamily="49" charset="0"/>
        <a:buChar char="o"/>
        <a:defRPr sz="1200" kern="1200">
          <a:solidFill>
            <a:schemeClr val="tx1"/>
          </a:solidFill>
          <a:latin typeface="Arial" panose="020B0604020202090204" pitchFamily="34" charset="0"/>
          <a:ea typeface="+mn-ea"/>
          <a:cs typeface="Arial" panose="020B060402020209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6" imgW="0" imgH="0" progId="TCLayout.ActiveDocument.1">
                  <p:embed/>
                </p:oleObj>
              </mc:Choice>
              <mc:Fallback>
                <p:oleObj name="think-cell 幻灯片" r:id="rId16" imgW="0" imgH="0" progId="TCLayout.ActiveDocument.1">
                  <p:embed/>
                  <p:pic>
                    <p:nvPicPr>
                      <p:cNvPr id="0"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9" name="Imagen 8"/>
          <p:cNvPicPr>
            <a:picLocks noChangeAspect="1"/>
          </p:cNvPicPr>
          <p:nvPr userDrawn="1"/>
        </p:nvPicPr>
        <p:blipFill>
          <a:blip r:embed="rId18"/>
          <a:stretch>
            <a:fillRect/>
          </a:stretch>
        </p:blipFill>
        <p:spPr>
          <a:xfrm>
            <a:off x="0" y="0"/>
            <a:ext cx="12192000" cy="6858000"/>
          </a:xfrm>
          <a:prstGeom prst="rect">
            <a:avLst/>
          </a:prstGeom>
        </p:spPr>
      </p:pic>
      <p:sp>
        <p:nvSpPr>
          <p:cNvPr id="3" name="Marcador de título 1"/>
          <p:cNvSpPr>
            <a:spLocks noGrp="1"/>
          </p:cNvSpPr>
          <p:nvPr>
            <p:ph type="title"/>
          </p:nvPr>
        </p:nvSpPr>
        <p:spPr>
          <a:xfrm>
            <a:off x="1017105" y="2103437"/>
            <a:ext cx="5257800" cy="1325563"/>
          </a:xfrm>
          <a:prstGeom prst="rect">
            <a:avLst/>
          </a:prstGeom>
        </p:spPr>
        <p:txBody>
          <a:bodyPr vert="horz" lIns="91440" tIns="45720" rIns="91440" bIns="45720" rtlCol="0" anchor="ctr">
            <a:normAutofit/>
          </a:bodyPr>
          <a:lstStyle/>
          <a:p>
            <a:r>
              <a:rPr lang="es-MX"/>
              <a:t>Haz clic para modificar el estilo de título del patrón</a:t>
            </a:r>
            <a:endParaRPr lang="es-MX"/>
          </a:p>
        </p:txBody>
      </p:sp>
      <p:sp>
        <p:nvSpPr>
          <p:cNvPr id="4" name="Marcador de texto 2"/>
          <p:cNvSpPr>
            <a:spLocks noGrp="1"/>
          </p:cNvSpPr>
          <p:nvPr>
            <p:ph type="body" idx="1"/>
          </p:nvPr>
        </p:nvSpPr>
        <p:spPr>
          <a:xfrm>
            <a:off x="6861312" y="1825625"/>
            <a:ext cx="4989443" cy="2885523"/>
          </a:xfrm>
          <a:prstGeom prst="rect">
            <a:avLst/>
          </a:prstGeom>
        </p:spPr>
        <p:txBody>
          <a:bodyPr vert="horz" lIns="91440" tIns="45720" rIns="91440" bIns="45720" rtlCol="0">
            <a:normAutofit/>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3"/>
          </p:nvPr>
        </p:nvSpPr>
        <p:spPr>
          <a:xfrm>
            <a:off x="6861313" y="6356350"/>
            <a:ext cx="4041913" cy="365125"/>
          </a:xfrm>
          <a:prstGeom prst="rect">
            <a:avLst/>
          </a:prstGeom>
        </p:spPr>
        <p:txBody>
          <a:bodyPr vert="horz" lIns="91440" tIns="45720" rIns="91440" bIns="45720" rtlCol="0" anchor="ctr"/>
          <a:lstStyle>
            <a:lvl1pPr algn="l">
              <a:defRPr sz="1000" b="0" i="0">
                <a:solidFill>
                  <a:schemeClr val="tx1">
                    <a:tint val="82000"/>
                  </a:schemeClr>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6" name="Marcador de número de diapositiva 5"/>
          <p:cNvSpPr>
            <a:spLocks noGrp="1"/>
          </p:cNvSpPr>
          <p:nvPr>
            <p:ph type="sldNum" sz="quarter" idx="4"/>
          </p:nvPr>
        </p:nvSpPr>
        <p:spPr>
          <a:xfrm>
            <a:off x="11320669" y="6356350"/>
            <a:ext cx="530085" cy="365125"/>
          </a:xfrm>
          <a:prstGeom prst="rect">
            <a:avLst/>
          </a:prstGeom>
        </p:spPr>
        <p:txBody>
          <a:bodyPr vert="horz" lIns="91440" tIns="45720" rIns="91440" bIns="45720" rtlCol="0" anchor="ctr"/>
          <a:lstStyle>
            <a:lvl1pPr algn="r">
              <a:defRPr sz="1000" b="1" i="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27323E4-0D45-5449-B3F2-446898E0DEFF}" type="slidenum">
              <a:rPr lang="es-MX" smtClean="0"/>
            </a:fld>
            <a:endParaRPr lang="es-MX"/>
          </a:p>
        </p:txBody>
      </p:sp>
      <p:pic>
        <p:nvPicPr>
          <p:cNvPr id="7" name="Imagen 6"/>
          <p:cNvPicPr>
            <a:picLocks noChangeAspect="1"/>
          </p:cNvPicPr>
          <p:nvPr userDrawn="1"/>
        </p:nvPicPr>
        <p:blipFill>
          <a:blip r:embed="rId19"/>
          <a:stretch>
            <a:fillRect/>
          </a:stretch>
        </p:blipFill>
        <p:spPr>
          <a:xfrm>
            <a:off x="327991" y="322688"/>
            <a:ext cx="1083365" cy="446726"/>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r" defTabSz="914400" rtl="0" eaLnBrk="1" latinLnBrk="0" hangingPunct="1">
        <a:lnSpc>
          <a:spcPct val="90000"/>
        </a:lnSpc>
        <a:spcBef>
          <a:spcPct val="0"/>
        </a:spcBef>
        <a:buNone/>
        <a:defRPr sz="4400" b="1" i="0" kern="1200">
          <a:solidFill>
            <a:schemeClr val="bg1"/>
          </a:solidFill>
          <a:latin typeface="AR Fruda Sans Flat" panose="020B0600000000000000" charset="0"/>
          <a:ea typeface="AR Fruda Sans Flat" panose="020B0600000000000000" charset="0"/>
          <a:cs typeface="AR Fruda Sans Flat" panose="020B0600000000000000"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90204" pitchFamily="34" charset="0"/>
        <a:buChar char="•"/>
        <a:defRPr sz="2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9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7" imgW="0" imgH="0" progId="TCLayout.ActiveDocument.1">
                  <p:embed/>
                </p:oleObj>
              </mc:Choice>
              <mc:Fallback>
                <p:oleObj name="think-cell 幻灯片" r:id="rId7" imgW="0" imgH="0" progId="TCLayout.ActiveDocument.1">
                  <p:embed/>
                  <p:pic>
                    <p:nvPicPr>
                      <p:cNvPr id="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9"/>
          <a:stretch>
            <a:fillRect/>
          </a:stretch>
        </p:blipFill>
        <p:spPr>
          <a:xfrm>
            <a:off x="0" y="0"/>
            <a:ext cx="12192000" cy="6858000"/>
          </a:xfrm>
          <a:prstGeom prst="rect">
            <a:avLst/>
          </a:prstGeom>
        </p:spPr>
      </p:pic>
      <p:sp>
        <p:nvSpPr>
          <p:cNvPr id="3"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MX"/>
              <a:t>Haz clic para modificar el estilo de título del patrón</a:t>
            </a:r>
            <a:endParaRPr lang="es-MX"/>
          </a:p>
        </p:txBody>
      </p:sp>
      <p:sp>
        <p:nvSpPr>
          <p:cNvPr id="4"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F91FEE2E-E3E2-1144-B46F-2DF2C679CFFE}" type="datetime1">
              <a:rPr lang="es-MX" smtClean="0"/>
            </a:fld>
            <a:endParaRPr lang="es-MX"/>
          </a:p>
        </p:txBody>
      </p:sp>
      <p:sp>
        <p:nvSpPr>
          <p:cNvPr id="6"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7" name="Marcador de número de diapositiva 5"/>
          <p:cNvSpPr>
            <a:spLocks noGrp="1"/>
          </p:cNvSpPr>
          <p:nvPr>
            <p:ph type="sldNum" sz="quarter" idx="4"/>
          </p:nvPr>
        </p:nvSpPr>
        <p:spPr>
          <a:xfrm>
            <a:off x="9008165" y="6356350"/>
            <a:ext cx="2743200" cy="365125"/>
          </a:xfrm>
          <a:prstGeom prst="rect">
            <a:avLst/>
          </a:prstGeom>
        </p:spPr>
        <p:txBody>
          <a:bodyPr vert="horz" lIns="91440" tIns="45720" rIns="91440" bIns="45720" rtlCol="0" anchor="ctr"/>
          <a:lstStyle>
            <a:lvl1pPr algn="r">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F9411E57-B2E3-2F4E-AB22-C1FEF57AE029}" type="slidenum">
              <a:rPr lang="es-MX" smtClean="0"/>
            </a:fld>
            <a:endParaRPr lang="es-MX"/>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hdr="0" ftr="0" dt="0"/>
  <p:txStyles>
    <p:titleStyle>
      <a:lvl1pPr algn="l" defTabSz="914400" rtl="0" eaLnBrk="1" latinLnBrk="0" hangingPunct="1">
        <a:lnSpc>
          <a:spcPct val="90000"/>
        </a:lnSpc>
        <a:spcBef>
          <a:spcPct val="0"/>
        </a:spcBef>
        <a:buNone/>
        <a:defRPr sz="4400" b="1" i="0" kern="1200">
          <a:solidFill>
            <a:schemeClr val="bg1"/>
          </a:solidFill>
          <a:latin typeface="AR Fruda Sans Flat" panose="020B0600000000000000" charset="0"/>
          <a:ea typeface="AR Fruda Sans Flat" panose="020B0600000000000000" charset="0"/>
          <a:cs typeface="AR Fruda Sans Flat" panose="020B0600000000000000"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b="0" i="0" kern="1200">
          <a:solidFill>
            <a:schemeClr val="bg1"/>
          </a:solidFill>
          <a:latin typeface="AR Fruda Sans Flat" panose="020B0600000000000000" charset="0"/>
          <a:ea typeface="AR Fruda Sans Flat" panose="020B0600000000000000" charset="0"/>
          <a:cs typeface="AR Fruda Sans Flat" panose="020B0600000000000000" charset="0"/>
        </a:defRPr>
      </a:lvl1pPr>
      <a:lvl2pPr marL="685800" indent="-228600" algn="l" defTabSz="914400" rtl="0" eaLnBrk="1" latinLnBrk="0" hangingPunct="1">
        <a:lnSpc>
          <a:spcPct val="90000"/>
        </a:lnSpc>
        <a:spcBef>
          <a:spcPts val="500"/>
        </a:spcBef>
        <a:buFont typeface="Arial" panose="020B0604020202090204" pitchFamily="34" charset="0"/>
        <a:buChar char="•"/>
        <a:defRPr sz="2400" b="0" i="0" kern="1200">
          <a:solidFill>
            <a:schemeClr val="bg1"/>
          </a:solidFill>
          <a:latin typeface="AR Fruda Sans Flat" panose="020B0600000000000000" charset="0"/>
          <a:ea typeface="AR Fruda Sans Flat" panose="020B0600000000000000" charset="0"/>
          <a:cs typeface="AR Fruda Sans Flat" panose="020B0600000000000000" charset="0"/>
        </a:defRPr>
      </a:lvl2pPr>
      <a:lvl3pPr marL="1143000" indent="-228600" algn="l" defTabSz="914400" rtl="0" eaLnBrk="1" latinLnBrk="0" hangingPunct="1">
        <a:lnSpc>
          <a:spcPct val="90000"/>
        </a:lnSpc>
        <a:spcBef>
          <a:spcPts val="500"/>
        </a:spcBef>
        <a:buFont typeface="Arial" panose="020B0604020202090204" pitchFamily="34" charset="0"/>
        <a:buChar char="•"/>
        <a:defRPr sz="2000" b="0" i="0" kern="1200">
          <a:solidFill>
            <a:schemeClr val="bg1"/>
          </a:solidFill>
          <a:latin typeface="AR Fruda Sans Flat" panose="020B0600000000000000" charset="0"/>
          <a:ea typeface="AR Fruda Sans Flat" panose="020B0600000000000000" charset="0"/>
          <a:cs typeface="AR Fruda Sans Flat" panose="020B0600000000000000"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AR Fruda Sans Flat" panose="020B0600000000000000" charset="0"/>
          <a:ea typeface="AR Fruda Sans Flat" panose="020B0600000000000000" charset="0"/>
          <a:cs typeface="AR Fruda Sans Flat" panose="020B0600000000000000"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AR Fruda Sans Flat" panose="020B0600000000000000" charset="0"/>
          <a:ea typeface="AR Fruda Sans Flat" panose="020B0600000000000000" charset="0"/>
          <a:cs typeface="AR Fruda Sans Flat" panose="020B0600000000000000"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6" imgW="0" imgH="0" progId="TCLayout.ActiveDocument.1">
                  <p:embed/>
                </p:oleObj>
              </mc:Choice>
              <mc:Fallback>
                <p:oleObj name="think-cell 幻灯片" r:id="rId6" imgW="0" imgH="0" progId="TCLayout.ActiveDocument.1">
                  <p:embed/>
                  <p:pic>
                    <p:nvPicPr>
                      <p:cNvPr id="0"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图片 9"/>
          <p:cNvPicPr>
            <a:picLocks noChangeAspect="1"/>
          </p:cNvPicPr>
          <p:nvPr userDrawn="1"/>
        </p:nvPicPr>
        <p:blipFill>
          <a:blip r:embed="rId8"/>
          <a:srcRect t="3019" r="51084" b="65555"/>
          <a:stretch>
            <a:fillRect/>
          </a:stretch>
        </p:blipFill>
        <p:spPr>
          <a:xfrm flipH="1">
            <a:off x="0" y="0"/>
            <a:ext cx="12192000" cy="1166882"/>
          </a:xfrm>
          <a:prstGeom prst="rect">
            <a:avLst/>
          </a:prstGeom>
        </p:spPr>
      </p:pic>
      <p:pic>
        <p:nvPicPr>
          <p:cNvPr id="9" name="图片 8"/>
          <p:cNvPicPr>
            <a:picLocks noChangeAspect="1"/>
          </p:cNvPicPr>
          <p:nvPr userDrawn="1"/>
        </p:nvPicPr>
        <p:blipFill>
          <a:blip r:embed="rId8">
            <a:alphaModFix amt="62000"/>
          </a:blip>
          <a:srcRect t="58148" b="4000"/>
          <a:stretch>
            <a:fillRect/>
          </a:stretch>
        </p:blipFill>
        <p:spPr>
          <a:xfrm>
            <a:off x="0" y="4448174"/>
            <a:ext cx="12192000" cy="2409825"/>
          </a:xfrm>
          <a:prstGeom prst="rect">
            <a:avLst/>
          </a:prstGeom>
        </p:spPr>
      </p:pic>
      <p:grpSp>
        <p:nvGrpSpPr>
          <p:cNvPr id="18" name="组合 17" hidden="1"/>
          <p:cNvGrpSpPr/>
          <p:nvPr userDrawn="1"/>
        </p:nvGrpSpPr>
        <p:grpSpPr>
          <a:xfrm>
            <a:off x="2676749" y="7310507"/>
            <a:ext cx="6838503" cy="538091"/>
            <a:chOff x="1924050" y="2538482"/>
            <a:chExt cx="6838503" cy="538091"/>
          </a:xfrm>
        </p:grpSpPr>
        <p:sp>
          <p:nvSpPr>
            <p:cNvPr id="14" name="矩形 13"/>
            <p:cNvSpPr/>
            <p:nvPr userDrawn="1"/>
          </p:nvSpPr>
          <p:spPr>
            <a:xfrm>
              <a:off x="1924050" y="2538482"/>
              <a:ext cx="1447800" cy="538091"/>
            </a:xfrm>
            <a:prstGeom prst="rect">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nvSpPr>
          <p:spPr>
            <a:xfrm>
              <a:off x="5517852" y="2538482"/>
              <a:ext cx="1447800" cy="538091"/>
            </a:xfrm>
            <a:prstGeom prst="rect">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userDrawn="1"/>
          </p:nvSpPr>
          <p:spPr>
            <a:xfrm>
              <a:off x="3720951" y="2538482"/>
              <a:ext cx="1447800" cy="538091"/>
            </a:xfrm>
            <a:prstGeom prst="rect">
              <a:avLst/>
            </a:prstGeom>
            <a:solidFill>
              <a:srgbClr val="F2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nvSpPr>
          <p:spPr>
            <a:xfrm>
              <a:off x="7314753" y="2538482"/>
              <a:ext cx="1447800" cy="538091"/>
            </a:xfrm>
            <a:prstGeom prst="rect">
              <a:avLst/>
            </a:prstGeom>
            <a:solidFill>
              <a:srgbClr val="F2FC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9" Type="http://schemas.openxmlformats.org/officeDocument/2006/relationships/tags" Target="../tags/tag58.xml"/><Relationship Id="rId8" Type="http://schemas.openxmlformats.org/officeDocument/2006/relationships/tags" Target="../tags/tag57.xml"/><Relationship Id="rId7" Type="http://schemas.openxmlformats.org/officeDocument/2006/relationships/tags" Target="../tags/tag56.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3" Type="http://schemas.openxmlformats.org/officeDocument/2006/relationships/tags" Target="../tags/tag52.xml"/><Relationship Id="rId2" Type="http://schemas.openxmlformats.org/officeDocument/2006/relationships/tags" Target="../tags/tag51.xml"/><Relationship Id="rId10" Type="http://schemas.openxmlformats.org/officeDocument/2006/relationships/slideLayout" Target="../slideLayouts/slideLayout6.xml"/><Relationship Id="rId1" Type="http://schemas.openxmlformats.org/officeDocument/2006/relationships/tags" Target="../tags/tag50.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0.png"/></Relationships>
</file>

<file path=ppt/slides/_rels/slide12.xml.rels><?xml version="1.0" encoding="UTF-8" standalone="yes"?>
<Relationships xmlns="http://schemas.openxmlformats.org/package/2006/relationships"><Relationship Id="rId7" Type="http://schemas.openxmlformats.org/officeDocument/2006/relationships/vmlDrawing" Target="../drawings/vmlDrawing8.vml"/><Relationship Id="rId6"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8.bin"/><Relationship Id="rId3" Type="http://schemas.openxmlformats.org/officeDocument/2006/relationships/tags" Target="../tags/tag59.xml"/><Relationship Id="rId2" Type="http://schemas.openxmlformats.org/officeDocument/2006/relationships/chart" Target="../charts/chart5.xml"/><Relationship Id="rId1"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chart" Target="../charts/chart6.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8.xml"/><Relationship Id="rId2" Type="http://schemas.openxmlformats.org/officeDocument/2006/relationships/chart" Target="../charts/chart8.xml"/><Relationship Id="rId1" Type="http://schemas.openxmlformats.org/officeDocument/2006/relationships/chart" Target="../charts/chart7.xml"/></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3.xml"/><Relationship Id="rId8" Type="http://schemas.openxmlformats.org/officeDocument/2006/relationships/tags" Target="../tags/tag60.xml"/><Relationship Id="rId7" Type="http://schemas.openxmlformats.org/officeDocument/2006/relationships/image" Target="../media/image39.png"/><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3" Type="http://schemas.openxmlformats.org/officeDocument/2006/relationships/image" Target="../media/image35.png"/><Relationship Id="rId2" Type="http://schemas.openxmlformats.org/officeDocument/2006/relationships/image" Target="../media/image34.png"/><Relationship Id="rId10" Type="http://schemas.openxmlformats.org/officeDocument/2006/relationships/notesSlide" Target="../notesSlides/notesSlide9.xml"/><Relationship Id="rId1" Type="http://schemas.openxmlformats.org/officeDocument/2006/relationships/image" Target="../media/image33.png"/></Relationships>
</file>

<file path=ppt/slides/_rels/slide16.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slideLayout" Target="../slideLayouts/slideLayout7.xml"/><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61.xml"/><Relationship Id="rId1" Type="http://schemas.openxmlformats.org/officeDocument/2006/relationships/chart" Target="../charts/chart9.xml"/></Relationships>
</file>

<file path=ppt/slides/_rels/slide17.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65.xml"/><Relationship Id="rId7" Type="http://schemas.openxmlformats.org/officeDocument/2006/relationships/tags" Target="../tags/tag64.xml"/><Relationship Id="rId6" Type="http://schemas.openxmlformats.org/officeDocument/2006/relationships/tags" Target="../tags/tag63.xml"/><Relationship Id="rId5" Type="http://schemas.openxmlformats.org/officeDocument/2006/relationships/hyperlink" Target="https://www.who.int/publications/i/item/9789240094000" TargetMode="Externa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62.xml"/><Relationship Id="rId11" Type="http://schemas.openxmlformats.org/officeDocument/2006/relationships/notesSlide" Target="../notesSlides/notesSlide10.xml"/><Relationship Id="rId10" Type="http://schemas.openxmlformats.org/officeDocument/2006/relationships/vmlDrawing" Target="../drawings/vmlDrawing10.vml"/><Relationship Id="rId1" Type="http://schemas.openxmlformats.org/officeDocument/2006/relationships/chart" Target="../charts/chart10.xml"/></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3.xml"/><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chart" Target="../charts/chart11.xml"/></Relationships>
</file>

<file path=ppt/slides/_rels/slide19.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chart" Target="../charts/chart17.xml"/><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chart" Target="../charts/char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3.xml"/><Relationship Id="rId2" Type="http://schemas.openxmlformats.org/officeDocument/2006/relationships/chart" Target="../charts/chart19.xml"/><Relationship Id="rId1" Type="http://schemas.openxmlformats.org/officeDocument/2006/relationships/chart" Target="../charts/chart18.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14.xml"/><Relationship Id="rId4" Type="http://schemas.openxmlformats.org/officeDocument/2006/relationships/slideLayout" Target="../slideLayouts/slideLayout3.xml"/><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chart" Target="../charts/char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tags" Target="../tags/tag66.xml"/></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8.xml"/><Relationship Id="rId2" Type="http://schemas.openxmlformats.org/officeDocument/2006/relationships/image" Target="../media/image40.png"/><Relationship Id="rId1" Type="http://schemas.openxmlformats.org/officeDocument/2006/relationships/tags" Target="../tags/tag6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image" Target="../media/image42.png"/></Relationships>
</file>

<file path=ppt/slides/_rels/slide3.xml.rels><?xml version="1.0" encoding="UTF-8" standalone="yes"?>
<Relationships xmlns="http://schemas.openxmlformats.org/package/2006/relationships"><Relationship Id="rId9" Type="http://schemas.openxmlformats.org/officeDocument/2006/relationships/tags" Target="../tags/tag26.xml"/><Relationship Id="rId8" Type="http://schemas.openxmlformats.org/officeDocument/2006/relationships/tags" Target="../tags/tag25.xml"/><Relationship Id="rId7" Type="http://schemas.openxmlformats.org/officeDocument/2006/relationships/tags" Target="../tags/tag2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3" Type="http://schemas.openxmlformats.org/officeDocument/2006/relationships/notesSlide" Target="../notesSlides/notesSlide2.xml"/><Relationship Id="rId32" Type="http://schemas.openxmlformats.org/officeDocument/2006/relationships/slideLayout" Target="../slideLayouts/slideLayout3.xml"/><Relationship Id="rId31" Type="http://schemas.openxmlformats.org/officeDocument/2006/relationships/tags" Target="../tags/tag48.xml"/><Relationship Id="rId30" Type="http://schemas.openxmlformats.org/officeDocument/2006/relationships/tags" Target="../tags/tag47.xml"/><Relationship Id="rId3" Type="http://schemas.openxmlformats.org/officeDocument/2006/relationships/tags" Target="../tags/tag20.xml"/><Relationship Id="rId29" Type="http://schemas.openxmlformats.org/officeDocument/2006/relationships/tags" Target="../tags/tag46.xml"/><Relationship Id="rId28" Type="http://schemas.openxmlformats.org/officeDocument/2006/relationships/tags" Target="../tags/tag45.xml"/><Relationship Id="rId27" Type="http://schemas.openxmlformats.org/officeDocument/2006/relationships/tags" Target="../tags/tag44.xml"/><Relationship Id="rId26" Type="http://schemas.openxmlformats.org/officeDocument/2006/relationships/tags" Target="../tags/tag43.xml"/><Relationship Id="rId25" Type="http://schemas.openxmlformats.org/officeDocument/2006/relationships/tags" Target="../tags/tag42.xml"/><Relationship Id="rId24" Type="http://schemas.openxmlformats.org/officeDocument/2006/relationships/tags" Target="../tags/tag41.xml"/><Relationship Id="rId23" Type="http://schemas.openxmlformats.org/officeDocument/2006/relationships/tags" Target="../tags/tag40.xml"/><Relationship Id="rId22" Type="http://schemas.openxmlformats.org/officeDocument/2006/relationships/tags" Target="../tags/tag39.xml"/><Relationship Id="rId21" Type="http://schemas.openxmlformats.org/officeDocument/2006/relationships/tags" Target="../tags/tag38.xml"/><Relationship Id="rId20" Type="http://schemas.openxmlformats.org/officeDocument/2006/relationships/tags" Target="../tags/tag37.xml"/><Relationship Id="rId2" Type="http://schemas.openxmlformats.org/officeDocument/2006/relationships/tags" Target="../tags/tag19.xml"/><Relationship Id="rId19" Type="http://schemas.openxmlformats.org/officeDocument/2006/relationships/tags" Target="../tags/tag36.xml"/><Relationship Id="rId18" Type="http://schemas.openxmlformats.org/officeDocument/2006/relationships/tags" Target="../tags/tag35.xml"/><Relationship Id="rId17" Type="http://schemas.openxmlformats.org/officeDocument/2006/relationships/tags" Target="../tags/tag34.xml"/><Relationship Id="rId16" Type="http://schemas.openxmlformats.org/officeDocument/2006/relationships/tags" Target="../tags/tag33.xml"/><Relationship Id="rId15" Type="http://schemas.openxmlformats.org/officeDocument/2006/relationships/tags" Target="../tags/tag32.xml"/><Relationship Id="rId14" Type="http://schemas.openxmlformats.org/officeDocument/2006/relationships/tags" Target="../tags/tag31.xml"/><Relationship Id="rId13" Type="http://schemas.openxmlformats.org/officeDocument/2006/relationships/tags" Target="../tags/tag30.xml"/><Relationship Id="rId12" Type="http://schemas.openxmlformats.org/officeDocument/2006/relationships/tags" Target="../tags/tag29.xml"/><Relationship Id="rId11" Type="http://schemas.openxmlformats.org/officeDocument/2006/relationships/tags" Target="../tags/tag28.xml"/><Relationship Id="rId10" Type="http://schemas.openxmlformats.org/officeDocument/2006/relationships/tags" Target="../tags/tag27.xml"/><Relationship Id="rId1" Type="http://schemas.openxmlformats.org/officeDocument/2006/relationships/tags" Target="../tags/tag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chart" Target="../charts/chart23.xml"/></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8.xml"/><Relationship Id="rId2" Type="http://schemas.openxmlformats.org/officeDocument/2006/relationships/chart" Target="../charts/chart25.xml"/><Relationship Id="rId1" Type="http://schemas.openxmlformats.org/officeDocument/2006/relationships/chart" Target="../charts/char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chart" Target="../charts/chart27.xml"/><Relationship Id="rId1" Type="http://schemas.openxmlformats.org/officeDocument/2006/relationships/chart" Target="../charts/char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8.xml"/><Relationship Id="rId2" Type="http://schemas.openxmlformats.org/officeDocument/2006/relationships/chart" Target="../charts/chart29.xml"/><Relationship Id="rId1" Type="http://schemas.openxmlformats.org/officeDocument/2006/relationships/chart" Target="../charts/chart28.xml"/></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3.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image" Target="../media/image3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image" Target="../media/image44.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jpeg"/></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image" Target="../media/image18.jpeg"/></Relationships>
</file>

<file path=ppt/slides/_rels/slide6.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3.xml"/><Relationship Id="rId7" Type="http://schemas.openxmlformats.org/officeDocument/2006/relationships/image" Target="../media/image29.svg"/><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7" Type="http://schemas.openxmlformats.org/officeDocument/2006/relationships/vmlDrawing" Target="../drawings/vmlDrawing7.vml"/><Relationship Id="rId6"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4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image" Target="../media/image32.png"/><Relationship Id="rId1"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idx="4294967295"/>
          </p:nvPr>
        </p:nvSpPr>
        <p:spPr>
          <a:xfrm>
            <a:off x="1507490" y="1877695"/>
            <a:ext cx="9302750" cy="1354455"/>
          </a:xfrm>
          <a:prstGeom prst="rect">
            <a:avLst/>
          </a:prstGeom>
        </p:spPr>
        <p:txBody>
          <a:bodyPr anchor="ctr">
            <a:noAutofit/>
          </a:bodyPr>
          <a:lstStyle/>
          <a:p>
            <a:pPr algn="ctr">
              <a:lnSpc>
                <a:spcPct val="150000"/>
              </a:lnSpc>
            </a:pPr>
            <a:r>
              <a:rPr lang="en-US" altLang="zh-CN" sz="4000" b="1">
                <a:solidFill>
                  <a:srgbClr val="00033E"/>
                </a:solidFill>
                <a:latin typeface="微软雅黑" charset="0"/>
                <a:ea typeface="微软雅黑" charset="0"/>
                <a:cs typeface="微软雅黑" charset="0"/>
              </a:rPr>
              <a:t>ICU</a:t>
            </a:r>
            <a:r>
              <a:rPr lang="zh-CN" altLang="en-US" sz="4000" b="1">
                <a:solidFill>
                  <a:srgbClr val="00033E"/>
                </a:solidFill>
                <a:latin typeface="微软雅黑" charset="0"/>
                <a:ea typeface="微软雅黑" charset="0"/>
                <a:cs typeface="微软雅黑" charset="0"/>
              </a:rPr>
              <a:t>患者耐药菌感染治疗策略拓维</a:t>
            </a:r>
            <a:br>
              <a:rPr lang="zh-CN" altLang="en-US" sz="4000" b="1">
                <a:solidFill>
                  <a:srgbClr val="00033E"/>
                </a:solidFill>
                <a:latin typeface="微软雅黑" charset="0"/>
                <a:ea typeface="微软雅黑" charset="0"/>
                <a:cs typeface="微软雅黑" charset="0"/>
              </a:rPr>
            </a:br>
            <a:r>
              <a:rPr lang="en-US" altLang="zh-CN" sz="2000" b="1">
                <a:solidFill>
                  <a:srgbClr val="00033E"/>
                </a:solidFill>
                <a:latin typeface="微软雅黑" charset="0"/>
                <a:ea typeface="微软雅黑" charset="0"/>
                <a:cs typeface="微软雅黑" charset="0"/>
                <a:sym typeface="+mn-ea"/>
              </a:rPr>
              <a:t>——</a:t>
            </a:r>
            <a:r>
              <a:rPr lang="zh-CN" altLang="en-US" sz="2000" b="1">
                <a:solidFill>
                  <a:srgbClr val="00033E"/>
                </a:solidFill>
                <a:latin typeface="微软雅黑" charset="0"/>
                <a:ea typeface="微软雅黑" charset="0"/>
                <a:cs typeface="微软雅黑" charset="0"/>
                <a:sym typeface="+mn-ea"/>
              </a:rPr>
              <a:t>思福诺</a:t>
            </a:r>
            <a:r>
              <a:rPr lang="en-US" altLang="zh-CN" sz="2000" b="1" baseline="30000">
                <a:solidFill>
                  <a:srgbClr val="00033E"/>
                </a:solidFill>
                <a:latin typeface="微软雅黑" charset="0"/>
                <a:ea typeface="微软雅黑" charset="0"/>
                <a:cs typeface="微软雅黑" charset="0"/>
                <a:sym typeface="+mn-ea"/>
              </a:rPr>
              <a:t>®</a:t>
            </a:r>
            <a:r>
              <a:rPr lang="zh-CN" altLang="en-US" sz="2000" b="1">
                <a:solidFill>
                  <a:srgbClr val="00033E"/>
                </a:solidFill>
                <a:latin typeface="微软雅黑" charset="0"/>
                <a:ea typeface="微软雅黑" charset="0"/>
                <a:cs typeface="微软雅黑" charset="0"/>
                <a:sym typeface="+mn-ea"/>
              </a:rPr>
              <a:t>开启</a:t>
            </a:r>
            <a:r>
              <a:rPr lang="en-US" altLang="zh-CN" sz="2000" b="1">
                <a:solidFill>
                  <a:srgbClr val="00033E"/>
                </a:solidFill>
                <a:latin typeface="微软雅黑" charset="0"/>
                <a:ea typeface="微软雅黑" charset="0"/>
                <a:cs typeface="微软雅黑" charset="0"/>
                <a:sym typeface="+mn-ea"/>
              </a:rPr>
              <a:t>CRE</a:t>
            </a:r>
            <a:r>
              <a:rPr lang="zh-CN" altLang="en-US" sz="2000" b="1">
                <a:solidFill>
                  <a:srgbClr val="00033E"/>
                </a:solidFill>
                <a:latin typeface="微软雅黑" charset="0"/>
                <a:ea typeface="微软雅黑" charset="0"/>
                <a:cs typeface="微软雅黑" charset="0"/>
                <a:sym typeface="+mn-ea"/>
              </a:rPr>
              <a:t>全酶型覆盖治疗新篇章</a:t>
            </a:r>
            <a:endParaRPr lang="zh-CN" altLang="en-US" sz="2000" b="1">
              <a:solidFill>
                <a:srgbClr val="00033E"/>
              </a:solidFill>
              <a:latin typeface="微软雅黑" charset="0"/>
              <a:ea typeface="微软雅黑" charset="0"/>
              <a:cs typeface="微软雅黑" charset="0"/>
              <a:sym typeface="+mn-ea"/>
            </a:endParaRPr>
          </a:p>
        </p:txBody>
      </p:sp>
      <p:sp>
        <p:nvSpPr>
          <p:cNvPr id="3" name="文本框 2"/>
          <p:cNvSpPr txBox="1"/>
          <p:nvPr/>
        </p:nvSpPr>
        <p:spPr>
          <a:xfrm>
            <a:off x="0" y="6628130"/>
            <a:ext cx="3322320" cy="229870"/>
          </a:xfrm>
          <a:prstGeom prst="rect">
            <a:avLst/>
          </a:prstGeom>
          <a:noFill/>
        </p:spPr>
        <p:txBody>
          <a:bodyPr wrap="square" rtlCol="0">
            <a:spAutoFit/>
          </a:bodyPr>
          <a:p>
            <a:r>
              <a:rPr lang="en-US" altLang="zh-CN" sz="900"/>
              <a:t>presented on Pfizer sponsored meeting/</a:t>
            </a:r>
            <a:r>
              <a:rPr lang="zh-CN" altLang="en-US" sz="900"/>
              <a:t>用于辉瑞主办会议</a:t>
            </a:r>
            <a:endParaRPr lang="zh-CN" altLang="en-US" sz="900"/>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anchor="b" anchorCtr="0">
            <a:noAutofit/>
          </a:bodyPr>
          <a:lstStyle/>
          <a:p>
            <a:pPr algn="l">
              <a:buClrTx/>
              <a:buSzTx/>
              <a:buFontTx/>
            </a:pPr>
            <a:r>
              <a:rPr lang="en-US" altLang="zh-CN" sz="2400" b="1">
                <a:solidFill>
                  <a:schemeClr val="accent2"/>
                </a:solidFill>
                <a:sym typeface="+mn-lt"/>
              </a:rPr>
              <a:t>金属酶常见亚型与肠杆菌科细菌的联系</a:t>
            </a:r>
            <a:r>
              <a:rPr kumimoji="1" lang="en-US" altLang="zh-CN" sz="2400" b="1" baseline="30000" dirty="0">
                <a:solidFill>
                  <a:srgbClr val="00033E"/>
                </a:solidFill>
                <a:latin typeface="Arial" panose="020B0604020202090204"/>
                <a:ea typeface="微软雅黑"/>
                <a:sym typeface="+mn-ea"/>
              </a:rPr>
              <a:t>1,2</a:t>
            </a:r>
            <a:endParaRPr kumimoji="1" lang="en-US" altLang="zh-CN" sz="2400" b="1" baseline="30000" dirty="0">
              <a:solidFill>
                <a:srgbClr val="00033E"/>
              </a:solidFill>
              <a:latin typeface="Arial" panose="020B0604020202090204"/>
              <a:ea typeface="微软雅黑"/>
              <a:sym typeface="+mn-ea"/>
            </a:endParaRPr>
          </a:p>
        </p:txBody>
      </p:sp>
      <p:sp>
        <p:nvSpPr>
          <p:cNvPr id="4" name="文本框 3"/>
          <p:cNvSpPr txBox="1"/>
          <p:nvPr/>
        </p:nvSpPr>
        <p:spPr bwMode="gray">
          <a:xfrm>
            <a:off x="1066541" y="6426000"/>
            <a:ext cx="6096000" cy="338554"/>
          </a:xfrm>
          <a:prstGeom prst="rect">
            <a:avLst/>
          </a:prstGeom>
          <a:noFill/>
        </p:spPr>
        <p:txBody>
          <a:bodyPr>
            <a:spAutoFit/>
          </a:bodyPr>
          <a:lstStyle>
            <a:defPPr>
              <a:defRPr lang="en-US"/>
            </a:defPPr>
            <a:lvl1pPr>
              <a:defRPr sz="800">
                <a:solidFill>
                  <a:srgbClr val="000000"/>
                </a:solidFill>
                <a:latin typeface="Arial" panose="020B0604020202090204" pitchFamily="34" charset="0"/>
              </a:defRPr>
            </a:lvl1pPr>
          </a:lstStyle>
          <a:p>
            <a:r>
              <a:rPr lang="en-US" altLang="zh-CN" dirty="0">
                <a:latin typeface="+mn-lt"/>
                <a:cs typeface="+mn-ea"/>
                <a:sym typeface="+mn-lt"/>
              </a:rPr>
              <a:t>1.</a:t>
            </a:r>
            <a:r>
              <a:rPr lang="zh-CN" altLang="en-US" dirty="0">
                <a:latin typeface="+mn-lt"/>
                <a:cs typeface="+mn-ea"/>
                <a:sym typeface="+mn-lt"/>
              </a:rPr>
              <a:t>中国碳青霉烯耐药肠杆菌科细菌感染诊治与防控专家共识编写组,等.中华医学杂志,2021,101(36):2850-2860.</a:t>
            </a:r>
            <a:endParaRPr lang="en-US" altLang="zh-CN" dirty="0">
              <a:latin typeface="+mn-lt"/>
              <a:cs typeface="+mn-ea"/>
              <a:sym typeface="+mn-lt"/>
            </a:endParaRPr>
          </a:p>
          <a:p>
            <a:r>
              <a:rPr lang="en-US" altLang="zh-CN" dirty="0">
                <a:latin typeface="+mn-lt"/>
                <a:cs typeface="+mn-ea"/>
                <a:sym typeface="+mn-lt"/>
              </a:rPr>
              <a:t>2. Bush K, et al. Nat Rev </a:t>
            </a:r>
            <a:r>
              <a:rPr lang="en-US" altLang="zh-CN" dirty="0" err="1">
                <a:latin typeface="+mn-lt"/>
                <a:cs typeface="+mn-ea"/>
                <a:sym typeface="+mn-lt"/>
              </a:rPr>
              <a:t>Microbiol</a:t>
            </a:r>
            <a:r>
              <a:rPr lang="en-US" altLang="zh-CN" dirty="0">
                <a:latin typeface="+mn-lt"/>
                <a:cs typeface="+mn-ea"/>
                <a:sym typeface="+mn-lt"/>
              </a:rPr>
              <a:t>. 2019 May;17(5):295-306. </a:t>
            </a:r>
            <a:endParaRPr lang="zh-CN" altLang="en-US" dirty="0">
              <a:latin typeface="+mn-lt"/>
              <a:cs typeface="+mn-ea"/>
              <a:sym typeface="+mn-lt"/>
            </a:endParaRPr>
          </a:p>
        </p:txBody>
      </p:sp>
      <p:grpSp>
        <p:nvGrpSpPr>
          <p:cNvPr id="7" name="组合 6"/>
          <p:cNvGrpSpPr/>
          <p:nvPr/>
        </p:nvGrpSpPr>
        <p:grpSpPr>
          <a:xfrm>
            <a:off x="442912" y="1548303"/>
            <a:ext cx="11306173" cy="3709341"/>
            <a:chOff x="442913" y="1797685"/>
            <a:chExt cx="10890536" cy="3709341"/>
          </a:xfrm>
        </p:grpSpPr>
        <p:grpSp>
          <p:nvGrpSpPr>
            <p:cNvPr id="8" name="组合 7"/>
            <p:cNvGrpSpPr/>
            <p:nvPr/>
          </p:nvGrpSpPr>
          <p:grpSpPr>
            <a:xfrm>
              <a:off x="442913" y="1797685"/>
              <a:ext cx="3532188" cy="3709341"/>
              <a:chOff x="512762" y="1508125"/>
              <a:chExt cx="3532188" cy="3709341"/>
            </a:xfrm>
          </p:grpSpPr>
          <p:sp>
            <p:nvSpPr>
              <p:cNvPr id="19" name="MH_Text_1"/>
              <p:cNvSpPr/>
              <p:nvPr>
                <p:custDataLst>
                  <p:tags r:id="rId1"/>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20" name="MH_SubTitle_1"/>
              <p:cNvSpPr/>
              <p:nvPr>
                <p:custDataLst>
                  <p:tags r:id="rId2"/>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21" name="MH_SubTitle_1"/>
              <p:cNvSpPr/>
              <p:nvPr>
                <p:custDataLst>
                  <p:tags r:id="rId3"/>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NDM</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22" name="文本框 21"/>
              <p:cNvSpPr txBox="1"/>
              <p:nvPr/>
            </p:nvSpPr>
            <p:spPr>
              <a:xfrm>
                <a:off x="677782" y="2153399"/>
                <a:ext cx="3202148" cy="2695738"/>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肠杆菌科细菌中</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最常见的金属酶</a:t>
                </a:r>
                <a:r>
                  <a:rPr kumimoji="0" lang="zh-CN" altLang="en-US" sz="1600" b="0" i="0" u="none" strike="noStrike" kern="0" cap="none" spc="0" normalizeH="0" baseline="0" noProof="0" dirty="0">
                    <a:ln>
                      <a:noFill/>
                    </a:ln>
                    <a:solidFill>
                      <a:srgbClr val="000000"/>
                    </a:solidFill>
                    <a:effectLst/>
                    <a:uLnTx/>
                    <a:uFillTx/>
                    <a:latin typeface="微软雅黑" panose="020B0503020204020204" charset="-122"/>
                  </a:rPr>
                  <a:t>，</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主要见于大肠埃希菌、阴沟肠杆菌</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碳青霉烯耐药大肠埃希菌中产</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NDM</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比例＞</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70%</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以</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NDM-1/5</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为主</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氨曲南敏感</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对其他</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内酰胺类抗生素大多耐药，不能被阿维巴坦、法硼巴坦、雷利巴坦等灭活或抑制</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p:txBody>
          </p:sp>
        </p:grpSp>
        <p:grpSp>
          <p:nvGrpSpPr>
            <p:cNvPr id="9" name="组合 8"/>
            <p:cNvGrpSpPr/>
            <p:nvPr/>
          </p:nvGrpSpPr>
          <p:grpSpPr>
            <a:xfrm>
              <a:off x="4122087" y="1797685"/>
              <a:ext cx="3532188" cy="3709341"/>
              <a:chOff x="512762" y="1508125"/>
              <a:chExt cx="3532188" cy="3709341"/>
            </a:xfrm>
          </p:grpSpPr>
          <p:sp>
            <p:nvSpPr>
              <p:cNvPr id="15" name="MH_Text_1"/>
              <p:cNvSpPr/>
              <p:nvPr>
                <p:custDataLst>
                  <p:tags r:id="rId4"/>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6" name="MH_SubTitle_1"/>
              <p:cNvSpPr/>
              <p:nvPr>
                <p:custDataLst>
                  <p:tags r:id="rId5"/>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7" name="MH_SubTitle_1"/>
              <p:cNvSpPr/>
              <p:nvPr>
                <p:custDataLst>
                  <p:tags r:id="rId6"/>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IMP</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8" name="文本框 17"/>
              <p:cNvSpPr txBox="1"/>
              <p:nvPr/>
            </p:nvSpPr>
            <p:spPr>
              <a:xfrm>
                <a:off x="801899" y="2153399"/>
                <a:ext cx="2953913" cy="2695738"/>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家族多数由</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1</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突变产生，与其同源性较高</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多见于不动杆菌及假单胞菌</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水解底物谱较广，</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能水解除氨曲南单环类以外的几乎所有</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内酰胺类抗生素</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包括广谱头孢菌素类及碳青霉烯类抗生素</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p:txBody>
          </p:sp>
        </p:grpSp>
        <p:grpSp>
          <p:nvGrpSpPr>
            <p:cNvPr id="10" name="组合 9"/>
            <p:cNvGrpSpPr/>
            <p:nvPr/>
          </p:nvGrpSpPr>
          <p:grpSpPr>
            <a:xfrm>
              <a:off x="7801261" y="1797685"/>
              <a:ext cx="3532188" cy="3709341"/>
              <a:chOff x="512762" y="1508125"/>
              <a:chExt cx="3532188" cy="3709341"/>
            </a:xfrm>
          </p:grpSpPr>
          <p:sp>
            <p:nvSpPr>
              <p:cNvPr id="11" name="MH_Text_1"/>
              <p:cNvSpPr/>
              <p:nvPr>
                <p:custDataLst>
                  <p:tags r:id="rId7"/>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2" name="MH_SubTitle_1"/>
              <p:cNvSpPr/>
              <p:nvPr>
                <p:custDataLst>
                  <p:tags r:id="rId8"/>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3" name="MH_SubTitle_1"/>
              <p:cNvSpPr/>
              <p:nvPr>
                <p:custDataLst>
                  <p:tags r:id="rId9"/>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VIM</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4" name="文本框 13"/>
              <p:cNvSpPr txBox="1"/>
              <p:nvPr/>
            </p:nvSpPr>
            <p:spPr>
              <a:xfrm>
                <a:off x="759723" y="2153399"/>
                <a:ext cx="3038266" cy="2326406"/>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常见于假单胞菌，在肠杆菌科中少见</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和</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家族在携带质粒和整合子相关方面有一些相似之处</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能水解除氨曲南单环类以外的几乎所有</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内酰胺类抗生素</a:t>
                </a:r>
                <a:endParaRPr kumimoji="0" lang="zh-CN" altLang="en-US" sz="1600" b="1" i="0" u="none" strike="noStrike" kern="0" cap="none" spc="0" normalizeH="0" baseline="0" noProof="0" dirty="0">
                  <a:ln>
                    <a:noFill/>
                  </a:ln>
                  <a:solidFill>
                    <a:srgbClr val="000D45"/>
                  </a:solidFill>
                  <a:effectLst/>
                  <a:uLnTx/>
                  <a:uFillTx/>
                  <a:latin typeface="微软雅黑" panose="020B0503020204020204" charset="-122"/>
                </a:endParaRPr>
              </a:p>
            </p:txBody>
          </p:sp>
        </p:grpSp>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占位符 2"/>
          <p:cNvSpPr txBox="1"/>
          <p:nvPr/>
        </p:nvSpPr>
        <p:spPr>
          <a:xfrm>
            <a:off x="457200" y="279401"/>
            <a:ext cx="10365509" cy="977900"/>
          </a:xfrm>
        </p:spPr>
        <p:txBody>
          <a:bodyPr vert="horz" anchor="b" anchorCtr="0">
            <a:noAutofit/>
          </a:bodyPr>
          <a:lstStyle>
            <a:lvl1pPr>
              <a:lnSpc>
                <a:spcPct val="90000"/>
              </a:lnSpc>
              <a:spcBef>
                <a:spcPct val="0"/>
              </a:spcBef>
              <a:buNone/>
              <a:defRPr lang="en-US" sz="2600" b="1" i="0" smtClean="0">
                <a:solidFill>
                  <a:srgbClr val="000D45"/>
                </a:solidFill>
                <a:latin typeface="+mn-ea"/>
                <a:cs typeface="+mn-ea"/>
              </a:defRPr>
            </a:lvl1pPr>
            <a:lvl2pPr marL="457200" indent="0" algn="l" defTabSz="914400" rtl="0" eaLnBrk="1" latinLnBrk="0" hangingPunct="1">
              <a:lnSpc>
                <a:spcPct val="90000"/>
              </a:lnSpc>
              <a:spcBef>
                <a:spcPts val="500"/>
              </a:spcBef>
              <a:buFont typeface="Arial" panose="020B060402020209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r>
              <a:rPr lang="zh-CN" altLang="en-US" dirty="0">
                <a:sym typeface="微软雅黑" panose="020B0503020204020204" charset="-122"/>
              </a:rPr>
              <a:t>全球</a:t>
            </a:r>
            <a:r>
              <a:rPr lang="en-US" altLang="zh-CN" dirty="0">
                <a:sym typeface="微软雅黑" panose="020B0503020204020204" charset="-122"/>
              </a:rPr>
              <a:t>ATLAS</a:t>
            </a:r>
            <a:r>
              <a:rPr lang="zh-CN" altLang="en-US" dirty="0">
                <a:sym typeface="微软雅黑" panose="020B0503020204020204" charset="-122"/>
              </a:rPr>
              <a:t>监测研究结果显示，</a:t>
            </a:r>
            <a:br>
              <a:rPr lang="en-US" altLang="zh-CN" dirty="0">
                <a:sym typeface="微软雅黑" panose="020B0503020204020204" charset="-122"/>
              </a:rPr>
            </a:br>
            <a:r>
              <a:rPr lang="zh-CN" altLang="en-US" dirty="0">
                <a:sym typeface="微软雅黑" panose="020B0503020204020204" charset="-122"/>
              </a:rPr>
              <a:t>亚太地区临床分离出的</a:t>
            </a:r>
            <a:r>
              <a:rPr lang="en-US" altLang="zh-CN" dirty="0">
                <a:sym typeface="微软雅黑" panose="020B0503020204020204" charset="-122"/>
              </a:rPr>
              <a:t>CRE</a:t>
            </a:r>
            <a:r>
              <a:rPr lang="zh-CN" altLang="en-US" dirty="0">
                <a:sym typeface="微软雅黑" panose="020B0503020204020204" charset="-122"/>
              </a:rPr>
              <a:t>中产</a:t>
            </a:r>
            <a:r>
              <a:rPr lang="en-US" altLang="zh-CN" dirty="0">
                <a:sym typeface="微软雅黑" panose="020B0503020204020204" charset="-122"/>
              </a:rPr>
              <a:t>MBL</a:t>
            </a:r>
            <a:r>
              <a:rPr lang="zh-CN" altLang="en-US" dirty="0">
                <a:sym typeface="微软雅黑" panose="020B0503020204020204" charset="-122"/>
              </a:rPr>
              <a:t>菌株占比高达</a:t>
            </a:r>
            <a:r>
              <a:rPr lang="en-US" altLang="zh-CN" dirty="0">
                <a:sym typeface="微软雅黑" panose="020B0503020204020204" charset="-122"/>
              </a:rPr>
              <a:t>59.4%</a:t>
            </a:r>
            <a:endParaRPr lang="zh-CN" altLang="en-US" dirty="0">
              <a:sym typeface="微软雅黑" panose="020B0503020204020204" charset="-122"/>
            </a:endParaRPr>
          </a:p>
        </p:txBody>
      </p:sp>
      <p:sp>
        <p:nvSpPr>
          <p:cNvPr id="31" name="文本框 30"/>
          <p:cNvSpPr txBox="1"/>
          <p:nvPr/>
        </p:nvSpPr>
        <p:spPr>
          <a:xfrm>
            <a:off x="804678" y="6126895"/>
            <a:ext cx="9572868" cy="338554"/>
          </a:xfrm>
          <a:prstGeom prst="rect">
            <a:avLst/>
          </a:prstGeom>
          <a:noFill/>
        </p:spPr>
        <p:txBody>
          <a:bodyPr wrap="square">
            <a:spAutoFit/>
          </a:bodyPr>
          <a:lstStyle/>
          <a:p>
            <a:r>
              <a:rPr lang="en-US" altLang="zh-CN" sz="800" dirty="0">
                <a:solidFill>
                  <a:prstClr val="black">
                    <a:lumMod val="65000"/>
                    <a:lumOff val="35000"/>
                  </a:prstClr>
                </a:solidFill>
                <a:latin typeface="微软雅黑" panose="020B0503020204020204" charset="-122"/>
                <a:sym typeface="微软雅黑" panose="020B0503020204020204" charset="-122"/>
              </a:rPr>
              <a:t>ATLAS</a:t>
            </a:r>
            <a:r>
              <a:rPr lang="zh-CN" altLang="en-US" sz="800" dirty="0">
                <a:solidFill>
                  <a:prstClr val="black">
                    <a:lumMod val="65000"/>
                    <a:lumOff val="35000"/>
                  </a:prstClr>
                </a:solidFill>
                <a:latin typeface="微软雅黑" panose="020B0503020204020204" charset="-122"/>
                <a:sym typeface="微软雅黑" panose="020B0503020204020204" charset="-122"/>
              </a:rPr>
              <a:t>：抗菌测试领导和监测；</a:t>
            </a:r>
            <a:r>
              <a:rPr lang="en-US" altLang="zh-CN" sz="800" dirty="0">
                <a:solidFill>
                  <a:prstClr val="black">
                    <a:lumMod val="65000"/>
                    <a:lumOff val="35000"/>
                  </a:prstClr>
                </a:solidFill>
                <a:latin typeface="微软雅黑" panose="020B0503020204020204" charset="-122"/>
                <a:sym typeface="微软雅黑" panose="020B0503020204020204" charset="-122"/>
              </a:rPr>
              <a:t>CRE</a:t>
            </a:r>
            <a:r>
              <a:rPr lang="zh-CN" altLang="en-US" sz="800" dirty="0">
                <a:solidFill>
                  <a:prstClr val="black">
                    <a:lumMod val="65000"/>
                    <a:lumOff val="35000"/>
                  </a:prstClr>
                </a:solidFill>
                <a:latin typeface="微软雅黑" panose="020B0503020204020204" charset="-122"/>
                <a:sym typeface="微软雅黑" panose="020B0503020204020204" charset="-122"/>
              </a:rPr>
              <a:t>：碳青霉烯类耐药肠杆菌目细菌；</a:t>
            </a:r>
            <a:r>
              <a:rPr lang="en-US" altLang="zh-CN" sz="800" dirty="0">
                <a:solidFill>
                  <a:prstClr val="black">
                    <a:lumMod val="65000"/>
                    <a:lumOff val="35000"/>
                  </a:prstClr>
                </a:solidFill>
                <a:latin typeface="微软雅黑" panose="020B0503020204020204" charset="-122"/>
                <a:sym typeface="微软雅黑" panose="020B0503020204020204" charset="-122"/>
              </a:rPr>
              <a:t>KPC</a:t>
            </a:r>
            <a:r>
              <a:rPr lang="zh-CN" altLang="en-US" sz="800" dirty="0">
                <a:solidFill>
                  <a:prstClr val="black">
                    <a:lumMod val="65000"/>
                    <a:lumOff val="35000"/>
                  </a:prstClr>
                </a:solidFill>
                <a:latin typeface="微软雅黑" panose="020B0503020204020204" charset="-122"/>
                <a:sym typeface="微软雅黑" panose="020B0503020204020204" charset="-122"/>
              </a:rPr>
              <a:t>：肺炎克雷伯菌碳青霉烯酶；</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NDM</a:t>
            </a:r>
            <a:r>
              <a:rPr lang="zh-CN" altLang="en-US" sz="800" dirty="0">
                <a:solidFill>
                  <a:prstClr val="black">
                    <a:lumMod val="65000"/>
                    <a:lumOff val="35000"/>
                  </a:prstClr>
                </a:solidFill>
                <a:latin typeface="微软雅黑" panose="020B0503020204020204" charset="-122"/>
                <a:sym typeface="微软雅黑" panose="020B0503020204020204" charset="-122"/>
              </a:rPr>
              <a:t>：新德里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VIM</a:t>
            </a:r>
            <a:r>
              <a:rPr lang="zh-CN" altLang="en-US" sz="800" dirty="0">
                <a:solidFill>
                  <a:prstClr val="black">
                    <a:lumMod val="65000"/>
                    <a:lumOff val="35000"/>
                  </a:prstClr>
                </a:solidFill>
                <a:latin typeface="微软雅黑" panose="020B0503020204020204" charset="-122"/>
                <a:sym typeface="微软雅黑" panose="020B0503020204020204" charset="-122"/>
              </a:rPr>
              <a:t>：维罗纳整合子携带的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IMP</a:t>
            </a:r>
            <a:r>
              <a:rPr lang="zh-CN" altLang="en-US" sz="800" dirty="0">
                <a:solidFill>
                  <a:prstClr val="black">
                    <a:lumMod val="65000"/>
                    <a:lumOff val="35000"/>
                  </a:prstClr>
                </a:solidFill>
                <a:latin typeface="微软雅黑" panose="020B0503020204020204" charset="-122"/>
                <a:sym typeface="微软雅黑" panose="020B0503020204020204" charset="-122"/>
              </a:rPr>
              <a:t>：耐亚胺培南碳青霉烯酶 ；</a:t>
            </a:r>
            <a:endParaRPr lang="zh-CN" altLang="en-US" sz="800" dirty="0">
              <a:solidFill>
                <a:prstClr val="black">
                  <a:lumMod val="65000"/>
                  <a:lumOff val="35000"/>
                </a:prstClr>
              </a:solidFill>
              <a:latin typeface="微软雅黑" panose="020B0503020204020204" charset="-122"/>
              <a:sym typeface="微软雅黑" panose="020B0503020204020204" charset="-122"/>
            </a:endParaRPr>
          </a:p>
        </p:txBody>
      </p:sp>
      <p:sp>
        <p:nvSpPr>
          <p:cNvPr id="32" name="文本框 31"/>
          <p:cNvSpPr txBox="1"/>
          <p:nvPr/>
        </p:nvSpPr>
        <p:spPr>
          <a:xfrm>
            <a:off x="804678" y="6444265"/>
            <a:ext cx="10476097" cy="338554"/>
          </a:xfrm>
          <a:prstGeom prst="rect">
            <a:avLst/>
          </a:prstGeom>
          <a:noFill/>
        </p:spPr>
        <p:txBody>
          <a:bodyPr wrap="square">
            <a:spAutoFit/>
          </a:bodyPr>
          <a:lstStyle/>
          <a:p>
            <a:r>
              <a:rPr lang="zh-CN" altLang="en-US" sz="800" dirty="0">
                <a:solidFill>
                  <a:prstClr val="black">
                    <a:lumMod val="65000"/>
                    <a:lumOff val="35000"/>
                  </a:prstClr>
                </a:solidFill>
                <a:latin typeface="微软雅黑" panose="020B0503020204020204" charset="-122"/>
                <a:sym typeface="微软雅黑" panose="020B0503020204020204" charset="-122"/>
              </a:rPr>
              <a:t>一篇综述文章，通过对比</a:t>
            </a:r>
            <a:r>
              <a:rPr lang="en-US" altLang="zh-CN" sz="800" dirty="0">
                <a:solidFill>
                  <a:prstClr val="black">
                    <a:lumMod val="65000"/>
                    <a:lumOff val="35000"/>
                  </a:prstClr>
                </a:solidFill>
                <a:latin typeface="微软雅黑" panose="020B0503020204020204" charset="-122"/>
                <a:sym typeface="微软雅黑" panose="020B0503020204020204" charset="-122"/>
              </a:rPr>
              <a:t>2012-2017</a:t>
            </a:r>
            <a:r>
              <a:rPr lang="zh-CN" altLang="en-US" sz="800" dirty="0">
                <a:solidFill>
                  <a:prstClr val="black">
                    <a:lumMod val="65000"/>
                    <a:lumOff val="35000"/>
                  </a:prstClr>
                </a:solidFill>
                <a:latin typeface="微软雅黑" panose="020B0503020204020204" charset="-122"/>
                <a:sym typeface="微软雅黑" panose="020B0503020204020204" charset="-122"/>
              </a:rPr>
              <a:t>年与</a:t>
            </a:r>
            <a:r>
              <a:rPr lang="en-US" altLang="zh-CN" sz="800" dirty="0">
                <a:solidFill>
                  <a:prstClr val="black">
                    <a:lumMod val="65000"/>
                    <a:lumOff val="35000"/>
                  </a:prstClr>
                </a:solidFill>
                <a:latin typeface="微软雅黑" panose="020B0503020204020204" charset="-122"/>
                <a:sym typeface="微软雅黑" panose="020B0503020204020204" charset="-122"/>
              </a:rPr>
              <a:t>2018-2019 </a:t>
            </a:r>
            <a:r>
              <a:rPr lang="zh-CN" altLang="en-US" sz="800" dirty="0">
                <a:solidFill>
                  <a:prstClr val="black">
                    <a:lumMod val="65000"/>
                    <a:lumOff val="35000"/>
                  </a:prstClr>
                </a:solidFill>
                <a:latin typeface="微软雅黑" panose="020B0503020204020204" charset="-122"/>
                <a:sym typeface="微软雅黑" panose="020B0503020204020204" charset="-122"/>
              </a:rPr>
              <a:t>年的</a:t>
            </a:r>
            <a:r>
              <a:rPr lang="en-US" altLang="zh-CN" sz="800" dirty="0">
                <a:solidFill>
                  <a:prstClr val="black">
                    <a:lumMod val="65000"/>
                    <a:lumOff val="35000"/>
                  </a:prstClr>
                </a:solidFill>
                <a:latin typeface="微软雅黑" panose="020B0503020204020204" charset="-122"/>
                <a:sym typeface="微软雅黑" panose="020B0503020204020204" charset="-122"/>
              </a:rPr>
              <a:t>ATLAS</a:t>
            </a:r>
            <a:r>
              <a:rPr lang="zh-CN" altLang="en-US" sz="800" dirty="0">
                <a:solidFill>
                  <a:prstClr val="black">
                    <a:lumMod val="65000"/>
                    <a:lumOff val="35000"/>
                  </a:prstClr>
                </a:solidFill>
                <a:latin typeface="微软雅黑" panose="020B0503020204020204" charset="-122"/>
                <a:sym typeface="微软雅黑" panose="020B0503020204020204" charset="-122"/>
              </a:rPr>
              <a:t>研究报告分析了</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在全球及不同地区的流行率和负担，总结了由</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引起的感染导致的在</a:t>
            </a:r>
            <a:r>
              <a:rPr lang="en-US" altLang="zh-CN" sz="800" dirty="0">
                <a:solidFill>
                  <a:prstClr val="black">
                    <a:lumMod val="65000"/>
                    <a:lumOff val="35000"/>
                  </a:prstClr>
                </a:solidFill>
                <a:latin typeface="微软雅黑" panose="020B0503020204020204" charset="-122"/>
                <a:sym typeface="微软雅黑" panose="020B0503020204020204" charset="-122"/>
              </a:rPr>
              <a:t>ICU</a:t>
            </a:r>
            <a:r>
              <a:rPr lang="zh-CN" altLang="en-US" sz="800" dirty="0">
                <a:solidFill>
                  <a:prstClr val="black">
                    <a:lumMod val="65000"/>
                    <a:lumOff val="35000"/>
                  </a:prstClr>
                </a:solidFill>
                <a:latin typeface="微软雅黑" panose="020B0503020204020204" charset="-122"/>
                <a:sym typeface="微软雅黑" panose="020B0503020204020204" charset="-122"/>
              </a:rPr>
              <a:t>住院、住院时间、死亡率等方面的影响，讨论了</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感染当前的治疗方案、局限性以及目前正在研发用于治疗</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感染的药物</a:t>
            </a:r>
            <a:endParaRPr lang="zh-CN" altLang="en-US" sz="800" dirty="0">
              <a:solidFill>
                <a:prstClr val="black">
                  <a:lumMod val="65000"/>
                  <a:lumOff val="35000"/>
                </a:prstClr>
              </a:solidFill>
              <a:latin typeface="微软雅黑" panose="020B0503020204020204" charset="-122"/>
              <a:sym typeface="微软雅黑" panose="020B0503020204020204" charset="-122"/>
            </a:endParaRPr>
          </a:p>
        </p:txBody>
      </p:sp>
      <p:sp>
        <p:nvSpPr>
          <p:cNvPr id="33" name="文本框 32"/>
          <p:cNvSpPr txBox="1"/>
          <p:nvPr/>
        </p:nvSpPr>
        <p:spPr>
          <a:xfrm>
            <a:off x="3519739" y="6595841"/>
            <a:ext cx="7800108" cy="215444"/>
          </a:xfrm>
          <a:prstGeom prst="rect">
            <a:avLst/>
          </a:prstGeom>
          <a:noFill/>
        </p:spPr>
        <p:txBody>
          <a:bodyPr wrap="square">
            <a:spAutoFit/>
          </a:bodyPr>
          <a:lstStyle/>
          <a:p>
            <a:r>
              <a:rPr lang="en-US" altLang="zh-CN" sz="800" dirty="0" err="1">
                <a:solidFill>
                  <a:prstClr val="black">
                    <a:lumMod val="75000"/>
                    <a:lumOff val="25000"/>
                  </a:prstClr>
                </a:solidFill>
                <a:latin typeface="微软雅黑" panose="020B0503020204020204" charset="-122"/>
                <a:sym typeface="微软雅黑" panose="020B0503020204020204" charset="-122"/>
              </a:rPr>
              <a:t>Grabein</a:t>
            </a:r>
            <a:r>
              <a:rPr lang="en-US" altLang="zh-CN" sz="800" dirty="0">
                <a:solidFill>
                  <a:prstClr val="black">
                    <a:lumMod val="75000"/>
                    <a:lumOff val="25000"/>
                  </a:prstClr>
                </a:solidFill>
                <a:latin typeface="微软雅黑" panose="020B0503020204020204" charset="-122"/>
                <a:sym typeface="微软雅黑" panose="020B0503020204020204" charset="-122"/>
              </a:rPr>
              <a:t> B, et </a:t>
            </a:r>
            <a:r>
              <a:rPr lang="en-US" altLang="zh-CN" sz="800" dirty="0" err="1">
                <a:solidFill>
                  <a:prstClr val="black">
                    <a:lumMod val="75000"/>
                    <a:lumOff val="25000"/>
                  </a:prstClr>
                </a:solidFill>
                <a:latin typeface="微软雅黑" panose="020B0503020204020204" charset="-122"/>
                <a:sym typeface="微软雅黑" panose="020B0503020204020204" charset="-122"/>
              </a:rPr>
              <a:t>al.Infect</a:t>
            </a:r>
            <a:r>
              <a:rPr lang="en-US" altLang="zh-CN" sz="800" dirty="0">
                <a:solidFill>
                  <a:prstClr val="black">
                    <a:lumMod val="75000"/>
                    <a:lumOff val="25000"/>
                  </a:prstClr>
                </a:solidFill>
                <a:latin typeface="微软雅黑" panose="020B0503020204020204" charset="-122"/>
                <a:sym typeface="微软雅黑" panose="020B0503020204020204" charset="-122"/>
              </a:rPr>
              <a:t> Dis Ther. 2024 Nov;13(11):2423-2447. </a:t>
            </a:r>
            <a:endParaRPr lang="zh-CN" altLang="en-US" sz="800" dirty="0">
              <a:solidFill>
                <a:prstClr val="black">
                  <a:lumMod val="75000"/>
                  <a:lumOff val="25000"/>
                </a:prstClr>
              </a:solidFill>
              <a:latin typeface="微软雅黑" panose="020B0503020204020204" charset="-122"/>
              <a:sym typeface="微软雅黑" panose="020B0503020204020204" charset="-122"/>
            </a:endParaRPr>
          </a:p>
        </p:txBody>
      </p:sp>
      <p:sp>
        <p:nvSpPr>
          <p:cNvPr id="34" name="文本框 33"/>
          <p:cNvSpPr txBox="1"/>
          <p:nvPr/>
        </p:nvSpPr>
        <p:spPr>
          <a:xfrm>
            <a:off x="11309431" y="-6824"/>
            <a:ext cx="882569" cy="523220"/>
          </a:xfrm>
          <a:prstGeom prst="rect">
            <a:avLst/>
          </a:prstGeom>
          <a:noFill/>
        </p:spPr>
        <p:txBody>
          <a:bodyPr wrap="square">
            <a:spAutoFit/>
          </a:bodyPr>
          <a:lstStyle/>
          <a:p>
            <a:pPr algn="r">
              <a:defRPr/>
            </a:pPr>
            <a:r>
              <a:rPr lang="zh-CN" altLang="en-US" sz="1400" kern="0" dirty="0">
                <a:solidFill>
                  <a:prstClr val="white"/>
                </a:solidFill>
                <a:latin typeface="微软雅黑" panose="020B0503020204020204" charset="-122"/>
                <a:cs typeface="+mn-ea"/>
                <a:sym typeface="微软雅黑" panose="020B0503020204020204" charset="-122"/>
              </a:rPr>
              <a:t>流行</a:t>
            </a:r>
            <a:br>
              <a:rPr lang="en-US" altLang="zh-CN" sz="1400" kern="0" dirty="0">
                <a:solidFill>
                  <a:prstClr val="white"/>
                </a:solidFill>
                <a:latin typeface="微软雅黑" panose="020B0503020204020204" charset="-122"/>
                <a:cs typeface="+mn-ea"/>
                <a:sym typeface="微软雅黑" panose="020B0503020204020204" charset="-122"/>
              </a:rPr>
            </a:br>
            <a:r>
              <a:rPr lang="zh-CN" altLang="en-US" sz="1400" kern="0" dirty="0">
                <a:solidFill>
                  <a:prstClr val="white"/>
                </a:solidFill>
                <a:latin typeface="微软雅黑" panose="020B0503020204020204" charset="-122"/>
                <a:cs typeface="+mn-ea"/>
                <a:sym typeface="微软雅黑" panose="020B0503020204020204" charset="-122"/>
              </a:rPr>
              <a:t>病学</a:t>
            </a:r>
            <a:endParaRPr lang="en-US" altLang="zh-CN" sz="1400" kern="0" dirty="0">
              <a:solidFill>
                <a:prstClr val="white"/>
              </a:solidFill>
              <a:latin typeface="微软雅黑" panose="020B0503020204020204" charset="-122"/>
              <a:cs typeface="+mn-ea"/>
              <a:sym typeface="微软雅黑" panose="020B0503020204020204" charset="-122"/>
            </a:endParaRPr>
          </a:p>
        </p:txBody>
      </p:sp>
      <p:sp>
        <p:nvSpPr>
          <p:cNvPr id="2" name="矩形: 剪去对角 1"/>
          <p:cNvSpPr/>
          <p:nvPr/>
        </p:nvSpPr>
        <p:spPr bwMode="auto">
          <a:xfrm>
            <a:off x="550863" y="1222516"/>
            <a:ext cx="11090274" cy="4860000"/>
          </a:xfrm>
          <a:prstGeom prst="snip2DiagRect">
            <a:avLst>
              <a:gd name="adj1" fmla="val 0"/>
              <a:gd name="adj2" fmla="val 255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3" name="组合 2"/>
          <p:cNvGrpSpPr/>
          <p:nvPr/>
        </p:nvGrpSpPr>
        <p:grpSpPr>
          <a:xfrm>
            <a:off x="669627" y="1320365"/>
            <a:ext cx="10852746" cy="432000"/>
            <a:chOff x="-4513299" y="1161733"/>
            <a:chExt cx="10333075" cy="432000"/>
          </a:xfrm>
        </p:grpSpPr>
        <p:sp>
          <p:nvSpPr>
            <p:cNvPr id="5" name="文本框 1326"/>
            <p:cNvSpPr txBox="1">
              <a:spLocks noChangeArrowheads="1"/>
            </p:cNvSpPr>
            <p:nvPr/>
          </p:nvSpPr>
          <p:spPr bwMode="auto">
            <a:xfrm>
              <a:off x="-4513299" y="1161733"/>
              <a:ext cx="10333075"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en-US" altLang="zh-CN" sz="1400" b="1" dirty="0">
                  <a:solidFill>
                    <a:prstClr val="white"/>
                  </a:solidFill>
                  <a:latin typeface="Arial" panose="020B0604020202090204"/>
                  <a:ea typeface="微软雅黑"/>
                </a:rPr>
                <a:t>2012-2017</a:t>
              </a:r>
              <a:r>
                <a:rPr kumimoji="1" lang="zh-CN" altLang="en-US" sz="1400" b="1" dirty="0">
                  <a:solidFill>
                    <a:prstClr val="white"/>
                  </a:solidFill>
                  <a:latin typeface="Arial" panose="020B0604020202090204"/>
                  <a:ea typeface="微软雅黑"/>
                </a:rPr>
                <a:t>年与</a:t>
              </a:r>
              <a:r>
                <a:rPr kumimoji="1" lang="en-US" altLang="zh-CN" sz="1400" b="1" dirty="0">
                  <a:solidFill>
                    <a:prstClr val="white"/>
                  </a:solidFill>
                  <a:latin typeface="Arial" panose="020B0604020202090204"/>
                  <a:ea typeface="微软雅黑"/>
                </a:rPr>
                <a:t>2018</a:t>
              </a:r>
              <a:r>
                <a:rPr kumimoji="1" lang="zh-CN" altLang="en-US" sz="1400" b="1" dirty="0">
                  <a:solidFill>
                    <a:prstClr val="white"/>
                  </a:solidFill>
                  <a:latin typeface="Arial" panose="020B0604020202090204"/>
                  <a:ea typeface="微软雅黑"/>
                </a:rPr>
                <a:t>年至</a:t>
              </a:r>
              <a:r>
                <a:rPr kumimoji="1" lang="en-US" altLang="zh-CN" sz="1400" b="1" dirty="0">
                  <a:solidFill>
                    <a:prstClr val="white"/>
                  </a:solidFill>
                  <a:latin typeface="Arial" panose="020B0604020202090204"/>
                  <a:ea typeface="微软雅黑"/>
                </a:rPr>
                <a:t>2019</a:t>
              </a:r>
              <a:r>
                <a:rPr kumimoji="1" lang="zh-CN" altLang="en-US" sz="1400" b="1" dirty="0">
                  <a:solidFill>
                    <a:prstClr val="white"/>
                  </a:solidFill>
                  <a:latin typeface="Arial" panose="020B0604020202090204"/>
                  <a:ea typeface="微软雅黑"/>
                </a:rPr>
                <a:t>年期间收集的</a:t>
              </a:r>
              <a:r>
                <a:rPr kumimoji="1" lang="en-US" altLang="zh-CN" sz="1400" b="1" dirty="0">
                  <a:solidFill>
                    <a:prstClr val="white"/>
                  </a:solidFill>
                  <a:latin typeface="Arial" panose="020B0604020202090204"/>
                  <a:ea typeface="微软雅黑"/>
                </a:rPr>
                <a:t>MBL</a:t>
              </a:r>
              <a:r>
                <a:rPr kumimoji="1" lang="zh-CN" altLang="en-US" sz="1400" b="1" dirty="0">
                  <a:solidFill>
                    <a:prstClr val="white"/>
                  </a:solidFill>
                  <a:latin typeface="Arial" panose="020B0604020202090204"/>
                  <a:ea typeface="微软雅黑"/>
                </a:rPr>
                <a:t>阳性肠杆菌分离株在全球和不同地区碳青霉烯类非敏感分离株中的分布比较</a:t>
              </a:r>
              <a:endParaRPr kumimoji="1" lang="zh-CN" altLang="en-US" sz="1400" b="1" dirty="0">
                <a:solidFill>
                  <a:prstClr val="white"/>
                </a:solidFill>
                <a:latin typeface="Arial" panose="020B0604020202090204"/>
                <a:ea typeface="微软雅黑"/>
              </a:endParaRPr>
            </a:p>
          </p:txBody>
        </p:sp>
        <p:pic>
          <p:nvPicPr>
            <p:cNvPr id="6" name="图片 5"/>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7" name="组合 6"/>
          <p:cNvGrpSpPr/>
          <p:nvPr/>
        </p:nvGrpSpPr>
        <p:grpSpPr>
          <a:xfrm>
            <a:off x="950638" y="1999526"/>
            <a:ext cx="10307208" cy="3881094"/>
            <a:chOff x="950638" y="2214274"/>
            <a:chExt cx="10307208" cy="3881094"/>
          </a:xfrm>
        </p:grpSpPr>
        <p:sp>
          <p:nvSpPr>
            <p:cNvPr id="8" name="TextBox 16"/>
            <p:cNvSpPr txBox="1">
              <a:spLocks noChangeArrowheads="1"/>
            </p:cNvSpPr>
            <p:nvPr/>
          </p:nvSpPr>
          <p:spPr bwMode="auto">
            <a:xfrm>
              <a:off x="1508138"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9" name="TextBox 17"/>
            <p:cNvSpPr txBox="1">
              <a:spLocks noChangeArrowheads="1"/>
            </p:cNvSpPr>
            <p:nvPr/>
          </p:nvSpPr>
          <p:spPr bwMode="auto">
            <a:xfrm>
              <a:off x="2311166"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 name="TextBox 18"/>
            <p:cNvSpPr txBox="1">
              <a:spLocks noChangeArrowheads="1"/>
            </p:cNvSpPr>
            <p:nvPr/>
          </p:nvSpPr>
          <p:spPr bwMode="auto">
            <a:xfrm>
              <a:off x="3123642"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 name="TextBox 19"/>
            <p:cNvSpPr txBox="1">
              <a:spLocks noChangeArrowheads="1"/>
            </p:cNvSpPr>
            <p:nvPr/>
          </p:nvSpPr>
          <p:spPr bwMode="auto">
            <a:xfrm>
              <a:off x="391722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2" name="TextBox 20"/>
            <p:cNvSpPr txBox="1">
              <a:spLocks noChangeArrowheads="1"/>
            </p:cNvSpPr>
            <p:nvPr/>
          </p:nvSpPr>
          <p:spPr bwMode="auto">
            <a:xfrm>
              <a:off x="4767488"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3" name="TextBox 21"/>
            <p:cNvSpPr txBox="1">
              <a:spLocks noChangeArrowheads="1"/>
            </p:cNvSpPr>
            <p:nvPr/>
          </p:nvSpPr>
          <p:spPr bwMode="auto">
            <a:xfrm>
              <a:off x="561775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4" name="TextBox 22"/>
            <p:cNvSpPr txBox="1">
              <a:spLocks noChangeArrowheads="1"/>
            </p:cNvSpPr>
            <p:nvPr/>
          </p:nvSpPr>
          <p:spPr bwMode="auto">
            <a:xfrm>
              <a:off x="6420781"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5" name="TextBox 23"/>
            <p:cNvSpPr txBox="1">
              <a:spLocks noChangeArrowheads="1"/>
            </p:cNvSpPr>
            <p:nvPr/>
          </p:nvSpPr>
          <p:spPr bwMode="auto">
            <a:xfrm>
              <a:off x="7223810"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6" name="TextBox 24"/>
            <p:cNvSpPr txBox="1">
              <a:spLocks noChangeArrowheads="1"/>
            </p:cNvSpPr>
            <p:nvPr/>
          </p:nvSpPr>
          <p:spPr bwMode="auto">
            <a:xfrm>
              <a:off x="8036285"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7" name="TextBox 25"/>
            <p:cNvSpPr txBox="1">
              <a:spLocks noChangeArrowheads="1"/>
            </p:cNvSpPr>
            <p:nvPr/>
          </p:nvSpPr>
          <p:spPr bwMode="auto">
            <a:xfrm>
              <a:off x="887710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8" name="TextBox 26"/>
            <p:cNvSpPr txBox="1">
              <a:spLocks noChangeArrowheads="1"/>
            </p:cNvSpPr>
            <p:nvPr/>
          </p:nvSpPr>
          <p:spPr bwMode="auto">
            <a:xfrm>
              <a:off x="9665961"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9" name="TextBox 27"/>
            <p:cNvSpPr txBox="1">
              <a:spLocks noChangeArrowheads="1"/>
            </p:cNvSpPr>
            <p:nvPr/>
          </p:nvSpPr>
          <p:spPr bwMode="auto">
            <a:xfrm>
              <a:off x="10502055"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5" name="TextBox 36"/>
            <p:cNvSpPr txBox="1">
              <a:spLocks noChangeArrowheads="1"/>
            </p:cNvSpPr>
            <p:nvPr/>
          </p:nvSpPr>
          <p:spPr bwMode="auto">
            <a:xfrm>
              <a:off x="1782112" y="5835398"/>
              <a:ext cx="10581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全球</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6" name="TextBox 37"/>
            <p:cNvSpPr txBox="1">
              <a:spLocks noChangeArrowheads="1"/>
            </p:cNvSpPr>
            <p:nvPr/>
          </p:nvSpPr>
          <p:spPr bwMode="auto">
            <a:xfrm>
              <a:off x="3107897" y="5835398"/>
              <a:ext cx="15651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非洲</a:t>
              </a:r>
              <a:r>
                <a:rPr kumimoji="0" lang="en-US" altLang="zh-CN"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a:t>
              </a: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中东</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7" name="TextBox 38"/>
            <p:cNvSpPr txBox="1">
              <a:spLocks noChangeArrowheads="1"/>
            </p:cNvSpPr>
            <p:nvPr/>
          </p:nvSpPr>
          <p:spPr bwMode="auto">
            <a:xfrm>
              <a:off x="5050910" y="5835398"/>
              <a:ext cx="10581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亚太地区</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8" name="TextBox 39"/>
            <p:cNvSpPr txBox="1">
              <a:spLocks noChangeArrowheads="1"/>
            </p:cNvSpPr>
            <p:nvPr/>
          </p:nvSpPr>
          <p:spPr bwMode="auto">
            <a:xfrm>
              <a:off x="6365672" y="5835398"/>
              <a:ext cx="161550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欧洲</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9" name="TextBox 40"/>
            <p:cNvSpPr txBox="1">
              <a:spLocks noChangeArrowheads="1"/>
            </p:cNvSpPr>
            <p:nvPr/>
          </p:nvSpPr>
          <p:spPr bwMode="auto">
            <a:xfrm>
              <a:off x="8061479" y="5835398"/>
              <a:ext cx="1516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拉丁美洲</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40" name="TextBox 41"/>
            <p:cNvSpPr txBox="1">
              <a:spLocks noChangeArrowheads="1"/>
            </p:cNvSpPr>
            <p:nvPr/>
          </p:nvSpPr>
          <p:spPr bwMode="auto">
            <a:xfrm>
              <a:off x="9822180" y="5835398"/>
              <a:ext cx="12467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北美</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nvGrpSpPr>
            <p:cNvPr id="41" name="组合 40"/>
            <p:cNvGrpSpPr/>
            <p:nvPr/>
          </p:nvGrpSpPr>
          <p:grpSpPr>
            <a:xfrm>
              <a:off x="1053420" y="2214274"/>
              <a:ext cx="327373" cy="3313531"/>
              <a:chOff x="1029607" y="2214274"/>
              <a:chExt cx="327373" cy="3313531"/>
            </a:xfrm>
          </p:grpSpPr>
          <p:sp>
            <p:nvSpPr>
              <p:cNvPr id="107" name="TextBox 45"/>
              <p:cNvSpPr txBox="1">
                <a:spLocks noChangeArrowheads="1"/>
              </p:cNvSpPr>
              <p:nvPr/>
            </p:nvSpPr>
            <p:spPr bwMode="auto">
              <a:xfrm>
                <a:off x="1029607" y="4002198"/>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8" name="TextBox 42"/>
              <p:cNvSpPr txBox="1">
                <a:spLocks noChangeArrowheads="1"/>
              </p:cNvSpPr>
              <p:nvPr/>
            </p:nvSpPr>
            <p:spPr bwMode="auto">
              <a:xfrm>
                <a:off x="1029607" y="2661255"/>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6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9" name="TextBox 43"/>
              <p:cNvSpPr txBox="1">
                <a:spLocks noChangeArrowheads="1"/>
              </p:cNvSpPr>
              <p:nvPr/>
            </p:nvSpPr>
            <p:spPr bwMode="auto">
              <a:xfrm>
                <a:off x="1029607" y="3108236"/>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0" name="TextBox 44"/>
              <p:cNvSpPr txBox="1">
                <a:spLocks noChangeArrowheads="1"/>
              </p:cNvSpPr>
              <p:nvPr/>
            </p:nvSpPr>
            <p:spPr bwMode="auto">
              <a:xfrm>
                <a:off x="1029607" y="3555217"/>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1" name="TextBox 46"/>
              <p:cNvSpPr txBox="1">
                <a:spLocks noChangeArrowheads="1"/>
              </p:cNvSpPr>
              <p:nvPr/>
            </p:nvSpPr>
            <p:spPr bwMode="auto">
              <a:xfrm>
                <a:off x="1029607" y="4449179"/>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2" name="TextBox 47"/>
              <p:cNvSpPr txBox="1">
                <a:spLocks noChangeArrowheads="1"/>
              </p:cNvSpPr>
              <p:nvPr/>
            </p:nvSpPr>
            <p:spPr bwMode="auto">
              <a:xfrm>
                <a:off x="1029607" y="4896160"/>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3" name="TextBox 48"/>
              <p:cNvSpPr txBox="1">
                <a:spLocks noChangeArrowheads="1"/>
              </p:cNvSpPr>
              <p:nvPr/>
            </p:nvSpPr>
            <p:spPr bwMode="auto">
              <a:xfrm>
                <a:off x="1029607" y="5343139"/>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0</a:t>
                </a:r>
                <a:endParaRPr kumimoji="0" lang="en-US" altLang="zh-CN" sz="1200" b="0" i="0" u="none" strike="noStrike" kern="0" cap="none" spc="0" normalizeH="0" baseline="0" noProof="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4" name="TextBox 42"/>
              <p:cNvSpPr txBox="1">
                <a:spLocks noChangeArrowheads="1"/>
              </p:cNvSpPr>
              <p:nvPr/>
            </p:nvSpPr>
            <p:spPr bwMode="auto">
              <a:xfrm>
                <a:off x="1029607" y="2214274"/>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7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42" name="TextBox 49"/>
            <p:cNvSpPr txBox="1">
              <a:spLocks noChangeArrowheads="1"/>
            </p:cNvSpPr>
            <p:nvPr/>
          </p:nvSpPr>
          <p:spPr bwMode="auto">
            <a:xfrm rot="16200000">
              <a:off x="-296421" y="3848609"/>
              <a:ext cx="266339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1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Percentage of MBL-positive isolates</a:t>
              </a:r>
              <a:endParaRPr kumimoji="0" lang="en-US" altLang="zh-CN" sz="11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nvGrpSpPr>
            <p:cNvPr id="43" name="组合 42"/>
            <p:cNvGrpSpPr/>
            <p:nvPr/>
          </p:nvGrpSpPr>
          <p:grpSpPr>
            <a:xfrm>
              <a:off x="1408382" y="2232397"/>
              <a:ext cx="9849464" cy="3862971"/>
              <a:chOff x="1408382" y="2232397"/>
              <a:chExt cx="9849464" cy="3862971"/>
            </a:xfrm>
          </p:grpSpPr>
          <p:cxnSp>
            <p:nvCxnSpPr>
              <p:cNvPr id="88" name="Straight Connector 3"/>
              <p:cNvCxnSpPr/>
              <p:nvPr/>
            </p:nvCxnSpPr>
            <p:spPr bwMode="auto">
              <a:xfrm>
                <a:off x="1479795" y="2232397"/>
                <a:ext cx="0" cy="3209131"/>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89" name="Group 132"/>
              <p:cNvGrpSpPr/>
              <p:nvPr/>
            </p:nvGrpSpPr>
            <p:grpSpPr bwMode="auto">
              <a:xfrm>
                <a:off x="1479795" y="5435337"/>
                <a:ext cx="9768603" cy="660031"/>
                <a:chOff x="1343025" y="4859337"/>
                <a:chExt cx="9848850" cy="950913"/>
              </a:xfrm>
            </p:grpSpPr>
            <p:cxnSp>
              <p:nvCxnSpPr>
                <p:cNvPr id="100" name="Straight Connector 28"/>
                <p:cNvCxnSpPr/>
                <p:nvPr/>
              </p:nvCxnSpPr>
              <p:spPr bwMode="auto">
                <a:xfrm>
                  <a:off x="13430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1" name="Straight Connector 30"/>
                <p:cNvCxnSpPr/>
                <p:nvPr/>
              </p:nvCxnSpPr>
              <p:spPr bwMode="auto">
                <a:xfrm>
                  <a:off x="2984501"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2" name="Straight Connector 31"/>
                <p:cNvCxnSpPr/>
                <p:nvPr/>
              </p:nvCxnSpPr>
              <p:spPr bwMode="auto">
                <a:xfrm>
                  <a:off x="46259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3" name="Straight Connector 32"/>
                <p:cNvCxnSpPr/>
                <p:nvPr/>
              </p:nvCxnSpPr>
              <p:spPr bwMode="auto">
                <a:xfrm>
                  <a:off x="626744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4" name="Straight Connector 33"/>
                <p:cNvCxnSpPr/>
                <p:nvPr/>
              </p:nvCxnSpPr>
              <p:spPr bwMode="auto">
                <a:xfrm>
                  <a:off x="79089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5" name="Straight Connector 34"/>
                <p:cNvCxnSpPr/>
                <p:nvPr/>
              </p:nvCxnSpPr>
              <p:spPr bwMode="auto">
                <a:xfrm>
                  <a:off x="955039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6" name="Straight Connector 35"/>
                <p:cNvCxnSpPr/>
                <p:nvPr/>
              </p:nvCxnSpPr>
              <p:spPr bwMode="auto">
                <a:xfrm>
                  <a:off x="111918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grpSp>
          <p:cxnSp>
            <p:nvCxnSpPr>
              <p:cNvPr id="90" name="Straight Connector 14"/>
              <p:cNvCxnSpPr/>
              <p:nvPr/>
            </p:nvCxnSpPr>
            <p:spPr bwMode="auto">
              <a:xfrm>
                <a:off x="1432558" y="5435337"/>
                <a:ext cx="9825288" cy="0"/>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91" name="组合 90"/>
              <p:cNvGrpSpPr/>
              <p:nvPr/>
            </p:nvGrpSpPr>
            <p:grpSpPr>
              <a:xfrm>
                <a:off x="1408382" y="2294006"/>
                <a:ext cx="71413" cy="3141331"/>
                <a:chOff x="1408382" y="2294006"/>
                <a:chExt cx="71413" cy="3141331"/>
              </a:xfrm>
            </p:grpSpPr>
            <p:cxnSp>
              <p:nvCxnSpPr>
                <p:cNvPr id="92" name="Straight Connector 7"/>
                <p:cNvCxnSpPr/>
                <p:nvPr/>
              </p:nvCxnSpPr>
              <p:spPr bwMode="auto">
                <a:xfrm>
                  <a:off x="1408382" y="274276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3" name="Straight Connector 8"/>
                <p:cNvCxnSpPr/>
                <p:nvPr/>
              </p:nvCxnSpPr>
              <p:spPr bwMode="auto">
                <a:xfrm>
                  <a:off x="1408382" y="3191530"/>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4" name="Straight Connector 9"/>
                <p:cNvCxnSpPr/>
                <p:nvPr/>
              </p:nvCxnSpPr>
              <p:spPr bwMode="auto">
                <a:xfrm>
                  <a:off x="1408382" y="3640292"/>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5" name="Straight Connector 10"/>
                <p:cNvCxnSpPr/>
                <p:nvPr/>
              </p:nvCxnSpPr>
              <p:spPr bwMode="auto">
                <a:xfrm>
                  <a:off x="1408382" y="4089054"/>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6" name="Straight Connector 11"/>
                <p:cNvCxnSpPr/>
                <p:nvPr/>
              </p:nvCxnSpPr>
              <p:spPr bwMode="auto">
                <a:xfrm>
                  <a:off x="1408382" y="453781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7" name="Straight Connector 12"/>
                <p:cNvCxnSpPr/>
                <p:nvPr/>
              </p:nvCxnSpPr>
              <p:spPr bwMode="auto">
                <a:xfrm>
                  <a:off x="1408382" y="498657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8" name="Straight Connector 13"/>
                <p:cNvCxnSpPr/>
                <p:nvPr/>
              </p:nvCxnSpPr>
              <p:spPr bwMode="auto">
                <a:xfrm>
                  <a:off x="1408382" y="5435337"/>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9" name="Straight Connector 7"/>
                <p:cNvCxnSpPr/>
                <p:nvPr/>
              </p:nvCxnSpPr>
              <p:spPr bwMode="auto">
                <a:xfrm>
                  <a:off x="1408382" y="229400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grpSp>
        </p:grpSp>
        <p:sp>
          <p:nvSpPr>
            <p:cNvPr id="44" name="Rectangle 51"/>
            <p:cNvSpPr/>
            <p:nvPr/>
          </p:nvSpPr>
          <p:spPr bwMode="auto">
            <a:xfrm>
              <a:off x="1740569" y="4862513"/>
              <a:ext cx="321594" cy="566234"/>
            </a:xfrm>
            <a:prstGeom prst="rect">
              <a:avLst/>
            </a:prstGeom>
            <a:solidFill>
              <a:srgbClr val="000D45"/>
            </a:solidFill>
            <a:ln w="0">
              <a:solidFill>
                <a:srgbClr val="000D45"/>
              </a:solid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5" name="Rectangle 51"/>
            <p:cNvSpPr/>
            <p:nvPr/>
          </p:nvSpPr>
          <p:spPr bwMode="auto">
            <a:xfrm>
              <a:off x="2553369" y="3971925"/>
              <a:ext cx="321594" cy="145682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6" name="Rectangle 51"/>
            <p:cNvSpPr/>
            <p:nvPr/>
          </p:nvSpPr>
          <p:spPr bwMode="auto">
            <a:xfrm>
              <a:off x="3366169" y="3776663"/>
              <a:ext cx="321594" cy="1652084"/>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7" name="Rectangle 51"/>
            <p:cNvSpPr/>
            <p:nvPr/>
          </p:nvSpPr>
          <p:spPr bwMode="auto">
            <a:xfrm>
              <a:off x="4178969" y="3448050"/>
              <a:ext cx="321594" cy="198069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8" name="Rectangle 51"/>
            <p:cNvSpPr/>
            <p:nvPr/>
          </p:nvSpPr>
          <p:spPr bwMode="auto">
            <a:xfrm>
              <a:off x="4991769" y="3671888"/>
              <a:ext cx="321594" cy="1756859"/>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9" name="Rectangle 51"/>
            <p:cNvSpPr/>
            <p:nvPr/>
          </p:nvSpPr>
          <p:spPr bwMode="auto">
            <a:xfrm>
              <a:off x="5804569" y="2795588"/>
              <a:ext cx="321594" cy="2633159"/>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0" name="Rectangle 51"/>
            <p:cNvSpPr/>
            <p:nvPr/>
          </p:nvSpPr>
          <p:spPr bwMode="auto">
            <a:xfrm>
              <a:off x="6617369" y="5019675"/>
              <a:ext cx="321594" cy="4090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1" name="Rectangle 51"/>
            <p:cNvSpPr/>
            <p:nvPr/>
          </p:nvSpPr>
          <p:spPr bwMode="auto">
            <a:xfrm>
              <a:off x="7430169" y="4505325"/>
              <a:ext cx="321594" cy="92342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2" name="Rectangle 51"/>
            <p:cNvSpPr/>
            <p:nvPr/>
          </p:nvSpPr>
          <p:spPr bwMode="auto">
            <a:xfrm>
              <a:off x="8242969" y="5181599"/>
              <a:ext cx="321594" cy="24714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3" name="Rectangle 51"/>
            <p:cNvSpPr/>
            <p:nvPr/>
          </p:nvSpPr>
          <p:spPr bwMode="auto">
            <a:xfrm>
              <a:off x="9055772" y="4105275"/>
              <a:ext cx="321594" cy="13234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4" name="Rectangle 51"/>
            <p:cNvSpPr/>
            <p:nvPr/>
          </p:nvSpPr>
          <p:spPr bwMode="auto">
            <a:xfrm>
              <a:off x="9868575" y="5333999"/>
              <a:ext cx="321594" cy="9474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5" name="Rectangle 51"/>
            <p:cNvSpPr/>
            <p:nvPr/>
          </p:nvSpPr>
          <p:spPr bwMode="auto">
            <a:xfrm>
              <a:off x="10681378" y="5019675"/>
              <a:ext cx="321594" cy="4090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6" name="Rectangle 51"/>
            <p:cNvSpPr/>
            <p:nvPr/>
          </p:nvSpPr>
          <p:spPr bwMode="auto">
            <a:xfrm>
              <a:off x="1740569" y="4600576"/>
              <a:ext cx="321594" cy="261937"/>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7" name="Rectangle 51"/>
            <p:cNvSpPr/>
            <p:nvPr/>
          </p:nvSpPr>
          <p:spPr bwMode="auto">
            <a:xfrm>
              <a:off x="2553369" y="3800475"/>
              <a:ext cx="321594" cy="171450"/>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8" name="Rectangle 51"/>
            <p:cNvSpPr/>
            <p:nvPr/>
          </p:nvSpPr>
          <p:spPr bwMode="auto">
            <a:xfrm>
              <a:off x="3366169" y="3429000"/>
              <a:ext cx="321594" cy="347663"/>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9" name="Rectangle 51"/>
            <p:cNvSpPr/>
            <p:nvPr/>
          </p:nvSpPr>
          <p:spPr bwMode="auto">
            <a:xfrm>
              <a:off x="4178969" y="3248026"/>
              <a:ext cx="321594" cy="200024"/>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0" name="Rectangle 51"/>
            <p:cNvSpPr/>
            <p:nvPr/>
          </p:nvSpPr>
          <p:spPr bwMode="auto">
            <a:xfrm>
              <a:off x="6617369" y="4600576"/>
              <a:ext cx="321594" cy="419099"/>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1" name="Rectangle 51"/>
            <p:cNvSpPr/>
            <p:nvPr/>
          </p:nvSpPr>
          <p:spPr bwMode="auto">
            <a:xfrm>
              <a:off x="7430169" y="4186183"/>
              <a:ext cx="321594" cy="319142"/>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2" name="Rectangle 51"/>
            <p:cNvSpPr/>
            <p:nvPr/>
          </p:nvSpPr>
          <p:spPr bwMode="auto">
            <a:xfrm>
              <a:off x="8242969" y="5121276"/>
              <a:ext cx="321594" cy="79684"/>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3" name="Rectangle 51"/>
            <p:cNvSpPr/>
            <p:nvPr/>
          </p:nvSpPr>
          <p:spPr bwMode="auto">
            <a:xfrm>
              <a:off x="9055772" y="4073525"/>
              <a:ext cx="321594" cy="45719"/>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4" name="Rectangle 51"/>
            <p:cNvSpPr/>
            <p:nvPr/>
          </p:nvSpPr>
          <p:spPr bwMode="auto">
            <a:xfrm>
              <a:off x="9868575" y="5213351"/>
              <a:ext cx="321594" cy="120648"/>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5" name="Rectangle 51"/>
            <p:cNvSpPr/>
            <p:nvPr/>
          </p:nvSpPr>
          <p:spPr bwMode="auto">
            <a:xfrm>
              <a:off x="10681378" y="4738688"/>
              <a:ext cx="321594" cy="280987"/>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6" name="Rectangle 51"/>
            <p:cNvSpPr/>
            <p:nvPr/>
          </p:nvSpPr>
          <p:spPr bwMode="auto">
            <a:xfrm>
              <a:off x="1740569" y="4519615"/>
              <a:ext cx="321594" cy="74772"/>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7" name="Rectangle 51"/>
            <p:cNvSpPr/>
            <p:nvPr/>
          </p:nvSpPr>
          <p:spPr bwMode="auto">
            <a:xfrm>
              <a:off x="4991769" y="2952752"/>
              <a:ext cx="321594" cy="719136"/>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8" name="Rectangle 51"/>
            <p:cNvSpPr/>
            <p:nvPr/>
          </p:nvSpPr>
          <p:spPr bwMode="auto">
            <a:xfrm>
              <a:off x="5804569" y="2771776"/>
              <a:ext cx="321594" cy="36000"/>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grpSp>
          <p:nvGrpSpPr>
            <p:cNvPr id="69" name="组合 68"/>
            <p:cNvGrpSpPr/>
            <p:nvPr/>
          </p:nvGrpSpPr>
          <p:grpSpPr>
            <a:xfrm>
              <a:off x="10229793" y="2598024"/>
              <a:ext cx="855569" cy="638066"/>
              <a:chOff x="10229793" y="2598024"/>
              <a:chExt cx="855569" cy="638066"/>
            </a:xfrm>
          </p:grpSpPr>
          <p:sp>
            <p:nvSpPr>
              <p:cNvPr id="82" name="Rectangle 51"/>
              <p:cNvSpPr/>
              <p:nvPr/>
            </p:nvSpPr>
            <p:spPr bwMode="auto">
              <a:xfrm>
                <a:off x="10229793" y="3055649"/>
                <a:ext cx="371531" cy="144000"/>
              </a:xfrm>
              <a:prstGeom prst="rect">
                <a:avLst/>
              </a:prstGeom>
              <a:solidFill>
                <a:srgbClr val="000D45"/>
              </a:solidFill>
              <a:ln w="0">
                <a:solidFill>
                  <a:srgbClr val="000D45"/>
                </a:solid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3" name="Rectangle 51"/>
              <p:cNvSpPr/>
              <p:nvPr/>
            </p:nvSpPr>
            <p:spPr bwMode="auto">
              <a:xfrm>
                <a:off x="10229793" y="2829430"/>
                <a:ext cx="371531" cy="144000"/>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4" name="Rectangle 51"/>
              <p:cNvSpPr/>
              <p:nvPr/>
            </p:nvSpPr>
            <p:spPr bwMode="auto">
              <a:xfrm>
                <a:off x="10229793" y="2624644"/>
                <a:ext cx="371531" cy="144000"/>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5" name="TextBox 42"/>
              <p:cNvSpPr txBox="1">
                <a:spLocks noChangeArrowheads="1"/>
              </p:cNvSpPr>
              <p:nvPr/>
            </p:nvSpPr>
            <p:spPr bwMode="auto">
              <a:xfrm>
                <a:off x="10645794" y="25980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IMP</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6" name="TextBox 42"/>
              <p:cNvSpPr txBox="1">
                <a:spLocks noChangeArrowheads="1"/>
              </p:cNvSpPr>
              <p:nvPr/>
            </p:nvSpPr>
            <p:spPr bwMode="auto">
              <a:xfrm>
                <a:off x="10645794" y="28247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VIM</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7" name="TextBox 42"/>
              <p:cNvSpPr txBox="1">
                <a:spLocks noChangeArrowheads="1"/>
              </p:cNvSpPr>
              <p:nvPr/>
            </p:nvSpPr>
            <p:spPr bwMode="auto">
              <a:xfrm>
                <a:off x="10645794" y="30514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NDM</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70" name="TextBox 42"/>
            <p:cNvSpPr txBox="1">
              <a:spLocks noChangeArrowheads="1"/>
            </p:cNvSpPr>
            <p:nvPr/>
          </p:nvSpPr>
          <p:spPr bwMode="auto">
            <a:xfrm>
              <a:off x="1637670" y="431549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5%</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1" name="TextBox 42"/>
            <p:cNvSpPr txBox="1">
              <a:spLocks noChangeArrowheads="1"/>
            </p:cNvSpPr>
            <p:nvPr/>
          </p:nvSpPr>
          <p:spPr bwMode="auto">
            <a:xfrm>
              <a:off x="2421895" y="3567047"/>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6.7%</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2" name="TextBox 42"/>
            <p:cNvSpPr txBox="1">
              <a:spLocks noChangeArrowheads="1"/>
            </p:cNvSpPr>
            <p:nvPr/>
          </p:nvSpPr>
          <p:spPr bwMode="auto">
            <a:xfrm>
              <a:off x="3239607" y="319569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4.3%</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3" name="TextBox 42"/>
            <p:cNvSpPr txBox="1">
              <a:spLocks noChangeArrowheads="1"/>
            </p:cNvSpPr>
            <p:nvPr/>
          </p:nvSpPr>
          <p:spPr bwMode="auto">
            <a:xfrm>
              <a:off x="4031892" y="2998199"/>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9.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4" name="TextBox 42"/>
            <p:cNvSpPr txBox="1">
              <a:spLocks noChangeArrowheads="1"/>
            </p:cNvSpPr>
            <p:nvPr/>
          </p:nvSpPr>
          <p:spPr bwMode="auto">
            <a:xfrm>
              <a:off x="4844695" y="271544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5.1%</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5" name="TextBox 42"/>
            <p:cNvSpPr txBox="1">
              <a:spLocks noChangeArrowheads="1"/>
            </p:cNvSpPr>
            <p:nvPr/>
          </p:nvSpPr>
          <p:spPr bwMode="auto">
            <a:xfrm>
              <a:off x="5685810" y="2539339"/>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9.4%</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6" name="TextBox 42"/>
            <p:cNvSpPr txBox="1">
              <a:spLocks noChangeArrowheads="1"/>
            </p:cNvSpPr>
            <p:nvPr/>
          </p:nvSpPr>
          <p:spPr bwMode="auto">
            <a:xfrm>
              <a:off x="6489166" y="438943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8.6%</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7" name="TextBox 42"/>
            <p:cNvSpPr txBox="1">
              <a:spLocks noChangeArrowheads="1"/>
            </p:cNvSpPr>
            <p:nvPr/>
          </p:nvSpPr>
          <p:spPr bwMode="auto">
            <a:xfrm>
              <a:off x="7298962" y="3945402"/>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7.8%</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8" name="TextBox 42"/>
            <p:cNvSpPr txBox="1">
              <a:spLocks noChangeArrowheads="1"/>
            </p:cNvSpPr>
            <p:nvPr/>
          </p:nvSpPr>
          <p:spPr bwMode="auto">
            <a:xfrm>
              <a:off x="8108758" y="485803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7.3%</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9" name="TextBox 42"/>
            <p:cNvSpPr txBox="1">
              <a:spLocks noChangeArrowheads="1"/>
            </p:cNvSpPr>
            <p:nvPr/>
          </p:nvSpPr>
          <p:spPr bwMode="auto">
            <a:xfrm>
              <a:off x="8924565" y="3819770"/>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0.7%</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0" name="TextBox 42"/>
            <p:cNvSpPr txBox="1">
              <a:spLocks noChangeArrowheads="1"/>
            </p:cNvSpPr>
            <p:nvPr/>
          </p:nvSpPr>
          <p:spPr bwMode="auto">
            <a:xfrm>
              <a:off x="9737365" y="498849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9%</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1" name="TextBox 42"/>
            <p:cNvSpPr txBox="1">
              <a:spLocks noChangeArrowheads="1"/>
            </p:cNvSpPr>
            <p:nvPr/>
          </p:nvSpPr>
          <p:spPr bwMode="auto">
            <a:xfrm>
              <a:off x="10568494" y="450335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5.5%</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0" imgH="0" progId="TCLayout.ActiveDocument.1">
                  <p:embed/>
                </p:oleObj>
              </mc:Choice>
              <mc:Fallback>
                <p:oleObj name="think-cell 幻灯片" r:id="rId4" imgW="0" imgH="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72"/>
          <p:cNvSpPr/>
          <p:nvPr/>
        </p:nvSpPr>
        <p:spPr bwMode="gray">
          <a:xfrm>
            <a:off x="445624" y="1913848"/>
            <a:ext cx="5133974" cy="4236130"/>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200" b="1" i="0" u="none" strike="noStrike" kern="0" cap="none" spc="0" normalizeH="0" baseline="0" noProof="0" dirty="0">
              <a:ln>
                <a:noFill/>
              </a:ln>
              <a:solidFill>
                <a:srgbClr val="0000C9"/>
              </a:solidFill>
              <a:effectLst/>
              <a:uLnTx/>
              <a:uFillTx/>
              <a:cs typeface="+mn-ea"/>
              <a:sym typeface="+mn-lt"/>
            </a:endParaRPr>
          </a:p>
        </p:txBody>
      </p:sp>
      <p:sp>
        <p:nvSpPr>
          <p:cNvPr id="3" name="Título 1"/>
          <p:cNvSpPr>
            <a:spLocks noGrp="1"/>
          </p:cNvSpPr>
          <p:nvPr>
            <p:ph type="title"/>
          </p:nvPr>
        </p:nvSpPr>
        <p:spPr>
          <a:xfrm>
            <a:off x="445624" y="324091"/>
            <a:ext cx="11746376" cy="871547"/>
          </a:xfrm>
        </p:spPr>
        <p:txBody>
          <a:bodyPr vert="horz" anchor="b" anchorCtr="0">
            <a:noAutofit/>
          </a:bodyPr>
          <a:lstStyle/>
          <a:p>
            <a:r>
              <a:rPr lang="zh-CN" altLang="en-US" sz="2600" b="1" dirty="0" smtClean="0">
                <a:solidFill>
                  <a:srgbClr val="000D45"/>
                </a:solidFill>
                <a:latin typeface="+mn-ea"/>
                <a:ea typeface="+mn-ea"/>
                <a:cs typeface="+mn-ea"/>
                <a:sym typeface="+mn-lt"/>
              </a:rPr>
              <a:t>中国产MBL菌株在CRE中占比高于欧美国家</a:t>
            </a:r>
            <a:r>
              <a:rPr lang="en-US" altLang="zh-CN" sz="2600" b="1" dirty="0" smtClean="0">
                <a:solidFill>
                  <a:srgbClr val="000D45"/>
                </a:solidFill>
                <a:latin typeface="+mn-ea"/>
                <a:ea typeface="+mn-ea"/>
                <a:cs typeface="+mn-ea"/>
                <a:sym typeface="+mn-lt"/>
              </a:rPr>
              <a:t>，</a:t>
            </a:r>
            <a:r>
              <a:rPr lang="zh-CN" altLang="en-US" sz="2600" b="1" dirty="0" smtClean="0">
                <a:solidFill>
                  <a:srgbClr val="000D45"/>
                </a:solidFill>
                <a:latin typeface="+mn-ea"/>
                <a:ea typeface="+mn-ea"/>
                <a:cs typeface="+mn-ea"/>
                <a:sym typeface="+mn-lt"/>
              </a:rPr>
              <a:t>2024CHINET数据</a:t>
            </a:r>
            <a:r>
              <a:rPr lang="en-US" altLang="zh-CN" sz="2600" b="1" dirty="0" smtClean="0">
                <a:solidFill>
                  <a:srgbClr val="000D45"/>
                </a:solidFill>
                <a:latin typeface="+mn-ea"/>
                <a:ea typeface="+mn-ea"/>
                <a:cs typeface="+mn-ea"/>
                <a:sym typeface="+mn-lt"/>
              </a:rPr>
              <a:t>：</a:t>
            </a:r>
            <a:r>
              <a:rPr lang="zh-CN" altLang="en-US" sz="2600" b="1" dirty="0" smtClean="0">
                <a:solidFill>
                  <a:srgbClr val="000D45"/>
                </a:solidFill>
                <a:latin typeface="+mn-ea"/>
                <a:ea typeface="+mn-ea"/>
                <a:cs typeface="+mn-ea"/>
                <a:sym typeface="+mn-lt"/>
              </a:rPr>
              <a:t>CR-ECL和CR-ECO中产MBL菌株占比分别高达90%及78.4%</a:t>
            </a:r>
            <a:endParaRPr lang="es-MX" dirty="0">
              <a:latin typeface="+mn-ea"/>
              <a:ea typeface="+mn-ea"/>
              <a:cs typeface="+mn-ea"/>
              <a:sym typeface="+mn-lt"/>
            </a:endParaRPr>
          </a:p>
        </p:txBody>
      </p:sp>
      <p:grpSp>
        <p:nvGrpSpPr>
          <p:cNvPr id="24" name="组合 23"/>
          <p:cNvGrpSpPr/>
          <p:nvPr/>
        </p:nvGrpSpPr>
        <p:grpSpPr>
          <a:xfrm>
            <a:off x="5692124" y="1442482"/>
            <a:ext cx="6203423" cy="4707491"/>
            <a:chOff x="1266825" y="933215"/>
            <a:chExt cx="9658350" cy="4762624"/>
          </a:xfrm>
        </p:grpSpPr>
        <p:sp>
          <p:nvSpPr>
            <p:cNvPr id="7" name="Rectangle 72"/>
            <p:cNvSpPr/>
            <p:nvPr/>
          </p:nvSpPr>
          <p:spPr bwMode="gray">
            <a:xfrm>
              <a:off x="1266825" y="933215"/>
              <a:ext cx="9658350" cy="4762624"/>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200" b="1" i="0" u="none" strike="noStrike" kern="0" cap="none" spc="0" normalizeH="0" baseline="0" noProof="0" dirty="0">
                <a:ln>
                  <a:noFill/>
                </a:ln>
                <a:solidFill>
                  <a:srgbClr val="0000C9"/>
                </a:solidFill>
                <a:effectLst/>
                <a:uLnTx/>
                <a:uFillTx/>
                <a:cs typeface="+mn-ea"/>
                <a:sym typeface="+mn-lt"/>
              </a:endParaRPr>
            </a:p>
          </p:txBody>
        </p:sp>
        <p:sp>
          <p:nvSpPr>
            <p:cNvPr id="8" name="文本框 7"/>
            <p:cNvSpPr txBox="1"/>
            <p:nvPr/>
          </p:nvSpPr>
          <p:spPr bwMode="gray">
            <a:xfrm>
              <a:off x="1266825" y="933215"/>
              <a:ext cx="9658350" cy="468000"/>
            </a:xfrm>
            <a:prstGeom prst="rect">
              <a:avLst/>
            </a:prstGeom>
            <a:solidFill>
              <a:srgbClr val="000D45"/>
            </a:solidFill>
          </p:spPr>
          <p:txBody>
            <a:bodyPr wrap="square"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cs typeface="+mn-ea"/>
                  <a:sym typeface="+mn-lt"/>
                </a:rPr>
                <a:t>碳青霉烯类酶基因在</a:t>
              </a:r>
              <a:r>
                <a:rPr kumimoji="0" lang="en-US" altLang="zh-CN" sz="1600" b="1" i="0" u="none" strike="noStrike" kern="0" cap="none" spc="0" normalizeH="0" baseline="0" noProof="0" dirty="0">
                  <a:ln>
                    <a:noFill/>
                  </a:ln>
                  <a:solidFill>
                    <a:srgbClr val="FFFFFF"/>
                  </a:solidFill>
                  <a:effectLst/>
                  <a:uLnTx/>
                  <a:uFillTx/>
                  <a:cs typeface="+mn-ea"/>
                  <a:sym typeface="+mn-lt"/>
                </a:rPr>
                <a:t>CR-ECO</a:t>
              </a:r>
              <a:r>
                <a:rPr kumimoji="0" lang="zh-CN" altLang="en-US" sz="1600" b="1" i="0" u="none" strike="noStrike" kern="0" cap="none" spc="0" normalizeH="0" baseline="0" noProof="0" dirty="0">
                  <a:ln>
                    <a:noFill/>
                  </a:ln>
                  <a:solidFill>
                    <a:srgbClr val="FFFFFF"/>
                  </a:solidFill>
                  <a:effectLst/>
                  <a:uLnTx/>
                  <a:uFillTx/>
                  <a:cs typeface="+mn-ea"/>
                  <a:sym typeface="+mn-lt"/>
                </a:rPr>
                <a:t>、</a:t>
              </a:r>
              <a:r>
                <a:rPr kumimoji="0" lang="en-US" altLang="zh-CN" sz="1600" b="1" i="0" u="none" strike="noStrike" kern="0" cap="none" spc="0" normalizeH="0" baseline="0" noProof="0" dirty="0">
                  <a:ln>
                    <a:noFill/>
                  </a:ln>
                  <a:solidFill>
                    <a:srgbClr val="FFFFFF"/>
                  </a:solidFill>
                  <a:effectLst/>
                  <a:uLnTx/>
                  <a:uFillTx/>
                  <a:cs typeface="+mn-ea"/>
                  <a:sym typeface="+mn-lt"/>
                </a:rPr>
                <a:t>CRKP</a:t>
              </a:r>
              <a:r>
                <a:rPr kumimoji="0" lang="zh-CN" altLang="en-US" sz="1600" b="1" i="0" u="none" strike="noStrike" kern="0" cap="none" spc="0" normalizeH="0" baseline="0" noProof="0" dirty="0">
                  <a:ln>
                    <a:noFill/>
                  </a:ln>
                  <a:solidFill>
                    <a:srgbClr val="FFFFFF"/>
                  </a:solidFill>
                  <a:effectLst/>
                  <a:uLnTx/>
                  <a:uFillTx/>
                  <a:cs typeface="+mn-ea"/>
                  <a:sym typeface="+mn-lt"/>
                </a:rPr>
                <a:t>、</a:t>
              </a:r>
              <a:r>
                <a:rPr kumimoji="0" lang="en-US" altLang="zh-CN" sz="1600" b="1" i="0" u="none" strike="noStrike" kern="0" cap="none" spc="0" normalizeH="0" baseline="0" noProof="0" dirty="0">
                  <a:ln>
                    <a:noFill/>
                  </a:ln>
                  <a:solidFill>
                    <a:srgbClr val="FFFFFF"/>
                  </a:solidFill>
                  <a:effectLst/>
                  <a:uLnTx/>
                  <a:uFillTx/>
                  <a:cs typeface="+mn-ea"/>
                  <a:sym typeface="+mn-lt"/>
                </a:rPr>
                <a:t>CR-ECL</a:t>
              </a:r>
              <a:r>
                <a:rPr kumimoji="0" lang="zh-CN" altLang="en-US" sz="1600" b="1" i="0" u="none" strike="noStrike" kern="0" cap="none" spc="0" normalizeH="0" baseline="0" noProof="0" dirty="0">
                  <a:ln>
                    <a:noFill/>
                  </a:ln>
                  <a:solidFill>
                    <a:srgbClr val="FFFFFF"/>
                  </a:solidFill>
                  <a:effectLst/>
                  <a:uLnTx/>
                  <a:uFillTx/>
                  <a:cs typeface="+mn-ea"/>
                  <a:sym typeface="+mn-lt"/>
                </a:rPr>
                <a:t>分布</a:t>
              </a:r>
              <a:r>
                <a:rPr kumimoji="0" lang="en-US" altLang="zh-CN" sz="1600" b="1" i="0" u="none" strike="noStrike" kern="0" cap="none" spc="0" normalizeH="0" baseline="30000" noProof="0" dirty="0">
                  <a:ln>
                    <a:noFill/>
                  </a:ln>
                  <a:solidFill>
                    <a:srgbClr val="FFFFFF"/>
                  </a:solidFill>
                  <a:effectLst/>
                  <a:uLnTx/>
                  <a:uFillTx/>
                  <a:cs typeface="+mn-ea"/>
                  <a:sym typeface="+mn-lt"/>
                </a:rPr>
                <a:t>3</a:t>
              </a:r>
              <a:endParaRPr kumimoji="0" lang="zh-CN" altLang="en-US" sz="1600" b="1" i="0" u="none" strike="noStrike" kern="0" cap="none" spc="0" normalizeH="0" baseline="30000" noProof="0" dirty="0">
                <a:ln>
                  <a:noFill/>
                </a:ln>
                <a:solidFill>
                  <a:srgbClr val="FFFFFF"/>
                </a:solidFill>
                <a:effectLst/>
                <a:uLnTx/>
                <a:uFillTx/>
                <a:cs typeface="+mn-ea"/>
                <a:sym typeface="+mn-lt"/>
              </a:endParaRPr>
            </a:p>
          </p:txBody>
        </p:sp>
      </p:grpSp>
      <p:sp>
        <p:nvSpPr>
          <p:cNvPr id="25" name="文本框 24"/>
          <p:cNvSpPr txBox="1"/>
          <p:nvPr/>
        </p:nvSpPr>
        <p:spPr bwMode="gray">
          <a:xfrm>
            <a:off x="445624" y="1438791"/>
            <a:ext cx="5133974" cy="467017"/>
          </a:xfrm>
          <a:prstGeom prst="rect">
            <a:avLst/>
          </a:prstGeom>
          <a:solidFill>
            <a:schemeClr val="tx2"/>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cs typeface="+mn-ea"/>
                <a:sym typeface="+mn-lt"/>
              </a:rPr>
              <a:t>产</a:t>
            </a:r>
            <a:r>
              <a:rPr kumimoji="0" lang="en-US" altLang="zh-CN" sz="1600" b="1" i="0" u="none" strike="noStrike" kern="1200" cap="none" spc="0" normalizeH="0" baseline="0" noProof="0" dirty="0">
                <a:ln>
                  <a:noFill/>
                </a:ln>
                <a:solidFill>
                  <a:srgbClr val="FFFFFF"/>
                </a:solidFill>
                <a:effectLst/>
                <a:uLnTx/>
                <a:uFillTx/>
                <a:cs typeface="+mn-ea"/>
                <a:sym typeface="+mn-lt"/>
              </a:rPr>
              <a:t>MBL</a:t>
            </a:r>
            <a:r>
              <a:rPr kumimoji="0" lang="zh-CN" altLang="en-US" sz="1600" b="1" i="0" u="none" strike="noStrike" kern="1200" cap="none" spc="0" normalizeH="0" baseline="0" noProof="0" dirty="0">
                <a:ln>
                  <a:noFill/>
                </a:ln>
                <a:solidFill>
                  <a:srgbClr val="FFFFFF"/>
                </a:solidFill>
                <a:effectLst/>
                <a:uLnTx/>
                <a:uFillTx/>
                <a:cs typeface="+mn-ea"/>
                <a:sym typeface="+mn-lt"/>
              </a:rPr>
              <a:t>菌株在</a:t>
            </a:r>
            <a:r>
              <a:rPr kumimoji="0" lang="en-US" altLang="zh-CN" sz="1600" b="1" i="0" u="none" strike="noStrike" kern="1200" cap="none" spc="0" normalizeH="0" baseline="0" noProof="0" dirty="0">
                <a:ln>
                  <a:noFill/>
                </a:ln>
                <a:solidFill>
                  <a:srgbClr val="FFFFFF"/>
                </a:solidFill>
                <a:effectLst/>
                <a:uLnTx/>
                <a:uFillTx/>
                <a:cs typeface="+mn-ea"/>
                <a:sym typeface="+mn-lt"/>
              </a:rPr>
              <a:t>CRE</a:t>
            </a:r>
            <a:r>
              <a:rPr kumimoji="0" lang="zh-CN" altLang="en-US" sz="1600" b="1" i="0" u="none" strike="noStrike" kern="1200" cap="none" spc="0" normalizeH="0" baseline="0" noProof="0" dirty="0">
                <a:ln>
                  <a:noFill/>
                </a:ln>
                <a:solidFill>
                  <a:srgbClr val="FFFFFF"/>
                </a:solidFill>
                <a:effectLst/>
                <a:uLnTx/>
                <a:uFillTx/>
                <a:cs typeface="+mn-ea"/>
                <a:sym typeface="+mn-lt"/>
              </a:rPr>
              <a:t>中的占比，中国高于欧洲和美国</a:t>
            </a:r>
            <a:r>
              <a:rPr kumimoji="0" lang="en-US" altLang="zh-CN" sz="1600" b="1" i="0" u="none" strike="noStrike" kern="1200" cap="none" spc="0" normalizeH="0" baseline="30000" noProof="0" dirty="0">
                <a:ln>
                  <a:noFill/>
                </a:ln>
                <a:solidFill>
                  <a:srgbClr val="FFFFFF"/>
                </a:solidFill>
                <a:effectLst/>
                <a:uLnTx/>
                <a:uFillTx/>
                <a:cs typeface="+mn-ea"/>
                <a:sym typeface="+mn-lt"/>
              </a:rPr>
              <a:t>1</a:t>
            </a:r>
            <a:r>
              <a:rPr kumimoji="0" lang="zh-CN" altLang="en-US" sz="1600" b="1" i="0" u="none" strike="noStrike" kern="1200" cap="none" spc="0" normalizeH="0" baseline="30000" noProof="0" dirty="0">
                <a:ln>
                  <a:noFill/>
                </a:ln>
                <a:solidFill>
                  <a:srgbClr val="FFFFFF"/>
                </a:solidFill>
                <a:effectLst/>
                <a:uLnTx/>
                <a:uFillTx/>
                <a:cs typeface="+mn-ea"/>
                <a:sym typeface="+mn-lt"/>
              </a:rPr>
              <a:t>，</a:t>
            </a:r>
            <a:r>
              <a:rPr kumimoji="0" lang="en-US" altLang="zh-CN" sz="1600" b="1" i="0" u="none" strike="noStrike" kern="1200" cap="none" spc="0" normalizeH="0" baseline="30000" noProof="0" dirty="0">
                <a:ln>
                  <a:noFill/>
                </a:ln>
                <a:solidFill>
                  <a:srgbClr val="FFFFFF"/>
                </a:solidFill>
                <a:effectLst/>
                <a:uLnTx/>
                <a:uFillTx/>
                <a:cs typeface="+mn-ea"/>
                <a:sym typeface="+mn-lt"/>
              </a:rPr>
              <a:t>2</a:t>
            </a:r>
            <a:endParaRPr kumimoji="0" lang="zh-CN" altLang="en-US" sz="1600" b="1" i="0" u="none" strike="noStrike" kern="1200" cap="none" spc="0" normalizeH="0" baseline="0" noProof="0" dirty="0">
              <a:ln>
                <a:noFill/>
              </a:ln>
              <a:solidFill>
                <a:srgbClr val="FFFFFF"/>
              </a:solidFill>
              <a:effectLst/>
              <a:uLnTx/>
              <a:uFillTx/>
              <a:cs typeface="+mn-ea"/>
              <a:sym typeface="+mn-lt"/>
            </a:endParaRPr>
          </a:p>
        </p:txBody>
      </p:sp>
      <p:grpSp>
        <p:nvGrpSpPr>
          <p:cNvPr id="28" name="组合 27"/>
          <p:cNvGrpSpPr/>
          <p:nvPr/>
        </p:nvGrpSpPr>
        <p:grpSpPr>
          <a:xfrm>
            <a:off x="318470" y="1937788"/>
            <a:ext cx="5100284" cy="4118005"/>
            <a:chOff x="1038225" y="3566659"/>
            <a:chExt cx="4829175" cy="2203700"/>
          </a:xfrm>
        </p:grpSpPr>
        <p:graphicFrame>
          <p:nvGraphicFramePr>
            <p:cNvPr id="29" name="图表 28"/>
            <p:cNvGraphicFramePr/>
            <p:nvPr/>
          </p:nvGraphicFramePr>
          <p:xfrm>
            <a:off x="1038225" y="3566659"/>
            <a:ext cx="4829175" cy="2203700"/>
          </p:xfrm>
          <a:graphic>
            <a:graphicData uri="http://schemas.openxmlformats.org/drawingml/2006/chart">
              <c:chart xmlns:c="http://schemas.openxmlformats.org/drawingml/2006/chart" xmlns:r="http://schemas.openxmlformats.org/officeDocument/2006/relationships" r:id="rId1"/>
            </a:graphicData>
          </a:graphic>
        </p:graphicFrame>
        <p:sp>
          <p:nvSpPr>
            <p:cNvPr id="34" name="文本框 33"/>
            <p:cNvSpPr txBox="1"/>
            <p:nvPr/>
          </p:nvSpPr>
          <p:spPr bwMode="gray">
            <a:xfrm>
              <a:off x="2112780" y="5294861"/>
              <a:ext cx="107632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中国</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CHINET2023)</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sp>
          <p:nvSpPr>
            <p:cNvPr id="35" name="文本框 34"/>
            <p:cNvSpPr txBox="1"/>
            <p:nvPr/>
          </p:nvSpPr>
          <p:spPr bwMode="gray">
            <a:xfrm>
              <a:off x="3295650" y="5294861"/>
              <a:ext cx="128587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欧洲</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ATLAS2018-2022)</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sp>
          <p:nvSpPr>
            <p:cNvPr id="36" name="文本框 35"/>
            <p:cNvSpPr txBox="1"/>
            <p:nvPr/>
          </p:nvSpPr>
          <p:spPr bwMode="gray">
            <a:xfrm>
              <a:off x="4571361" y="5295669"/>
              <a:ext cx="128587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美国</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ATLAS2018-2022)</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grpSp>
      <p:sp>
        <p:nvSpPr>
          <p:cNvPr id="38" name="文本占位符 51"/>
          <p:cNvSpPr txBox="1"/>
          <p:nvPr/>
        </p:nvSpPr>
        <p:spPr>
          <a:xfrm>
            <a:off x="592522" y="6286419"/>
            <a:ext cx="9937750" cy="354013"/>
          </a:xfrm>
          <a:prstGeom prst="rect">
            <a:avLst/>
          </a:prstGeom>
        </p:spPr>
        <p:txBody>
          <a:bodyPr lIns="0" tIns="0" rIns="0" bIns="0" anchor="b" anchorCtr="0"/>
          <a:lstStyle>
            <a:defPPr>
              <a:defRPr lang="en-US"/>
            </a:defPPr>
            <a:lvl1pPr marL="228600" indent="-228600">
              <a:lnSpc>
                <a:spcPct val="100000"/>
              </a:lnSpc>
              <a:spcBef>
                <a:spcPts val="0"/>
              </a:spcBef>
              <a:buClrTx/>
              <a:buSzPct val="100000"/>
              <a:buFont typeface="+mj-lt"/>
              <a:buAutoNum type="arabicPeriod"/>
              <a:defRPr sz="800">
                <a:solidFill>
                  <a:schemeClr val="bg1">
                    <a:lumMod val="50000"/>
                  </a:schemeClr>
                </a:solidFill>
              </a:defRPr>
            </a:lvl1pPr>
            <a:lvl2pPr indent="-170180">
              <a:lnSpc>
                <a:spcPct val="90000"/>
              </a:lnSpc>
              <a:spcBef>
                <a:spcPts val="1000"/>
              </a:spcBef>
              <a:buClrTx/>
              <a:buFont typeface="Arial" panose="020B0604020202090204" pitchFamily="34" charset="0"/>
              <a:buChar char="•"/>
            </a:lvl2pPr>
            <a:lvl3pPr marL="685800" indent="-171450">
              <a:lnSpc>
                <a:spcPct val="90000"/>
              </a:lnSpc>
              <a:spcBef>
                <a:spcPts val="500"/>
              </a:spcBef>
              <a:buClrTx/>
              <a:buFont typeface="Arial" panose="020B0604020202090204" pitchFamily="34" charset="0"/>
              <a:buChar char="•"/>
              <a:defRPr sz="1600"/>
            </a:lvl3pPr>
            <a:lvl4pPr marL="914400" indent="-171450">
              <a:lnSpc>
                <a:spcPct val="90000"/>
              </a:lnSpc>
              <a:spcBef>
                <a:spcPts val="200"/>
              </a:spcBef>
              <a:buClrTx/>
              <a:buFont typeface="Arial" panose="020B0604020202090204" pitchFamily="34" charset="0"/>
              <a:buChar char="•"/>
              <a:defRPr sz="1400"/>
            </a:lvl4pPr>
            <a:lvl5pPr marL="1089025" indent="-114300">
              <a:lnSpc>
                <a:spcPct val="90000"/>
              </a:lnSpc>
              <a:spcBef>
                <a:spcPts val="100"/>
              </a:spcBef>
              <a:buClrTx/>
              <a:buFont typeface="Arial" panose="020B0604020202090204" pitchFamily="34" charset="0"/>
              <a:buChar char="•"/>
              <a:defRPr sz="1200"/>
            </a:lvl5pPr>
            <a:lvl6pPr marL="2514600" indent="-228600">
              <a:spcBef>
                <a:spcPct val="20000"/>
              </a:spcBef>
              <a:buFont typeface="Arial" panose="020B0604020202090204" pitchFamily="34" charset="0"/>
              <a:buChar char="•"/>
              <a:defRPr sz="2000"/>
            </a:lvl6pPr>
            <a:lvl7pPr marL="2971800" indent="-228600">
              <a:spcBef>
                <a:spcPct val="20000"/>
              </a:spcBef>
              <a:buFont typeface="Arial" panose="020B0604020202090204" pitchFamily="34" charset="0"/>
              <a:buChar char="•"/>
              <a:defRPr sz="2000"/>
            </a:lvl7pPr>
            <a:lvl8pPr marL="3429000" indent="-228600">
              <a:spcBef>
                <a:spcPct val="20000"/>
              </a:spcBef>
              <a:buFont typeface="Arial" panose="020B0604020202090204" pitchFamily="34" charset="0"/>
              <a:buChar char="•"/>
              <a:defRPr sz="2000"/>
            </a:lvl8pPr>
            <a:lvl9pPr marL="3886200" indent="-228600">
              <a:spcBef>
                <a:spcPct val="20000"/>
              </a:spcBef>
              <a:buFont typeface="Arial" panose="020B0604020202090204" pitchFamily="34" charset="0"/>
              <a:buChar char="•"/>
              <a:defRPr sz="2000"/>
            </a:lvl9pPr>
          </a:lstStyle>
          <a:p>
            <a:r>
              <a:rPr lang="en-US" altLang="zh-CN" dirty="0">
                <a:cs typeface="+mn-ea"/>
                <a:sym typeface="+mn-lt"/>
              </a:rPr>
              <a:t>2023</a:t>
            </a:r>
            <a:r>
              <a:rPr lang="zh-CN" altLang="en-US" dirty="0">
                <a:cs typeface="+mn-ea"/>
                <a:sym typeface="+mn-lt"/>
              </a:rPr>
              <a:t>年中国</a:t>
            </a:r>
            <a:r>
              <a:rPr lang="en-US" altLang="zh-CN" dirty="0">
                <a:cs typeface="+mn-ea"/>
                <a:sym typeface="+mn-lt"/>
              </a:rPr>
              <a:t>CHINET online</a:t>
            </a:r>
            <a:r>
              <a:rPr lang="zh-CN" altLang="en-US" dirty="0">
                <a:cs typeface="+mn-ea"/>
                <a:sym typeface="+mn-lt"/>
              </a:rPr>
              <a:t>及年度报告数据</a:t>
            </a:r>
            <a:endParaRPr lang="zh-CN" altLang="en-US" dirty="0">
              <a:cs typeface="+mn-ea"/>
              <a:sym typeface="+mn-lt"/>
            </a:endParaRPr>
          </a:p>
          <a:p>
            <a:r>
              <a:rPr lang="en-US" altLang="zh-CN" dirty="0">
                <a:cs typeface="+mn-ea"/>
                <a:sym typeface="+mn-lt"/>
              </a:rPr>
              <a:t>2018-2022</a:t>
            </a:r>
            <a:r>
              <a:rPr lang="zh-CN" altLang="en-US" dirty="0">
                <a:cs typeface="+mn-ea"/>
                <a:sym typeface="+mn-lt"/>
              </a:rPr>
              <a:t>年</a:t>
            </a:r>
            <a:r>
              <a:rPr lang="en-US" altLang="zh-CN" dirty="0">
                <a:cs typeface="+mn-ea"/>
                <a:sym typeface="+mn-lt"/>
              </a:rPr>
              <a:t>ATLAS</a:t>
            </a:r>
            <a:r>
              <a:rPr lang="zh-CN" altLang="en-US" dirty="0">
                <a:cs typeface="+mn-ea"/>
                <a:sym typeface="+mn-lt"/>
              </a:rPr>
              <a:t>欧洲和美国的菌株数据</a:t>
            </a:r>
            <a:endParaRPr lang="en-US" altLang="zh-CN" dirty="0">
              <a:cs typeface="+mn-ea"/>
              <a:sym typeface="+mn-lt"/>
            </a:endParaRPr>
          </a:p>
          <a:p>
            <a:r>
              <a:rPr lang="en-US" altLang="zh-CN" dirty="0">
                <a:cs typeface="+mn-ea"/>
                <a:sym typeface="+mn-lt"/>
              </a:rPr>
              <a:t>CHINET 2024</a:t>
            </a:r>
            <a:r>
              <a:rPr lang="zh-CN" altLang="en-US" dirty="0">
                <a:cs typeface="+mn-ea"/>
                <a:sym typeface="+mn-lt"/>
              </a:rPr>
              <a:t>年全年细菌耐药监测结果</a:t>
            </a:r>
            <a:endParaRPr lang="en-US" altLang="zh-CN" dirty="0">
              <a:cs typeface="+mn-ea"/>
              <a:sym typeface="+mn-lt"/>
            </a:endParaRPr>
          </a:p>
        </p:txBody>
      </p:sp>
      <p:graphicFrame>
        <p:nvGraphicFramePr>
          <p:cNvPr id="5" name="图表 4"/>
          <p:cNvGraphicFramePr/>
          <p:nvPr/>
        </p:nvGraphicFramePr>
        <p:xfrm>
          <a:off x="5824598" y="2148217"/>
          <a:ext cx="6010050" cy="3907575"/>
        </p:xfrm>
        <a:graphic>
          <a:graphicData uri="http://schemas.openxmlformats.org/drawingml/2006/chart">
            <c:chart xmlns:c="http://schemas.openxmlformats.org/drawingml/2006/chart" xmlns:r="http://schemas.openxmlformats.org/officeDocument/2006/relationships" r:id="rId2"/>
          </a:graphicData>
        </a:graphic>
      </p:graphicFrame>
      <p:sp>
        <p:nvSpPr>
          <p:cNvPr id="6" name="文本框 5"/>
          <p:cNvSpPr txBox="1"/>
          <p:nvPr/>
        </p:nvSpPr>
        <p:spPr>
          <a:xfrm>
            <a:off x="3817620" y="6151245"/>
            <a:ext cx="8077835" cy="429895"/>
          </a:xfrm>
          <a:prstGeom prst="rect">
            <a:avLst/>
          </a:prstGeom>
          <a:noFill/>
        </p:spPr>
        <p:txBody>
          <a:bodyPr wrap="square">
            <a:spAutoFit/>
          </a:bodyPr>
          <a:p>
            <a:r>
              <a:rPr lang="en-US" altLang="zh-CN" sz="1100" dirty="0">
                <a:solidFill>
                  <a:schemeClr val="tx1">
                    <a:lumMod val="75000"/>
                    <a:lumOff val="25000"/>
                  </a:schemeClr>
                </a:solidFill>
                <a:latin typeface="Pfizer Tomorrow" charset="0"/>
                <a:ea typeface="微软雅黑" panose="020B0503020204020204" charset="-122"/>
                <a:sym typeface="Pfizer Tomorrow" charset="0"/>
              </a:rPr>
              <a:t>CRE</a:t>
            </a:r>
            <a:r>
              <a:rPr lang="zh-CN" altLang="en-US" sz="1100" dirty="0">
                <a:solidFill>
                  <a:schemeClr val="tx1">
                    <a:lumMod val="75000"/>
                    <a:lumOff val="25000"/>
                  </a:schemeClr>
                </a:solidFill>
                <a:latin typeface="Pfizer Tomorrow" charset="0"/>
                <a:ea typeface="微软雅黑" panose="020B0503020204020204" charset="-122"/>
                <a:sym typeface="Pfizer Tomorrow" charset="0"/>
              </a:rPr>
              <a:t>：碳青霉烯类耐药肠杆菌目细菌； </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CR-ECO</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大肠埃希菌；</a:t>
            </a:r>
            <a:r>
              <a:rPr lang="en-US" altLang="zh-CN" sz="1100" dirty="0" err="1">
                <a:solidFill>
                  <a:schemeClr val="tx1">
                    <a:lumMod val="75000"/>
                    <a:lumOff val="25000"/>
                  </a:schemeClr>
                </a:solidFill>
                <a:latin typeface="Pfizer Tomorrow" charset="0"/>
                <a:ea typeface="微软雅黑" panose="020B0503020204020204" charset="-122"/>
                <a:cs typeface="+mn-ea"/>
                <a:sym typeface="Pfizer Tomorrow" charset="0"/>
              </a:rPr>
              <a:t>CRKP</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肺炎克雷伯菌；</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CR-ECL</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阴沟肠杆菌；</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KPC</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肺炎克雷伯菌碳青霉烯酶；</a:t>
            </a:r>
            <a:r>
              <a:rPr lang="en-US" altLang="zh-CN" sz="1100" dirty="0" err="1">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OXA-48</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苯唑西林酶</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48</a:t>
            </a:r>
            <a:endPar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9" name="文本框 8"/>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顶角 9"/>
          <p:cNvSpPr/>
          <p:nvPr/>
        </p:nvSpPr>
        <p:spPr>
          <a:xfrm>
            <a:off x="3870325" y="1433513"/>
            <a:ext cx="4557713" cy="395288"/>
          </a:xfrm>
          <a:prstGeom prst="round2SameRect">
            <a:avLst>
              <a:gd name="adj1" fmla="val 32812"/>
              <a:gd name="adj2" fmla="val 0"/>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lvl="0" algn="ctr" fontAlgn="auto">
              <a:defRPr/>
            </a:pPr>
            <a:r>
              <a:rPr kumimoji="0" lang="en-US" altLang="zh-CN"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312</a:t>
            </a:r>
            <a:r>
              <a:rPr kumimoji="0" lang="zh-CN" altLang="en-US"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株不同基因型</a:t>
            </a:r>
            <a:r>
              <a:rPr kumimoji="0" lang="en-US" altLang="zh-CN"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CRE</a:t>
            </a:r>
            <a:r>
              <a:rPr kumimoji="0" lang="zh-CN" altLang="en-US"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分离株的分布情况</a:t>
            </a:r>
            <a:r>
              <a:rPr kumimoji="0" lang="en-US" altLang="zh-CN" sz="14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4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8" name="矩形: 圆角 7"/>
          <p:cNvSpPr/>
          <p:nvPr/>
        </p:nvSpPr>
        <p:spPr>
          <a:xfrm>
            <a:off x="954088" y="1822450"/>
            <a:ext cx="9998075" cy="265747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27651" name="标题 1"/>
          <p:cNvSpPr>
            <a:spLocks noGrp="1"/>
          </p:cNvSpPr>
          <p:nvPr>
            <p:ph type="title"/>
          </p:nvPr>
        </p:nvSpPr>
        <p:spPr>
          <a:xfrm>
            <a:off x="838200" y="262573"/>
            <a:ext cx="10515600" cy="891540"/>
          </a:xfrm>
        </p:spPr>
        <p:txBody>
          <a:bodyPr lIns="91440" tIns="45720" rIns="91440" bIns="45720" anchor="b" anchorCtr="0">
            <a:spAutoFit/>
          </a:bodyPr>
          <a:p>
            <a:pPr algn="ctr" defTabSz="914400">
              <a:buClrTx/>
              <a:buSzTx/>
              <a:buFontTx/>
              <a:buNone/>
            </a:pPr>
            <a:r>
              <a:rPr lang="zh-CN" altLang="en-US" sz="2600" b="1" kern="1200" dirty="0" smtClean="0">
                <a:solidFill>
                  <a:srgbClr val="000D45"/>
                </a:solidFill>
                <a:latin typeface="+mn-ea"/>
                <a:ea typeface="+mn-ea"/>
                <a:cs typeface="+mn-ea"/>
                <a:sym typeface="Pfizer Tomorrow" charset="0"/>
              </a:rPr>
              <a:t>共产酶挑战：</a:t>
            </a:r>
            <a:br>
              <a:rPr lang="zh-CN" altLang="en-US" sz="2600" b="1" kern="1200" dirty="0" smtClean="0">
                <a:solidFill>
                  <a:srgbClr val="000D45"/>
                </a:solidFill>
                <a:latin typeface="+mn-ea"/>
                <a:ea typeface="+mn-ea"/>
                <a:cs typeface="+mn-ea"/>
                <a:sym typeface="Pfizer Tomorrow" charset="0"/>
              </a:rPr>
            </a:br>
            <a:r>
              <a:rPr lang="zh-CN" altLang="en-US" sz="2600" b="1" kern="1200" dirty="0" smtClean="0">
                <a:solidFill>
                  <a:srgbClr val="000D45"/>
                </a:solidFill>
                <a:latin typeface="+mn-ea"/>
                <a:ea typeface="+mn-ea"/>
                <a:cs typeface="+mn-ea"/>
                <a:sym typeface="Pfizer Tomorrow" charset="0"/>
              </a:rPr>
              <a:t>CRE中7.4%的酶型为共产KPC+MBL，进一步加大了临床应对难度</a:t>
            </a:r>
            <a:endParaRPr lang="zh-CN" altLang="en-US" sz="2600" b="1" kern="1200" dirty="0" smtClean="0">
              <a:solidFill>
                <a:srgbClr val="000D45"/>
              </a:solidFill>
              <a:latin typeface="+mn-ea"/>
              <a:ea typeface="+mn-ea"/>
              <a:cs typeface="+mn-ea"/>
              <a:sym typeface="Pfizer Tomorrow" charset="0"/>
            </a:endParaRPr>
          </a:p>
        </p:txBody>
      </p:sp>
      <p:sp>
        <p:nvSpPr>
          <p:cNvPr id="27652" name="文本框 3"/>
          <p:cNvSpPr txBox="1"/>
          <p:nvPr/>
        </p:nvSpPr>
        <p:spPr>
          <a:xfrm>
            <a:off x="858838" y="6418263"/>
            <a:ext cx="10793412" cy="338137"/>
          </a:xfrm>
          <a:prstGeom prst="rect">
            <a:avLst/>
          </a:prstGeom>
          <a:noFill/>
          <a:ln w="9525">
            <a:noFill/>
          </a:ln>
        </p:spPr>
        <p:txBody>
          <a:bodyPr wrap="square" anchor="t" anchorCtr="0">
            <a:spAutoFit/>
          </a:bodyPr>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Li J,  et al.  Infect Drug Resist. 2024 May 2;17:1685-1697.</a:t>
            </a:r>
            <a:endParaRPr lang="en-US" altLang="zh-CN" sz="800" dirty="0">
              <a:latin typeface="Pfizer Tomorrow" charset="0"/>
              <a:ea typeface="微软雅黑" panose="020B0503020204020204" charset="-122"/>
              <a:sym typeface="Pfizer Tomorrow" charset="0"/>
            </a:endParaRPr>
          </a:p>
        </p:txBody>
      </p:sp>
      <p:sp>
        <p:nvSpPr>
          <p:cNvPr id="5" name="文本框 18"/>
          <p:cNvSpPr txBox="1"/>
          <p:nvPr/>
        </p:nvSpPr>
        <p:spPr>
          <a:xfrm>
            <a:off x="790575" y="5259388"/>
            <a:ext cx="10439400" cy="687388"/>
          </a:xfrm>
          <a:prstGeom prst="rect">
            <a:avLst/>
          </a:prstGeom>
          <a:noFill/>
        </p:spPr>
        <p:txBody>
          <a:bodyPr wrap="square" rtlCol="0">
            <a:spAutoFit/>
          </a:bodyPr>
          <a:p>
            <a:pPr algn="just" defTabSz="1219200">
              <a:lnSpc>
                <a:spcPct val="110000"/>
              </a:lnSpc>
            </a:pPr>
            <a:r>
              <a:rPr lang="zh-CN" altLang="en-US" sz="1200" dirty="0">
                <a:latin typeface="Pfizer Tomorrow" charset="0"/>
                <a:ea typeface="微软雅黑" panose="020B0503020204020204" charset="-122"/>
                <a:sym typeface="Pfizer Tomorrow" charset="0"/>
              </a:rPr>
              <a:t>一项</a:t>
            </a:r>
            <a:r>
              <a:rPr lang="zh-CN" altLang="en-US" sz="1200" baseline="0" dirty="0">
                <a:latin typeface="Pfizer Tomorrow" charset="0"/>
                <a:ea typeface="微软雅黑" panose="020B0503020204020204" charset="-122"/>
                <a:sym typeface="Pfizer Tomorrow" charset="0"/>
              </a:rPr>
              <a:t>多中心研究，收集了</a:t>
            </a:r>
            <a:r>
              <a:rPr lang="en-US" altLang="zh-CN" sz="1200" baseline="0" dirty="0">
                <a:latin typeface="Pfizer Tomorrow" charset="0"/>
                <a:ea typeface="微软雅黑" panose="020B0503020204020204" charset="-122"/>
                <a:sym typeface="Pfizer Tomorrow" charset="0"/>
              </a:rPr>
              <a:t>2016</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日至</a:t>
            </a:r>
            <a:r>
              <a:rPr lang="en-US" altLang="zh-CN" sz="1200" baseline="0" dirty="0">
                <a:latin typeface="Pfizer Tomorrow" charset="0"/>
                <a:ea typeface="微软雅黑" panose="020B0503020204020204" charset="-122"/>
                <a:sym typeface="Pfizer Tomorrow" charset="0"/>
              </a:rPr>
              <a:t>2017</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31</a:t>
            </a:r>
            <a:r>
              <a:rPr lang="zh-CN" altLang="en-US" sz="1200" baseline="0" dirty="0">
                <a:latin typeface="Pfizer Tomorrow" charset="0"/>
                <a:ea typeface="微软雅黑" panose="020B0503020204020204" charset="-122"/>
                <a:sym typeface="Pfizer Tomorrow" charset="0"/>
              </a:rPr>
              <a:t>日期间重庆市</a:t>
            </a:r>
            <a:r>
              <a:rPr lang="en-US" altLang="zh-CN" sz="1200" baseline="0" dirty="0">
                <a:latin typeface="Pfizer Tomorrow" charset="0"/>
                <a:ea typeface="微软雅黑" panose="020B0503020204020204" charset="-122"/>
                <a:sym typeface="Pfizer Tomorrow" charset="0"/>
              </a:rPr>
              <a:t>5</a:t>
            </a:r>
            <a:r>
              <a:rPr lang="zh-CN" altLang="en-US" sz="1200" baseline="0" dirty="0">
                <a:latin typeface="Pfizer Tomorrow" charset="0"/>
                <a:ea typeface="微软雅黑" panose="020B0503020204020204" charset="-122"/>
                <a:sym typeface="Pfizer Tomorrow" charset="0"/>
              </a:rPr>
              <a:t>个地理区域的</a:t>
            </a:r>
            <a:r>
              <a:rPr lang="en-US" altLang="zh-CN" sz="1200" baseline="0" dirty="0">
                <a:latin typeface="Pfizer Tomorrow" charset="0"/>
                <a:ea typeface="微软雅黑" panose="020B0503020204020204" charset="-122"/>
                <a:sym typeface="Pfizer Tomorrow" charset="0"/>
              </a:rPr>
              <a:t>22</a:t>
            </a:r>
            <a:r>
              <a:rPr lang="zh-CN" altLang="en-US" sz="1200" baseline="0" dirty="0">
                <a:latin typeface="Pfizer Tomorrow" charset="0"/>
                <a:ea typeface="微软雅黑" panose="020B0503020204020204" charset="-122"/>
                <a:sym typeface="Pfizer Tomorrow" charset="0"/>
              </a:rPr>
              <a:t>家医院的</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及其临床信息。根据实验室标准化研究所</a:t>
            </a:r>
            <a:r>
              <a:rPr lang="en-US" altLang="zh-CN" sz="1200" baseline="0" dirty="0">
                <a:latin typeface="Pfizer Tomorrow" charset="0"/>
                <a:ea typeface="微软雅黑" panose="020B0503020204020204" charset="-122"/>
                <a:sym typeface="Pfizer Tomorrow" charset="0"/>
              </a:rPr>
              <a:t>(</a:t>
            </a:r>
            <a:r>
              <a:rPr lang="en-US" altLang="zh-CN" sz="1200" baseline="0" dirty="0" err="1">
                <a:latin typeface="Pfizer Tomorrow" charset="0"/>
                <a:ea typeface="微软雅黑" panose="020B0503020204020204" charset="-122"/>
                <a:sym typeface="Pfizer Tomorrow" charset="0"/>
              </a:rPr>
              <a:t>CLSI</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推荐的药敏试验操作方法和判断标准，确定</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敏感性。旨在了解碳青霉烯酶基因的分布特征，并评估氨曲南</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和头孢他啶</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对中国西南重庆</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活性</a:t>
            </a:r>
            <a:r>
              <a:rPr lang="en-US" altLang="zh-CN" sz="1200" baseline="30000" dirty="0">
                <a:latin typeface="Pfizer Tomorrow" charset="0"/>
                <a:ea typeface="微软雅黑" panose="020B0503020204020204" charset="-122"/>
                <a:sym typeface="Pfizer Tomorrow" charset="0"/>
              </a:rPr>
              <a:t>1</a:t>
            </a:r>
            <a:endParaRPr lang="en-US" altLang="zh-CN" sz="1200" baseline="30000" dirty="0">
              <a:latin typeface="Pfizer Tomorrow" charset="0"/>
              <a:ea typeface="微软雅黑" panose="020B0503020204020204" charset="-122"/>
              <a:sym typeface="Pfizer Tomorrow" charset="0"/>
            </a:endParaRPr>
          </a:p>
        </p:txBody>
      </p:sp>
      <p:sp>
        <p:nvSpPr>
          <p:cNvPr id="27654" name="文本框 8"/>
          <p:cNvSpPr txBox="1"/>
          <p:nvPr/>
        </p:nvSpPr>
        <p:spPr>
          <a:xfrm>
            <a:off x="790575" y="5946775"/>
            <a:ext cx="10644188" cy="430213"/>
          </a:xfrm>
          <a:prstGeom prst="rect">
            <a:avLst/>
          </a:prstGeom>
          <a:noFill/>
          <a:ln w="9525">
            <a:noFill/>
          </a:ln>
        </p:spPr>
        <p:txBody>
          <a:bodyPr wrap="square" anchor="t" anchorCtr="0">
            <a:spAutoFit/>
          </a:bodyPr>
          <a:p>
            <a:r>
              <a:rPr lang="en-US" altLang="zh-CN" sz="1100" dirty="0">
                <a:solidFill>
                  <a:srgbClr val="404040"/>
                </a:solidFill>
                <a:latin typeface="Pfizer Tomorrow" charset="0"/>
                <a:ea typeface="微软雅黑" panose="020B0503020204020204" charset="-122"/>
                <a:sym typeface="Pfizer Tomorrow" charset="0"/>
              </a:rPr>
              <a:t>CRE</a:t>
            </a:r>
            <a:r>
              <a:rPr lang="zh-CN" altLang="en-US" sz="1100" dirty="0">
                <a:solidFill>
                  <a:srgbClr val="404040"/>
                </a:solidFill>
                <a:latin typeface="Pfizer Tomorrow" charset="0"/>
                <a:ea typeface="微软雅黑" panose="020B0503020204020204" charset="-122"/>
                <a:sym typeface="Pfizer Tomorrow" charset="0"/>
              </a:rPr>
              <a:t>：碳青霉烯类耐药肠杆菌目细菌；</a:t>
            </a:r>
            <a:r>
              <a:rPr lang="en-US" altLang="zh-CN" sz="1100" dirty="0">
                <a:solidFill>
                  <a:srgbClr val="404040"/>
                </a:solidFill>
                <a:latin typeface="Pfizer Tomorrow" charset="0"/>
                <a:ea typeface="微软雅黑" panose="020B0503020204020204" charset="-122"/>
                <a:sym typeface="Pfizer Tomorrow" charset="0"/>
              </a:rPr>
              <a:t>KPC</a:t>
            </a:r>
            <a:r>
              <a:rPr lang="zh-CN" altLang="en-US" sz="1100" dirty="0">
                <a:solidFill>
                  <a:srgbClr val="404040"/>
                </a:solidFill>
                <a:latin typeface="Pfizer Tomorrow" charset="0"/>
                <a:ea typeface="微软雅黑" panose="020B0503020204020204" charset="-122"/>
                <a:sym typeface="Pfizer Tomorrow" charset="0"/>
              </a:rPr>
              <a:t>：肺炎克雷伯菌碳青霉烯酶；</a:t>
            </a:r>
            <a:r>
              <a:rPr lang="en-US" altLang="zh-CN" sz="1100" dirty="0">
                <a:solidFill>
                  <a:srgbClr val="404040"/>
                </a:solidFill>
                <a:latin typeface="Pfizer Tomorrow" charset="0"/>
                <a:ea typeface="微软雅黑" panose="020B0503020204020204" charset="-122"/>
                <a:sym typeface="Pfizer Tomorrow" charset="0"/>
              </a:rPr>
              <a:t>MBL</a:t>
            </a:r>
            <a:r>
              <a:rPr lang="zh-CN" altLang="en-US" sz="1100" dirty="0">
                <a:solidFill>
                  <a:srgbClr val="404040"/>
                </a:solidFill>
                <a:latin typeface="Pfizer Tomorrow" charset="0"/>
                <a:ea typeface="微软雅黑" panose="020B0503020204020204" charset="-122"/>
                <a:sym typeface="Pfizer Tomorrow" charset="0"/>
              </a:rPr>
              <a:t>：金属 </a:t>
            </a:r>
            <a:r>
              <a:rPr lang="en-US" altLang="zh-CN" sz="1100" dirty="0">
                <a:solidFill>
                  <a:srgbClr val="404040"/>
                </a:solidFill>
                <a:latin typeface="Pfizer Tomorrow" charset="0"/>
                <a:ea typeface="微软雅黑" panose="020B0503020204020204" charset="-122"/>
                <a:sym typeface="Pfizer Tomorrow" charset="0"/>
              </a:rPr>
              <a:t>β-</a:t>
            </a:r>
            <a:r>
              <a:rPr lang="zh-CN" altLang="en-US" sz="1100" dirty="0">
                <a:solidFill>
                  <a:srgbClr val="404040"/>
                </a:solidFill>
                <a:latin typeface="Pfizer Tomorrow" charset="0"/>
                <a:ea typeface="微软雅黑" panose="020B0503020204020204" charset="-122"/>
                <a:sym typeface="Pfizer Tomorrow" charset="0"/>
              </a:rPr>
              <a:t>内酰胺酶；</a:t>
            </a:r>
            <a:r>
              <a:rPr lang="en-US" altLang="zh-CN" sz="1100" dirty="0">
                <a:solidFill>
                  <a:srgbClr val="404040"/>
                </a:solidFill>
                <a:latin typeface="Pfizer Tomorrow" charset="0"/>
                <a:ea typeface="微软雅黑" panose="020B0503020204020204" charset="-122"/>
                <a:sym typeface="Pfizer Tomorrow" charset="0"/>
              </a:rPr>
              <a:t>NDM</a:t>
            </a:r>
            <a:r>
              <a:rPr lang="zh-CN" altLang="en-US" sz="1100" dirty="0">
                <a:solidFill>
                  <a:srgbClr val="404040"/>
                </a:solidFill>
                <a:latin typeface="Pfizer Tomorrow" charset="0"/>
                <a:ea typeface="微软雅黑" panose="020B0503020204020204" charset="-122"/>
                <a:sym typeface="Pfizer Tomorrow" charset="0"/>
              </a:rPr>
              <a:t>：新德里金属</a:t>
            </a:r>
            <a:r>
              <a:rPr lang="en-US" altLang="zh-CN" sz="1100" dirty="0">
                <a:solidFill>
                  <a:srgbClr val="404040"/>
                </a:solidFill>
                <a:latin typeface="Pfizer Tomorrow" charset="0"/>
                <a:ea typeface="微软雅黑" panose="020B0503020204020204" charset="-122"/>
                <a:sym typeface="Pfizer Tomorrow" charset="0"/>
              </a:rPr>
              <a:t>β-</a:t>
            </a:r>
            <a:r>
              <a:rPr lang="zh-CN" altLang="en-US" sz="1100" dirty="0">
                <a:solidFill>
                  <a:srgbClr val="404040"/>
                </a:solidFill>
                <a:latin typeface="Pfizer Tomorrow" charset="0"/>
                <a:ea typeface="微软雅黑" panose="020B0503020204020204" charset="-122"/>
                <a:sym typeface="Pfizer Tomorrow" charset="0"/>
              </a:rPr>
              <a:t>内酰胺酶；</a:t>
            </a:r>
            <a:r>
              <a:rPr lang="en-US" altLang="zh-CN" sz="1100" dirty="0">
                <a:solidFill>
                  <a:srgbClr val="404040"/>
                </a:solidFill>
                <a:latin typeface="Pfizer Tomorrow" charset="0"/>
                <a:ea typeface="微软雅黑" panose="020B0503020204020204" charset="-122"/>
                <a:sym typeface="Pfizer Tomorrow" charset="0"/>
              </a:rPr>
              <a:t> CRKP</a:t>
            </a:r>
            <a:r>
              <a:rPr lang="zh-CN" altLang="en-US" sz="1100" dirty="0">
                <a:solidFill>
                  <a:srgbClr val="404040"/>
                </a:solidFill>
                <a:latin typeface="Pfizer Tomorrow" charset="0"/>
                <a:ea typeface="微软雅黑" panose="020B0503020204020204" charset="-122"/>
                <a:sym typeface="Pfizer Tomorrow" charset="0"/>
              </a:rPr>
              <a:t>：碳青霉烯类耐药肺炎克雷伯菌；</a:t>
            </a:r>
            <a:r>
              <a:rPr lang="en-US" altLang="zh-CN" sz="1100" dirty="0">
                <a:solidFill>
                  <a:srgbClr val="404040"/>
                </a:solidFill>
                <a:latin typeface="Pfizer Tomorrow" charset="0"/>
                <a:ea typeface="微软雅黑" panose="020B0503020204020204" charset="-122"/>
                <a:sym typeface="Pfizer Tomorrow" charset="0"/>
              </a:rPr>
              <a:t> CP</a:t>
            </a:r>
            <a:r>
              <a:rPr lang="zh-CN" altLang="en-US" sz="1100" dirty="0">
                <a:solidFill>
                  <a:srgbClr val="404040"/>
                </a:solidFill>
                <a:latin typeface="Pfizer Tomorrow" charset="0"/>
                <a:ea typeface="微软雅黑" panose="020B0503020204020204" charset="-122"/>
                <a:sym typeface="Pfizer Tomorrow" charset="0"/>
              </a:rPr>
              <a:t>：产碳青霉烯酶；</a:t>
            </a:r>
            <a:endParaRPr lang="zh-CN" altLang="en-US" sz="1100" dirty="0">
              <a:solidFill>
                <a:srgbClr val="404040"/>
              </a:solidFill>
              <a:latin typeface="Pfizer Tomorrow" charset="0"/>
              <a:ea typeface="微软雅黑" panose="020B0503020204020204" charset="-122"/>
              <a:sym typeface="Pfizer Tomorrow" charset="0"/>
            </a:endParaRPr>
          </a:p>
        </p:txBody>
      </p:sp>
      <p:graphicFrame>
        <p:nvGraphicFramePr>
          <p:cNvPr id="17" name="图表 16"/>
          <p:cNvGraphicFramePr/>
          <p:nvPr/>
        </p:nvGraphicFramePr>
        <p:xfrm>
          <a:off x="1280966" y="1843805"/>
          <a:ext cx="9458154" cy="2636755"/>
        </p:xfrm>
        <a:graphic>
          <a:graphicData uri="http://schemas.openxmlformats.org/drawingml/2006/chart">
            <c:chart xmlns:c="http://schemas.openxmlformats.org/drawingml/2006/chart" xmlns:r="http://schemas.openxmlformats.org/officeDocument/2006/relationships" r:id="rId1"/>
          </a:graphicData>
        </a:graphic>
      </p:graphicFrame>
      <p:sp>
        <p:nvSpPr>
          <p:cNvPr id="27656" name="文本框 25"/>
          <p:cNvSpPr txBox="1"/>
          <p:nvPr/>
        </p:nvSpPr>
        <p:spPr>
          <a:xfrm rot="-5400000">
            <a:off x="100013" y="3224213"/>
            <a:ext cx="2084387" cy="277812"/>
          </a:xfrm>
          <a:prstGeom prst="rect">
            <a:avLst/>
          </a:prstGeom>
          <a:solidFill>
            <a:schemeClr val="bg1"/>
          </a:solidFill>
          <a:ln w="9525">
            <a:noFill/>
          </a:ln>
        </p:spPr>
        <p:txBody>
          <a:bodyPr wrap="square" anchor="t" anchorCtr="0">
            <a:spAutoFit/>
          </a:bodyPr>
          <a:p>
            <a:pPr algn="ctr"/>
            <a:r>
              <a:rPr lang="zh-CN" altLang="en-US" sz="1200" dirty="0">
                <a:solidFill>
                  <a:srgbClr val="404040"/>
                </a:solidFill>
                <a:latin typeface="Pfizer Tomorrow" charset="0"/>
                <a:ea typeface="微软雅黑" panose="020B0503020204020204" charset="-122"/>
                <a:sym typeface="Pfizer Tomorrow" charset="0"/>
              </a:rPr>
              <a:t>分离株百分比</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27657" name="文本框 15"/>
          <p:cNvSpPr txBox="1"/>
          <p:nvPr/>
        </p:nvSpPr>
        <p:spPr>
          <a:xfrm>
            <a:off x="954088" y="4562475"/>
            <a:ext cx="9998075" cy="587375"/>
          </a:xfrm>
          <a:prstGeom prst="rect">
            <a:avLst/>
          </a:prstGeom>
          <a:solidFill>
            <a:srgbClr val="89E9C1">
              <a:alpha val="28999"/>
            </a:srgbClr>
          </a:solidFill>
          <a:ln w="9525">
            <a:noFill/>
          </a:ln>
        </p:spPr>
        <p:txBody>
          <a:bodyPr wrap="square" anchor="t" anchorCtr="0">
            <a:spAutoFit/>
          </a:bodyPr>
          <a:p>
            <a:pPr>
              <a:lnSpc>
                <a:spcPct val="120000"/>
              </a:lnSpc>
            </a:pPr>
            <a:r>
              <a:rPr lang="en-US" altLang="zh-CN" sz="1400" b="1" dirty="0">
                <a:solidFill>
                  <a:schemeClr val="tx1"/>
                </a:solidFill>
                <a:latin typeface="Arial" panose="020B0604020202090204" pitchFamily="34" charset="0"/>
                <a:ea typeface="微软雅黑" panose="020B0503020204020204" charset="-122"/>
              </a:rPr>
              <a:t>CRE</a:t>
            </a:r>
            <a:r>
              <a:rPr lang="zh-CN" altLang="en-US" sz="1400" b="1" dirty="0">
                <a:solidFill>
                  <a:schemeClr val="tx1"/>
                </a:solidFill>
                <a:latin typeface="Arial" panose="020B0604020202090204" pitchFamily="34" charset="0"/>
                <a:ea typeface="微软雅黑" panose="020B0503020204020204" charset="-122"/>
              </a:rPr>
              <a:t>共产</a:t>
            </a:r>
            <a:r>
              <a:rPr lang="en-US" altLang="zh-CN" sz="1400" b="1" dirty="0">
                <a:solidFill>
                  <a:schemeClr val="tx1"/>
                </a:solidFill>
                <a:latin typeface="Pfizer Tomorrow" charset="0"/>
                <a:ea typeface="微软雅黑" panose="020B0503020204020204" charset="-122"/>
                <a:sym typeface="Pfizer Tomorrow" charset="0"/>
              </a:rPr>
              <a:t>KPC</a:t>
            </a:r>
            <a:r>
              <a:rPr lang="zh-CN" altLang="en-US" sz="1400" b="1" dirty="0">
                <a:solidFill>
                  <a:schemeClr val="tx1"/>
                </a:solidFill>
                <a:latin typeface="Pfizer Tomorrow" charset="0"/>
                <a:ea typeface="微软雅黑" panose="020B0503020204020204" charset="-122"/>
                <a:sym typeface="Pfizer Tomorrow" charset="0"/>
              </a:rPr>
              <a:t>、</a:t>
            </a:r>
            <a:r>
              <a:rPr lang="en-US" altLang="zh-CN" sz="1400" b="1" dirty="0">
                <a:solidFill>
                  <a:schemeClr val="tx1"/>
                </a:solidFill>
                <a:latin typeface="Pfizer Tomorrow" charset="0"/>
                <a:ea typeface="微软雅黑" panose="020B0503020204020204" charset="-122"/>
                <a:sym typeface="Pfizer Tomorrow" charset="0"/>
              </a:rPr>
              <a:t>MBL</a:t>
            </a:r>
            <a:r>
              <a:rPr lang="zh-CN" altLang="en-US" sz="1400" b="1" dirty="0">
                <a:solidFill>
                  <a:schemeClr val="tx1"/>
                </a:solidFill>
                <a:latin typeface="Pfizer Tomorrow" charset="0"/>
                <a:ea typeface="微软雅黑" panose="020B0503020204020204" charset="-122"/>
                <a:sym typeface="Pfizer Tomorrow" charset="0"/>
              </a:rPr>
              <a:t>的临床影响</a:t>
            </a:r>
            <a:r>
              <a:rPr lang="zh-CN" altLang="en-US" sz="1400" dirty="0">
                <a:solidFill>
                  <a:schemeClr val="tx1"/>
                </a:solidFill>
                <a:latin typeface="Pfizer Tomorrow" charset="0"/>
                <a:ea typeface="微软雅黑" panose="020B0503020204020204" charset="-122"/>
                <a:sym typeface="Pfizer Tomorrow" charset="0"/>
              </a:rPr>
              <a:t>：</a:t>
            </a:r>
            <a:br>
              <a:rPr lang="en-US" altLang="zh-CN" sz="1400" dirty="0">
                <a:solidFill>
                  <a:schemeClr val="tx1"/>
                </a:solidFill>
                <a:latin typeface="Pfizer Tomorrow" charset="0"/>
                <a:ea typeface="微软雅黑" panose="020B0503020204020204" charset="-122"/>
                <a:sym typeface="Pfizer Tomorrow" charset="0"/>
              </a:rPr>
            </a:br>
            <a:r>
              <a:rPr lang="en-US" altLang="zh-CN" sz="1400" dirty="0">
                <a:solidFill>
                  <a:schemeClr val="tx1"/>
                </a:solidFill>
                <a:latin typeface="Pfizer Tomorrow" charset="0"/>
                <a:ea typeface="微软雅黑" panose="020B0503020204020204" charset="-122"/>
                <a:sym typeface="Pfizer Tomorrow" charset="0"/>
              </a:rPr>
              <a:t>       </a:t>
            </a:r>
            <a:r>
              <a:rPr lang="zh-CN" altLang="en-US" sz="1400" dirty="0">
                <a:solidFill>
                  <a:schemeClr val="tx1"/>
                </a:solidFill>
                <a:latin typeface="Pfizer Tomorrow" charset="0"/>
                <a:ea typeface="微软雅黑" panose="020B0503020204020204" charset="-122"/>
                <a:sym typeface="Pfizer Tomorrow" charset="0"/>
              </a:rPr>
              <a:t>研究显示，</a:t>
            </a:r>
            <a:r>
              <a:rPr lang="en-US" altLang="zh-CN" sz="1400" dirty="0">
                <a:solidFill>
                  <a:schemeClr val="tx1"/>
                </a:solidFill>
                <a:latin typeface="Arial" panose="020B0604020202090204" pitchFamily="34" charset="0"/>
                <a:ea typeface="微软雅黑" panose="020B0503020204020204" charset="-122"/>
              </a:rPr>
              <a:t>KPC-NDM-CRKP</a:t>
            </a:r>
            <a:r>
              <a:rPr lang="zh-CN" altLang="en-US" sz="1400" dirty="0">
                <a:solidFill>
                  <a:schemeClr val="tx1"/>
                </a:solidFill>
                <a:latin typeface="Arial" panose="020B0604020202090204" pitchFamily="34" charset="0"/>
                <a:ea typeface="微软雅黑" panose="020B0503020204020204" charset="-122"/>
              </a:rPr>
              <a:t>的出现导致了耐药性的增加、治疗选择极其有限，可能进一步导致死亡率升高</a:t>
            </a:r>
            <a:r>
              <a:rPr lang="en-US" altLang="zh-CN" sz="1400" baseline="30000" dirty="0">
                <a:solidFill>
                  <a:schemeClr val="tx1"/>
                </a:solidFill>
                <a:latin typeface="Arial" panose="020B0604020202090204" pitchFamily="34" charset="0"/>
                <a:ea typeface="微软雅黑" panose="020B0503020204020204" charset="-122"/>
              </a:rPr>
              <a:t>2</a:t>
            </a:r>
            <a:endParaRPr lang="en-US" altLang="zh-CN" sz="1400" baseline="30000" dirty="0">
              <a:solidFill>
                <a:schemeClr val="tx1"/>
              </a:solidFill>
              <a:latin typeface="Arial" panose="020B0604020202090204" pitchFamily="34"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9697" name="标题 1"/>
          <p:cNvSpPr>
            <a:spLocks noGrp="1"/>
          </p:cNvSpPr>
          <p:nvPr>
            <p:ph type="title"/>
          </p:nvPr>
        </p:nvSpPr>
        <p:spPr>
          <a:xfrm>
            <a:off x="838200" y="262573"/>
            <a:ext cx="10515600" cy="891540"/>
          </a:xfrm>
        </p:spPr>
        <p:txBody>
          <a:bodyPr lIns="91440" tIns="45720" rIns="91440" bIns="45720" anchor="b" anchorCtr="0">
            <a:spAutoFit/>
          </a:bodyPr>
          <a:p>
            <a:pPr algn="ctr" defTabSz="914400">
              <a:buClrTx/>
              <a:buSzTx/>
              <a:buFontTx/>
              <a:buNone/>
            </a:pPr>
            <a:r>
              <a:rPr lang="zh-CN" altLang="en-US" sz="2600" b="1" kern="1200" dirty="0" smtClean="0">
                <a:solidFill>
                  <a:srgbClr val="000D45"/>
                </a:solidFill>
                <a:latin typeface="+mn-ea"/>
                <a:ea typeface="+mn-ea"/>
                <a:cs typeface="+mn-ea"/>
                <a:sym typeface="Pfizer Tomorrow" charset="0"/>
              </a:rPr>
              <a:t>MBL-CRE在ICU中检出率高，</a:t>
            </a:r>
            <a:br>
              <a:rPr lang="zh-CN" altLang="en-US" sz="2600" b="1" kern="1200" dirty="0" smtClean="0">
                <a:solidFill>
                  <a:srgbClr val="000D45"/>
                </a:solidFill>
                <a:latin typeface="+mn-ea"/>
                <a:ea typeface="+mn-ea"/>
                <a:cs typeface="+mn-ea"/>
                <a:sym typeface="Pfizer Tomorrow" charset="0"/>
              </a:rPr>
            </a:br>
            <a:r>
              <a:rPr lang="zh-CN" altLang="en-US" sz="2600" b="1" kern="1200" dirty="0" smtClean="0">
                <a:solidFill>
                  <a:srgbClr val="000D45"/>
                </a:solidFill>
                <a:latin typeface="+mn-ea"/>
                <a:ea typeface="+mn-ea"/>
                <a:cs typeface="+mn-ea"/>
                <a:sym typeface="Pfizer Tomorrow" charset="0"/>
              </a:rPr>
              <a:t>感染高发部位主要包括血液、呼吸道及腹腔等，感染病情重</a:t>
            </a:r>
            <a:endParaRPr lang="zh-CN" altLang="en-US" sz="2600" b="1" kern="1200" dirty="0" smtClean="0">
              <a:solidFill>
                <a:srgbClr val="000D45"/>
              </a:solidFill>
              <a:latin typeface="+mn-ea"/>
              <a:ea typeface="+mn-ea"/>
              <a:cs typeface="+mn-ea"/>
              <a:sym typeface="Pfizer Tomorrow" charset="0"/>
            </a:endParaRPr>
          </a:p>
        </p:txBody>
      </p:sp>
      <p:sp>
        <p:nvSpPr>
          <p:cNvPr id="29698" name="文本框 3"/>
          <p:cNvSpPr txBox="1"/>
          <p:nvPr/>
        </p:nvSpPr>
        <p:spPr>
          <a:xfrm>
            <a:off x="425450" y="6348413"/>
            <a:ext cx="6096000" cy="215900"/>
          </a:xfrm>
          <a:prstGeom prst="rect">
            <a:avLst/>
          </a:prstGeom>
          <a:noFill/>
          <a:ln w="9525">
            <a:noFill/>
          </a:ln>
        </p:spPr>
        <p:txBody>
          <a:bodyPr wrap="square" anchor="t" anchorCtr="0">
            <a:spAutoFit/>
          </a:bodyPr>
          <a:p>
            <a:r>
              <a:rPr lang="en-US" altLang="zh-CN" sz="800" dirty="0" err="1">
                <a:latin typeface="Pfizer Tomorrow" charset="0"/>
                <a:ea typeface="微软雅黑" panose="020B0503020204020204" charset="-122"/>
                <a:sym typeface="Pfizer Tomorrow" charset="0"/>
              </a:rPr>
              <a:t>Piérard</a:t>
            </a:r>
            <a:r>
              <a:rPr lang="en-US" altLang="zh-CN" sz="800" dirty="0">
                <a:latin typeface="Pfizer Tomorrow" charset="0"/>
                <a:ea typeface="微软雅黑" panose="020B0503020204020204" charset="-122"/>
                <a:sym typeface="Pfizer Tomorrow" charset="0"/>
              </a:rPr>
              <a:t> D, et al. Antibiotics (Basel). 2023 Nov 3;12(11):1591. </a:t>
            </a:r>
            <a:endParaRPr lang="zh-CN" altLang="en-US" sz="800" dirty="0">
              <a:latin typeface="Pfizer Tomorrow" charset="0"/>
              <a:ea typeface="微软雅黑" panose="020B0503020204020204" charset="-122"/>
              <a:sym typeface="Pfizer Tomorrow" charset="0"/>
            </a:endParaRPr>
          </a:p>
        </p:txBody>
      </p:sp>
      <p:sp>
        <p:nvSpPr>
          <p:cNvPr id="29699" name="文本框 4"/>
          <p:cNvSpPr txBox="1"/>
          <p:nvPr/>
        </p:nvSpPr>
        <p:spPr>
          <a:xfrm>
            <a:off x="425450" y="5303838"/>
            <a:ext cx="11366500" cy="687387"/>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本研究为抗菌测试领导和监测 </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的一部分，评估了 </a:t>
            </a:r>
            <a:r>
              <a:rPr lang="en-US" altLang="zh-CN" sz="1200" dirty="0">
                <a:latin typeface="Pfizer Tomorrow" charset="0"/>
                <a:ea typeface="微软雅黑" panose="020B0503020204020204" charset="-122"/>
                <a:sym typeface="Pfizer Tomorrow" charset="0"/>
              </a:rPr>
              <a:t>2016 </a:t>
            </a:r>
            <a:r>
              <a:rPr lang="zh-CN" altLang="en-US" sz="1200" dirty="0">
                <a:latin typeface="Pfizer Tomorrow" charset="0"/>
                <a:ea typeface="微软雅黑" panose="020B0503020204020204" charset="-122"/>
                <a:sym typeface="Pfizer Tomorrow" charset="0"/>
              </a:rPr>
              <a:t>年至 </a:t>
            </a:r>
            <a:r>
              <a:rPr lang="en-US" altLang="zh-CN" sz="1200" dirty="0">
                <a:latin typeface="Pfizer Tomorrow" charset="0"/>
                <a:ea typeface="微软雅黑" panose="020B0503020204020204" charset="-122"/>
                <a:sym typeface="Pfizer Tomorrow" charset="0"/>
              </a:rPr>
              <a:t>2020 </a:t>
            </a:r>
            <a:r>
              <a:rPr lang="zh-CN" altLang="en-US" sz="1200" dirty="0">
                <a:latin typeface="Pfizer Tomorrow" charset="0"/>
                <a:ea typeface="微软雅黑" panose="020B0503020204020204" charset="-122"/>
                <a:sym typeface="Pfizer Tomorrow" charset="0"/>
              </a:rPr>
              <a:t>年间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和对照抗菌药物对</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收集的肠杆菌属（包含非洲中东部、亚太地区、欧洲、拉丁美洲和北美的呼吸道感染、尿路感染、血流感染和腹腔感染患者）分离株和关键耐药表型的活性，并按照</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和非</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感染源和地理区域分层。根据</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指南确定最低抑菌浓度，使用</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和</a:t>
            </a:r>
            <a:r>
              <a:rPr lang="en-US" altLang="zh-CN" sz="1200" dirty="0" err="1">
                <a:latin typeface="Pfizer Tomorrow" charset="0"/>
                <a:ea typeface="微软雅黑" panose="020B0503020204020204" charset="-122"/>
                <a:sym typeface="Pfizer Tomorrow" charset="0"/>
              </a:rPr>
              <a:t>EUCAST</a:t>
            </a:r>
            <a:r>
              <a:rPr lang="zh-CN" altLang="en-US" sz="1200" dirty="0">
                <a:latin typeface="Pfizer Tomorrow" charset="0"/>
                <a:ea typeface="微软雅黑" panose="020B0503020204020204" charset="-122"/>
                <a:sym typeface="Pfizer Tomorrow" charset="0"/>
              </a:rPr>
              <a:t>折点确定抗菌药物的敏感性</a:t>
            </a:r>
            <a:endParaRPr lang="zh-CN" altLang="en-US" sz="1200" dirty="0">
              <a:latin typeface="Pfizer Tomorrow" charset="0"/>
              <a:ea typeface="微软雅黑" panose="020B0503020204020204" charset="-122"/>
              <a:sym typeface="Pfizer Tomorrow" charset="0"/>
            </a:endParaRPr>
          </a:p>
        </p:txBody>
      </p:sp>
      <p:sp>
        <p:nvSpPr>
          <p:cNvPr id="29700" name="文本框 80"/>
          <p:cNvSpPr txBox="1"/>
          <p:nvPr/>
        </p:nvSpPr>
        <p:spPr>
          <a:xfrm>
            <a:off x="425450" y="5991225"/>
            <a:ext cx="10515600" cy="261938"/>
          </a:xfrm>
          <a:prstGeom prst="rect">
            <a:avLst/>
          </a:prstGeom>
          <a:noFill/>
          <a:ln w="9525">
            <a:noFill/>
          </a:ln>
        </p:spPr>
        <p:txBody>
          <a:bodyPr wrap="square" anchor="t" anchorCtr="0">
            <a:spAutoFit/>
          </a:bodyPr>
          <a:p>
            <a:r>
              <a:rPr lang="en-US" altLang="zh-CN" sz="1100" dirty="0">
                <a:latin typeface="Pfizer Tomorrow" charset="0"/>
                <a:ea typeface="微软雅黑" panose="020B0503020204020204" charset="-122"/>
                <a:sym typeface="Pfizer Tomorrow" charset="0"/>
              </a:rPr>
              <a:t>ICU</a:t>
            </a:r>
            <a:r>
              <a:rPr lang="zh-CN" altLang="en-US" sz="1100" dirty="0">
                <a:latin typeface="Pfizer Tomorrow" charset="0"/>
                <a:ea typeface="微软雅黑" panose="020B0503020204020204" charset="-122"/>
                <a:sym typeface="Pfizer Tomorrow" charset="0"/>
              </a:rPr>
              <a:t>：重症监护室；</a:t>
            </a:r>
            <a:r>
              <a:rPr lang="en-US" altLang="zh-CN" sz="1100" dirty="0" err="1">
                <a:latin typeface="Pfizer Tomorrow" charset="0"/>
                <a:ea typeface="微软雅黑" panose="020B0503020204020204" charset="-122"/>
                <a:sym typeface="Pfizer Tomorrow" charset="0"/>
              </a:rPr>
              <a:t>MBL</a:t>
            </a:r>
            <a:r>
              <a:rPr lang="zh-CN" altLang="en-US" sz="1100" dirty="0">
                <a:latin typeface="Pfizer Tomorrow" charset="0"/>
                <a:ea typeface="微软雅黑" panose="020B0503020204020204" charset="-122"/>
                <a:sym typeface="Pfizer Tomorrow" charset="0"/>
              </a:rPr>
              <a:t>：金属 </a:t>
            </a:r>
            <a:r>
              <a:rPr lang="en-US" altLang="zh-CN" sz="1100" dirty="0">
                <a:latin typeface="Pfizer Tomorrow" charset="0"/>
                <a:ea typeface="微软雅黑" panose="020B0503020204020204" charset="-122"/>
                <a:sym typeface="Pfizer Tomorrow" charset="0"/>
              </a:rPr>
              <a:t>β-</a:t>
            </a:r>
            <a:r>
              <a:rPr lang="zh-CN" altLang="en-US" sz="1100" dirty="0">
                <a:latin typeface="Pfizer Tomorrow" charset="0"/>
                <a:ea typeface="微软雅黑" panose="020B0503020204020204" charset="-122"/>
                <a:sym typeface="Pfizer Tomorrow" charset="0"/>
              </a:rPr>
              <a:t>内酰胺酶；</a:t>
            </a:r>
            <a:r>
              <a:rPr lang="en-US" altLang="zh-CN" sz="1100" dirty="0">
                <a:latin typeface="Pfizer Tomorrow" charset="0"/>
                <a:ea typeface="微软雅黑" panose="020B0503020204020204" charset="-122"/>
                <a:sym typeface="Pfizer Tomorrow" charset="0"/>
              </a:rPr>
              <a:t> CRE</a:t>
            </a:r>
            <a:r>
              <a:rPr lang="zh-CN" altLang="en-US" sz="1100" dirty="0">
                <a:latin typeface="Pfizer Tomorrow" charset="0"/>
                <a:ea typeface="微软雅黑" panose="020B0503020204020204" charset="-122"/>
                <a:sym typeface="Pfizer Tomorrow" charset="0"/>
              </a:rPr>
              <a:t>：碳青霉烯类耐药肠杆菌目细菌；</a:t>
            </a:r>
            <a:r>
              <a:rPr lang="en-US" altLang="zh-CN" sz="1100" dirty="0">
                <a:latin typeface="Pfizer Tomorrow" charset="0"/>
                <a:ea typeface="微软雅黑" panose="020B0503020204020204" charset="-122"/>
                <a:sym typeface="Pfizer Tomorrow" charset="0"/>
              </a:rPr>
              <a:t> </a:t>
            </a:r>
            <a:r>
              <a:rPr lang="en-US" altLang="zh-CN" sz="1100" dirty="0" err="1">
                <a:latin typeface="Pfizer Tomorrow" charset="0"/>
                <a:ea typeface="微软雅黑" panose="020B0503020204020204" charset="-122"/>
                <a:sym typeface="Pfizer Tomorrow" charset="0"/>
              </a:rPr>
              <a:t>CLSI</a:t>
            </a:r>
            <a:r>
              <a:rPr lang="zh-CN" altLang="en-US" sz="1100" dirty="0">
                <a:latin typeface="Pfizer Tomorrow" charset="0"/>
                <a:ea typeface="微软雅黑" panose="020B0503020204020204" charset="-122"/>
                <a:sym typeface="Pfizer Tomorrow" charset="0"/>
              </a:rPr>
              <a:t>：临床和实验室标准协会；</a:t>
            </a:r>
            <a:r>
              <a:rPr lang="en-US" altLang="zh-CN" sz="1100" dirty="0">
                <a:latin typeface="Pfizer Tomorrow" charset="0"/>
                <a:ea typeface="微软雅黑" panose="020B0503020204020204" charset="-122"/>
                <a:sym typeface="Pfizer Tomorrow" charset="0"/>
              </a:rPr>
              <a:t> </a:t>
            </a:r>
            <a:r>
              <a:rPr lang="en-US" altLang="zh-CN" sz="1100" dirty="0" err="1">
                <a:latin typeface="Pfizer Tomorrow" charset="0"/>
                <a:ea typeface="微软雅黑" panose="020B0503020204020204" charset="-122"/>
                <a:sym typeface="Pfizer Tomorrow" charset="0"/>
              </a:rPr>
              <a:t>EUCAST</a:t>
            </a:r>
            <a:r>
              <a:rPr lang="zh-CN" altLang="en-US" sz="1100" dirty="0">
                <a:latin typeface="Pfizer Tomorrow" charset="0"/>
                <a:ea typeface="微软雅黑" panose="020B0503020204020204" charset="-122"/>
                <a:sym typeface="Pfizer Tomorrow" charset="0"/>
              </a:rPr>
              <a:t>：欧洲药敏试验委员会</a:t>
            </a:r>
            <a:endParaRPr lang="zh-CN" altLang="en-US" sz="1100" dirty="0">
              <a:latin typeface="Pfizer Tomorrow" charset="0"/>
              <a:ea typeface="微软雅黑" panose="020B0503020204020204" charset="-122"/>
              <a:sym typeface="Pfizer Tomorrow" charset="0"/>
            </a:endParaRPr>
          </a:p>
        </p:txBody>
      </p:sp>
      <p:sp>
        <p:nvSpPr>
          <p:cNvPr id="25" name="矩形: 圆角 24"/>
          <p:cNvSpPr/>
          <p:nvPr/>
        </p:nvSpPr>
        <p:spPr>
          <a:xfrm>
            <a:off x="5654675" y="1784350"/>
            <a:ext cx="6129338" cy="347980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mn-lt"/>
            </a:endParaRPr>
          </a:p>
        </p:txBody>
      </p:sp>
      <p:sp>
        <p:nvSpPr>
          <p:cNvPr id="26" name="矩形: 圆顶角 25"/>
          <p:cNvSpPr/>
          <p:nvPr/>
        </p:nvSpPr>
        <p:spPr>
          <a:xfrm>
            <a:off x="5864225" y="1350963"/>
            <a:ext cx="5734050" cy="4318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Pfizer Tomorrow" charset="0"/>
              <a:ea typeface="微软雅黑" panose="020B0503020204020204" charset="-122"/>
              <a:cs typeface="+mn-ea"/>
              <a:sym typeface="+mn-lt"/>
            </a:endParaRPr>
          </a:p>
        </p:txBody>
      </p:sp>
      <p:sp>
        <p:nvSpPr>
          <p:cNvPr id="27" name="矩形: 圆角 26"/>
          <p:cNvSpPr/>
          <p:nvPr/>
        </p:nvSpPr>
        <p:spPr>
          <a:xfrm>
            <a:off x="414338" y="1784350"/>
            <a:ext cx="5040313" cy="347980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mn-lt"/>
            </a:endParaRPr>
          </a:p>
        </p:txBody>
      </p:sp>
      <p:graphicFrame>
        <p:nvGraphicFramePr>
          <p:cNvPr id="28" name="图表 15"/>
          <p:cNvGraphicFramePr/>
          <p:nvPr/>
        </p:nvGraphicFramePr>
        <p:xfrm>
          <a:off x="6018971" y="1888016"/>
          <a:ext cx="5594346" cy="330065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9" name="图表 15"/>
          <p:cNvGraphicFramePr/>
          <p:nvPr/>
        </p:nvGraphicFramePr>
        <p:xfrm>
          <a:off x="855684" y="1829091"/>
          <a:ext cx="4529504" cy="3354640"/>
        </p:xfrm>
        <a:graphic>
          <a:graphicData uri="http://schemas.openxmlformats.org/drawingml/2006/chart">
            <c:chart xmlns:c="http://schemas.openxmlformats.org/drawingml/2006/chart" xmlns:r="http://schemas.openxmlformats.org/officeDocument/2006/relationships" r:id="rId2"/>
          </a:graphicData>
        </a:graphic>
      </p:graphicFrame>
      <p:sp>
        <p:nvSpPr>
          <p:cNvPr id="29706" name="文本框 29"/>
          <p:cNvSpPr txBox="1"/>
          <p:nvPr/>
        </p:nvSpPr>
        <p:spPr>
          <a:xfrm rot="-5400000">
            <a:off x="-9525" y="3327400"/>
            <a:ext cx="1504950" cy="277813"/>
          </a:xfrm>
          <a:prstGeom prst="rect">
            <a:avLst/>
          </a:prstGeom>
          <a:noFill/>
          <a:ln w="9525">
            <a:noFill/>
          </a:ln>
        </p:spPr>
        <p:txBody>
          <a:bodyPr wrap="square" anchor="t" anchorCtr="0">
            <a:spAutoFit/>
          </a:bodyPr>
          <a:p>
            <a:pPr algn="ctr" defTabSz="914400">
              <a:buNone/>
            </a:pPr>
            <a:r>
              <a:rPr lang="zh-CN" altLang="en-US" sz="1200" dirty="0">
                <a:solidFill>
                  <a:srgbClr val="262626"/>
                </a:solidFill>
                <a:latin typeface="Pfizer Tomorrow" charset="0"/>
                <a:ea typeface="微软雅黑" panose="020B0503020204020204" charset="-122"/>
                <a:sym typeface="Arial" panose="020B0604020202090204" pitchFamily="34" charset="0"/>
              </a:rPr>
              <a:t>百分比</a:t>
            </a:r>
            <a:endParaRPr lang="en-US" altLang="zh-CN" sz="1200" dirty="0">
              <a:solidFill>
                <a:srgbClr val="262626"/>
              </a:solidFill>
              <a:latin typeface="Pfizer Tomorrow" charset="0"/>
              <a:ea typeface="微软雅黑" panose="020B0503020204020204" charset="-122"/>
              <a:sym typeface="Arial" panose="020B0604020202090204" pitchFamily="34" charset="0"/>
            </a:endParaRPr>
          </a:p>
        </p:txBody>
      </p:sp>
      <p:sp>
        <p:nvSpPr>
          <p:cNvPr id="31" name="文本框 30"/>
          <p:cNvSpPr txBox="1"/>
          <p:nvPr/>
        </p:nvSpPr>
        <p:spPr>
          <a:xfrm rot="16200000">
            <a:off x="5127625" y="3290888"/>
            <a:ext cx="1504950" cy="276225"/>
          </a:xfrm>
          <a:prstGeom prst="rect">
            <a:avLst/>
          </a:prstGeom>
          <a:noFill/>
        </p:spPr>
        <p:txBody>
          <a:bodyPr wrap="square">
            <a:spAutoFit/>
          </a:bodyPr>
          <a:lstStyle/>
          <a:p>
            <a:pPr marR="0" algn="ctr" defTabSz="914400" rtl="0" fontAlgn="auto">
              <a:spcBef>
                <a:spcPts val="0"/>
              </a:spcBef>
              <a:spcAft>
                <a:spcPts val="0"/>
              </a:spcAft>
              <a:buClrTx/>
              <a:buSzTx/>
              <a:buFontTx/>
              <a:buNone/>
              <a:defRPr sz="1200" b="0" i="0" u="none" strike="noStrike" kern="1200" baseline="0">
                <a:solidFill>
                  <a:prstClr val="black">
                    <a:lumMod val="85000"/>
                    <a:lumOff val="15000"/>
                  </a:prstClr>
                </a:solidFill>
                <a:latin typeface="+mn-lt"/>
                <a:ea typeface="+mn-ea"/>
                <a:cs typeface="+mn-ea"/>
                <a:sym typeface="+mn-lt"/>
              </a:defRPr>
            </a:pPr>
            <a:r>
              <a:rPr kumimoji="0" lang="zh-CN" altLang="en-US" sz="1200" b="0" i="0" kern="1200" cap="none" spc="0" normalizeH="0" baseline="0" noProof="0" dirty="0">
                <a:solidFill>
                  <a:prstClr val="black">
                    <a:lumMod val="85000"/>
                    <a:lumOff val="15000"/>
                  </a:prstClr>
                </a:solidFill>
                <a:latin typeface="Pfizer Tomorrow" charset="0"/>
                <a:ea typeface="微软雅黑" panose="020B0503020204020204" charset="-122"/>
                <a:cs typeface="+mn-ea"/>
                <a:sym typeface="+mn-lt"/>
              </a:rPr>
              <a:t>百分比</a:t>
            </a:r>
            <a:endParaRPr kumimoji="0" lang="en-US" altLang="zh-CN" sz="1200" b="0" i="0" kern="1200" cap="none" spc="0" normalizeH="0" baseline="0" noProof="0" dirty="0">
              <a:solidFill>
                <a:prstClr val="black">
                  <a:lumMod val="85000"/>
                  <a:lumOff val="15000"/>
                </a:prstClr>
              </a:solidFill>
              <a:latin typeface="Pfizer Tomorrow" charset="0"/>
              <a:ea typeface="微软雅黑" panose="020B0503020204020204" charset="-122"/>
              <a:cs typeface="+mn-ea"/>
              <a:sym typeface="+mn-lt"/>
            </a:endParaRPr>
          </a:p>
        </p:txBody>
      </p:sp>
      <p:sp>
        <p:nvSpPr>
          <p:cNvPr id="32" name="矩形: 圆顶角 31"/>
          <p:cNvSpPr/>
          <p:nvPr/>
        </p:nvSpPr>
        <p:spPr>
          <a:xfrm>
            <a:off x="539750" y="1350963"/>
            <a:ext cx="4791075" cy="4318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Pfizer Tomorrow" charset="0"/>
              <a:ea typeface="微软雅黑" panose="020B0503020204020204" charset="-122"/>
              <a:cs typeface="+mn-ea"/>
              <a:sym typeface="+mn-lt"/>
            </a:endParaRPr>
          </a:p>
        </p:txBody>
      </p:sp>
      <p:sp>
        <p:nvSpPr>
          <p:cNvPr id="33" name="文本框 4"/>
          <p:cNvSpPr txBox="1"/>
          <p:nvPr/>
        </p:nvSpPr>
        <p:spPr bwMode="gray">
          <a:xfrm>
            <a:off x="5654675" y="1398588"/>
            <a:ext cx="5935663" cy="338138"/>
          </a:xfrm>
          <a:prstGeom prst="rect">
            <a:avLst/>
          </a:prstGeom>
          <a:noFill/>
        </p:spPr>
        <p:txBody>
          <a:bodyPr wrap="square">
            <a:spAutoFit/>
          </a:bodyPr>
          <a:p>
            <a:pPr algn="ctr"/>
            <a:r>
              <a:rPr lang="en-US" altLang="zh-CN" sz="1600" b="1" dirty="0">
                <a:solidFill>
                  <a:srgbClr val="FFFFFF"/>
                </a:solidFill>
                <a:latin typeface="Pfizer Tomorrow" charset="0"/>
                <a:ea typeface="微软雅黑" panose="020B0503020204020204" charset="-122"/>
                <a:sym typeface="Arial" panose="020B0604020202090204" pitchFamily="34" charset="0"/>
              </a:rPr>
              <a:t>MBL-</a:t>
            </a:r>
            <a:r>
              <a:rPr lang="en-US" altLang="zh-CN" sz="1600" b="1" baseline="0" dirty="0">
                <a:solidFill>
                  <a:srgbClr val="FFFFFF"/>
                </a:solidFill>
                <a:latin typeface="Pfizer Tomorrow" charset="0"/>
                <a:ea typeface="微软雅黑" panose="020B0503020204020204" charset="-122"/>
                <a:sym typeface="Arial" panose="020B0604020202090204" pitchFamily="34" charset="0"/>
              </a:rPr>
              <a:t>CRE(EUCAST)</a:t>
            </a:r>
            <a:r>
              <a:rPr lang="zh-CN" altLang="en-US" sz="1600" b="1" baseline="0" dirty="0">
                <a:solidFill>
                  <a:srgbClr val="FFFFFF"/>
                </a:solidFill>
                <a:latin typeface="Pfizer Tomorrow" charset="0"/>
                <a:ea typeface="微软雅黑" panose="020B0503020204020204" charset="-122"/>
                <a:sym typeface="Arial" panose="020B0604020202090204" pitchFamily="34" charset="0"/>
              </a:rPr>
              <a:t>分离株不同感染来源占比</a:t>
            </a:r>
            <a:endParaRPr lang="zh-CN" altLang="en-US" sz="1600" b="1" baseline="30000" dirty="0">
              <a:solidFill>
                <a:srgbClr val="FFFFFF"/>
              </a:solidFill>
              <a:latin typeface="Pfizer Tomorrow" charset="0"/>
              <a:ea typeface="微软雅黑" panose="020B0503020204020204" charset="-122"/>
              <a:sym typeface="Arial" panose="020B0604020202090204" pitchFamily="34" charset="0"/>
            </a:endParaRPr>
          </a:p>
        </p:txBody>
      </p:sp>
      <p:sp>
        <p:nvSpPr>
          <p:cNvPr id="34" name="文本框 4"/>
          <p:cNvSpPr txBox="1"/>
          <p:nvPr/>
        </p:nvSpPr>
        <p:spPr bwMode="gray">
          <a:xfrm>
            <a:off x="425450" y="1398588"/>
            <a:ext cx="5018088" cy="338138"/>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en-US" altLang="zh-CN" sz="1600" b="1" i="0" kern="0" cap="none" spc="0" normalizeH="0" baseline="0" noProof="0" dirty="0">
                <a:solidFill>
                  <a:prstClr val="white"/>
                </a:solidFill>
                <a:latin typeface="Pfizer Tomorrow" charset="0"/>
                <a:ea typeface="微软雅黑" panose="020B0503020204020204" charset="-122"/>
                <a:cs typeface="+mn-ea"/>
                <a:sym typeface="+mn-lt"/>
              </a:rPr>
              <a:t>MBL-CRE(EUCAST)</a:t>
            </a:r>
            <a:r>
              <a:rPr kumimoji="0" lang="zh-CN" altLang="en-US" sz="1600" b="1" i="0" kern="0" cap="none" spc="0" normalizeH="0" baseline="0" noProof="0" dirty="0">
                <a:solidFill>
                  <a:prstClr val="white"/>
                </a:solidFill>
                <a:latin typeface="Pfizer Tomorrow" charset="0"/>
                <a:ea typeface="微软雅黑" panose="020B0503020204020204" charset="-122"/>
                <a:cs typeface="+mn-ea"/>
                <a:sym typeface="+mn-lt"/>
              </a:rPr>
              <a:t>分离株在不同科室占比</a:t>
            </a:r>
            <a:endParaRPr kumimoji="0" lang="zh-CN" altLang="en-US" sz="1600" b="1" i="0" kern="0" cap="none" spc="0" normalizeH="0" baseline="30000" noProof="0" dirty="0">
              <a:solidFill>
                <a:prstClr val="white"/>
              </a:solidFill>
              <a:latin typeface="Pfizer Tomorrow" charset="0"/>
              <a:ea typeface="微软雅黑" panose="020B0503020204020204" charset="-122"/>
              <a:cs typeface="+mn-ea"/>
              <a:sym typeface="+mn-lt"/>
            </a:endParaRPr>
          </a:p>
        </p:txBody>
      </p:sp>
      <p:sp>
        <p:nvSpPr>
          <p:cNvPr id="4" name="文本框 3"/>
          <p:cNvSpPr txBox="1"/>
          <p:nvPr/>
        </p:nvSpPr>
        <p:spPr>
          <a:xfrm>
            <a:off x="9799320" y="663956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a:xfrm>
            <a:off x="479425" y="333375"/>
            <a:ext cx="11232515" cy="755650"/>
          </a:xfrm>
        </p:spPr>
        <p:txBody>
          <a:bodyPr/>
          <a:lstStyle/>
          <a:p>
            <a:r>
              <a:rPr lang="zh-CN" altLang="en-US"/>
              <a:t>入住</a:t>
            </a:r>
            <a:r>
              <a:rPr lang="en-US" altLang="zh-CN"/>
              <a:t>ICU</a:t>
            </a:r>
            <a:r>
              <a:rPr lang="zh-CN" altLang="en-US"/>
              <a:t>是耐碳青霉烯类肠杆菌（</a:t>
            </a:r>
            <a:r>
              <a:rPr lang="en-US" altLang="zh-CN"/>
              <a:t>CRE</a:t>
            </a:r>
            <a:r>
              <a:rPr lang="zh-CN" altLang="en-US"/>
              <a:t>）及嗜麦芽窄食单胞菌（</a:t>
            </a:r>
            <a:r>
              <a:rPr lang="en-US" altLang="zh-CN"/>
              <a:t>SMA</a:t>
            </a:r>
            <a:r>
              <a:rPr lang="zh-CN" altLang="en-US"/>
              <a:t>）感染的重要风险因素之一</a:t>
            </a:r>
            <a:endParaRPr lang="zh-CN" altLang="en-US"/>
          </a:p>
        </p:txBody>
      </p:sp>
      <p:sp>
        <p:nvSpPr>
          <p:cNvPr id="10" name="文本占位符 9"/>
          <p:cNvSpPr>
            <a:spLocks noGrp="1"/>
          </p:cNvSpPr>
          <p:nvPr>
            <p:ph type="body" sz="quarter" idx="10"/>
          </p:nvPr>
        </p:nvSpPr>
        <p:spPr/>
        <p:txBody>
          <a:bodyPr/>
          <a:lstStyle/>
          <a:p>
            <a:r>
              <a:rPr lang="en-US" altLang="zh-CN"/>
              <a:t>Pérez-Galera S, et al.  </a:t>
            </a:r>
            <a:r>
              <a:rPr lang="en-US" altLang="zh-CN" err="1"/>
              <a:t>Eclinicalmedicine</a:t>
            </a:r>
            <a:r>
              <a:rPr lang="en-US" altLang="zh-CN"/>
              <a:t>. 2023;57:101871. </a:t>
            </a:r>
            <a:endParaRPr lang="en-US" altLang="zh-CN"/>
          </a:p>
          <a:p>
            <a:r>
              <a:rPr lang="en-US" altLang="zh-CN"/>
              <a:t>Timsit JF, et al. Antibiotics (Basel). 2022;11(2):144. </a:t>
            </a:r>
            <a:endParaRPr lang="en-US" altLang="zh-CN"/>
          </a:p>
          <a:p>
            <a:r>
              <a:rPr lang="en-US" altLang="zh-CN"/>
              <a:t>Duan Z, et al. BMC </a:t>
            </a:r>
            <a:r>
              <a:rPr lang="en-US" altLang="zh-CN" err="1"/>
              <a:t>Microbiol</a:t>
            </a:r>
            <a:r>
              <a:rPr lang="en-US" altLang="zh-CN"/>
              <a:t>. 2020;20(1):294. </a:t>
            </a:r>
            <a:endParaRPr lang="en-US" altLang="zh-CN"/>
          </a:p>
        </p:txBody>
      </p:sp>
      <p:grpSp>
        <p:nvGrpSpPr>
          <p:cNvPr id="151" name="组合 150"/>
          <p:cNvGrpSpPr/>
          <p:nvPr/>
        </p:nvGrpSpPr>
        <p:grpSpPr>
          <a:xfrm>
            <a:off x="479425" y="1089025"/>
            <a:ext cx="11233150" cy="576000"/>
            <a:chOff x="479425" y="1089025"/>
            <a:chExt cx="11233150" cy="576000"/>
          </a:xfrm>
        </p:grpSpPr>
        <p:sp>
          <p:nvSpPr>
            <p:cNvPr id="149" name="矩形 148"/>
            <p:cNvSpPr/>
            <p:nvPr/>
          </p:nvSpPr>
          <p:spPr>
            <a:xfrm>
              <a:off x="479425" y="1089025"/>
              <a:ext cx="11233150" cy="576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既往使用抗菌药物、</a:t>
              </a:r>
              <a:r>
                <a:rPr lang="zh-CN" altLang="en-US" sz="1200" b="1">
                  <a:solidFill>
                    <a:schemeClr val="accent1"/>
                  </a:solidFill>
                </a:rPr>
                <a:t>入住</a:t>
              </a:r>
              <a:r>
                <a:rPr lang="en-US" altLang="zh-CN" sz="1200" b="1">
                  <a:solidFill>
                    <a:schemeClr val="accent1"/>
                  </a:solidFill>
                </a:rPr>
                <a:t>ICU</a:t>
              </a:r>
              <a:r>
                <a:rPr lang="zh-CN" altLang="en-US" sz="1200">
                  <a:solidFill>
                    <a:schemeClr val="tx1"/>
                  </a:solidFill>
                </a:rPr>
                <a:t>、机械通气等是</a:t>
              </a:r>
              <a:r>
                <a:rPr lang="en-US" altLang="zh-CN" sz="1200">
                  <a:solidFill>
                    <a:schemeClr val="tx1"/>
                  </a:solidFill>
                </a:rPr>
                <a:t>CRE</a:t>
              </a:r>
              <a:r>
                <a:rPr lang="zh-CN" altLang="en-US" sz="1200">
                  <a:solidFill>
                    <a:schemeClr val="tx1"/>
                  </a:solidFill>
                </a:rPr>
                <a:t>及嗜麦芽窄食单胞菌（</a:t>
              </a:r>
              <a:r>
                <a:rPr lang="en-US" altLang="zh-CN" sz="1200">
                  <a:solidFill>
                    <a:schemeClr val="tx1"/>
                  </a:solidFill>
                </a:rPr>
                <a:t>SMA</a:t>
              </a:r>
              <a:r>
                <a:rPr lang="zh-CN" altLang="en-US" sz="1200">
                  <a:solidFill>
                    <a:schemeClr val="tx1"/>
                  </a:solidFill>
                </a:rPr>
                <a:t>）等产</a:t>
              </a:r>
              <a:r>
                <a:rPr lang="en-US" altLang="zh-CN" sz="1200">
                  <a:solidFill>
                    <a:schemeClr val="tx1"/>
                  </a:solidFill>
                </a:rPr>
                <a:t>MBL</a:t>
              </a:r>
              <a:r>
                <a:rPr lang="zh-CN" altLang="en-US" sz="1200">
                  <a:solidFill>
                    <a:schemeClr val="tx1"/>
                  </a:solidFill>
                </a:rPr>
                <a:t>酶耐药菌感染的危险因素</a:t>
              </a:r>
              <a:endParaRPr lang="zh-CN" altLang="en-US" sz="1200">
                <a:solidFill>
                  <a:schemeClr val="tx1"/>
                </a:solidFill>
              </a:endParaRPr>
            </a:p>
          </p:txBody>
        </p:sp>
        <p:sp>
          <p:nvSpPr>
            <p:cNvPr id="150" name="任意多边形: 形状 149"/>
            <p:cNvSpPr/>
            <p:nvPr/>
          </p:nvSpPr>
          <p:spPr>
            <a:xfrm>
              <a:off x="584548" y="1323025"/>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152" name="组合 151"/>
          <p:cNvGrpSpPr/>
          <p:nvPr/>
        </p:nvGrpSpPr>
        <p:grpSpPr>
          <a:xfrm>
            <a:off x="479426" y="1842007"/>
            <a:ext cx="11233150" cy="4464000"/>
            <a:chOff x="479426" y="1988829"/>
            <a:chExt cx="11233150" cy="4464000"/>
          </a:xfrm>
        </p:grpSpPr>
        <p:sp>
          <p:nvSpPr>
            <p:cNvPr id="153" name="矩形 152"/>
            <p:cNvSpPr/>
            <p:nvPr/>
          </p:nvSpPr>
          <p:spPr>
            <a:xfrm>
              <a:off x="479426" y="1988829"/>
              <a:ext cx="11233150" cy="446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4" name="组合 153"/>
            <p:cNvGrpSpPr/>
            <p:nvPr/>
          </p:nvGrpSpPr>
          <p:grpSpPr>
            <a:xfrm>
              <a:off x="479426" y="1988829"/>
              <a:ext cx="11233150" cy="432000"/>
              <a:chOff x="479426" y="1988829"/>
              <a:chExt cx="11233150" cy="432000"/>
            </a:xfrm>
          </p:grpSpPr>
          <p:sp>
            <p:nvSpPr>
              <p:cNvPr id="155" name="矩形 154"/>
              <p:cNvSpPr/>
              <p:nvPr/>
            </p:nvSpPr>
            <p:spPr>
              <a:xfrm>
                <a:off x="479426" y="1988829"/>
                <a:ext cx="11233150"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a:effectLst>
                      <a:outerShdw blurRad="38100" dist="38100" dir="2700000" algn="tl">
                        <a:srgbClr val="000000">
                          <a:alpha val="43137"/>
                        </a:srgbClr>
                      </a:outerShdw>
                    </a:effectLst>
                  </a:rPr>
                  <a:t>CRE</a:t>
                </a:r>
                <a:r>
                  <a:rPr lang="zh-CN" altLang="en-US" sz="1600" b="1">
                    <a:effectLst>
                      <a:outerShdw blurRad="38100" dist="38100" dir="2700000" algn="tl">
                        <a:srgbClr val="000000">
                          <a:alpha val="43137"/>
                        </a:srgbClr>
                      </a:outerShdw>
                    </a:effectLst>
                  </a:rPr>
                  <a:t>和</a:t>
                </a:r>
                <a:r>
                  <a:rPr lang="en-US" altLang="zh-CN" sz="1600" b="1">
                    <a:effectLst>
                      <a:outerShdw blurRad="38100" dist="38100" dir="2700000" algn="tl">
                        <a:srgbClr val="000000">
                          <a:alpha val="43137"/>
                        </a:srgbClr>
                      </a:outerShdw>
                    </a:effectLst>
                  </a:rPr>
                  <a:t>SMA</a:t>
                </a:r>
                <a:r>
                  <a:rPr lang="zh-CN" altLang="en-US" sz="1600" b="1">
                    <a:effectLst>
                      <a:outerShdw blurRad="38100" dist="38100" dir="2700000" algn="tl">
                        <a:srgbClr val="000000">
                          <a:alpha val="43137"/>
                        </a:srgbClr>
                      </a:outerShdw>
                    </a:effectLst>
                  </a:rPr>
                  <a:t>感染的风险因素</a:t>
                </a:r>
                <a:r>
                  <a:rPr lang="en-US" altLang="zh-CN" sz="1600" b="1" baseline="30000">
                    <a:effectLst>
                      <a:outerShdw blurRad="38100" dist="38100" dir="2700000" algn="tl">
                        <a:srgbClr val="000000">
                          <a:alpha val="43137"/>
                        </a:srgbClr>
                      </a:outerShdw>
                    </a:effectLst>
                  </a:rPr>
                  <a:t>1,2,3</a:t>
                </a:r>
                <a:endParaRPr lang="zh-CN" altLang="en-US" sz="1600" b="1" baseline="30000">
                  <a:effectLst>
                    <a:outerShdw blurRad="38100" dist="38100" dir="2700000" algn="tl">
                      <a:srgbClr val="000000">
                        <a:alpha val="43137"/>
                      </a:srgbClr>
                    </a:outerShdw>
                  </a:effectLst>
                </a:endParaRPr>
              </a:p>
            </p:txBody>
          </p:sp>
          <p:grpSp>
            <p:nvGrpSpPr>
              <p:cNvPr id="156" name="组合 155"/>
              <p:cNvGrpSpPr/>
              <p:nvPr/>
            </p:nvGrpSpPr>
            <p:grpSpPr>
              <a:xfrm>
                <a:off x="11190760" y="1988829"/>
                <a:ext cx="521815" cy="432000"/>
                <a:chOff x="8418558" y="2029438"/>
                <a:chExt cx="521815" cy="430843"/>
              </a:xfrm>
            </p:grpSpPr>
            <p:sp>
              <p:nvSpPr>
                <p:cNvPr id="160" name="直角三角形 159"/>
                <p:cNvSpPr/>
                <p:nvPr/>
              </p:nvSpPr>
              <p:spPr>
                <a:xfrm flipH="1">
                  <a:off x="841855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61" name="直角三角形 160"/>
                <p:cNvSpPr/>
                <p:nvPr/>
              </p:nvSpPr>
              <p:spPr>
                <a:xfrm flipH="1" flipV="1">
                  <a:off x="864812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57" name="组合 156"/>
              <p:cNvGrpSpPr/>
              <p:nvPr/>
            </p:nvGrpSpPr>
            <p:grpSpPr>
              <a:xfrm flipH="1">
                <a:off x="479426" y="1988829"/>
                <a:ext cx="521815" cy="432000"/>
                <a:chOff x="14143707" y="2029438"/>
                <a:chExt cx="521815" cy="430843"/>
              </a:xfrm>
            </p:grpSpPr>
            <p:sp>
              <p:nvSpPr>
                <p:cNvPr id="158" name="直角三角形 157"/>
                <p:cNvSpPr/>
                <p:nvPr/>
              </p:nvSpPr>
              <p:spPr>
                <a:xfrm flipH="1">
                  <a:off x="14143707"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59" name="直角三角形 158"/>
                <p:cNvSpPr/>
                <p:nvPr/>
              </p:nvSpPr>
              <p:spPr>
                <a:xfrm flipH="1" flipV="1">
                  <a:off x="14373276"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276" name="组合 275"/>
          <p:cNvGrpSpPr/>
          <p:nvPr/>
        </p:nvGrpSpPr>
        <p:grpSpPr>
          <a:xfrm>
            <a:off x="1590911" y="2593000"/>
            <a:ext cx="4262013" cy="720000"/>
            <a:chOff x="1590911" y="2593000"/>
            <a:chExt cx="4262013" cy="720000"/>
          </a:xfrm>
        </p:grpSpPr>
        <p:sp>
          <p:nvSpPr>
            <p:cNvPr id="163" name="îŝlíḓe"/>
            <p:cNvSpPr/>
            <p:nvPr/>
          </p:nvSpPr>
          <p:spPr bwMode="auto">
            <a:xfrm>
              <a:off x="1590911" y="261302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164" name="文本框 163"/>
            <p:cNvSpPr txBox="1"/>
            <p:nvPr/>
          </p:nvSpPr>
          <p:spPr>
            <a:xfrm>
              <a:off x="2476320" y="281777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既往定植</a:t>
              </a:r>
              <a:endParaRPr lang="zh-CN" altLang="en-US" sz="1600">
                <a:solidFill>
                  <a:schemeClr val="tx1"/>
                </a:solidFill>
                <a:effectLst/>
                <a:latin typeface="+mn-ea"/>
                <a:ea typeface="+mn-ea"/>
              </a:endParaRPr>
            </a:p>
          </p:txBody>
        </p:sp>
        <p:grpSp>
          <p:nvGrpSpPr>
            <p:cNvPr id="261" name="组合 260"/>
            <p:cNvGrpSpPr/>
            <p:nvPr/>
          </p:nvGrpSpPr>
          <p:grpSpPr>
            <a:xfrm>
              <a:off x="1601651" y="2593000"/>
              <a:ext cx="720000" cy="720000"/>
              <a:chOff x="1601651" y="2593000"/>
              <a:chExt cx="720000" cy="720000"/>
            </a:xfrm>
          </p:grpSpPr>
          <p:grpSp>
            <p:nvGrpSpPr>
              <p:cNvPr id="166" name="组合 165"/>
              <p:cNvGrpSpPr/>
              <p:nvPr/>
            </p:nvGrpSpPr>
            <p:grpSpPr>
              <a:xfrm>
                <a:off x="1601651" y="2593000"/>
                <a:ext cx="720000" cy="720000"/>
                <a:chOff x="4986396" y="1763983"/>
                <a:chExt cx="1678382" cy="1678382"/>
              </a:xfrm>
            </p:grpSpPr>
            <p:sp>
              <p:nvSpPr>
                <p:cNvPr id="168" name="椭圆 167"/>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169" name="椭圆 168"/>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3" name="图片 252" descr="图标&#10;&#10;AI 生成的内容可能不正确。"/>
              <p:cNvPicPr>
                <a:picLocks noChangeAspect="1"/>
              </p:cNvPicPr>
              <p:nvPr/>
            </p:nvPicPr>
            <p:blipFill>
              <a:blip r:embed="rId1"/>
              <a:stretch>
                <a:fillRect/>
              </a:stretch>
            </p:blipFill>
            <p:spPr>
              <a:xfrm>
                <a:off x="1770095" y="2761444"/>
                <a:ext cx="383113" cy="383113"/>
              </a:xfrm>
              <a:prstGeom prst="rect">
                <a:avLst/>
              </a:prstGeom>
            </p:spPr>
          </p:pic>
        </p:grpSp>
      </p:grpSp>
      <p:grpSp>
        <p:nvGrpSpPr>
          <p:cNvPr id="275" name="组合 274"/>
          <p:cNvGrpSpPr/>
          <p:nvPr/>
        </p:nvGrpSpPr>
        <p:grpSpPr>
          <a:xfrm>
            <a:off x="1590911" y="3500835"/>
            <a:ext cx="4262013" cy="720000"/>
            <a:chOff x="1590911" y="3500835"/>
            <a:chExt cx="4262013" cy="720000"/>
          </a:xfrm>
        </p:grpSpPr>
        <p:sp>
          <p:nvSpPr>
            <p:cNvPr id="195" name="îŝlíḓe"/>
            <p:cNvSpPr/>
            <p:nvPr/>
          </p:nvSpPr>
          <p:spPr bwMode="auto">
            <a:xfrm>
              <a:off x="1590911" y="3520860"/>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196" name="文本框 195"/>
            <p:cNvSpPr txBox="1"/>
            <p:nvPr/>
          </p:nvSpPr>
          <p:spPr>
            <a:xfrm>
              <a:off x="2476320" y="3577873"/>
              <a:ext cx="2986643" cy="565924"/>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既往接受过抗菌药物，如</a:t>
              </a:r>
              <a:r>
                <a:rPr lang="en-US" altLang="zh-CN" sz="1600">
                  <a:solidFill>
                    <a:schemeClr val="tx1"/>
                  </a:solidFill>
                  <a:effectLst/>
                  <a:latin typeface="+mn-ea"/>
                  <a:ea typeface="+mn-ea"/>
                </a:rPr>
                <a:t>30</a:t>
              </a:r>
              <a:r>
                <a:rPr lang="zh-CN" altLang="en-US" sz="1600">
                  <a:solidFill>
                    <a:schemeClr val="tx1"/>
                  </a:solidFill>
                  <a:effectLst/>
                  <a:latin typeface="+mn-ea"/>
                  <a:ea typeface="+mn-ea"/>
                </a:rPr>
                <a:t>天内使用过碳青霉烯类药物</a:t>
              </a:r>
              <a:endParaRPr lang="zh-CN" altLang="en-US" sz="1600">
                <a:solidFill>
                  <a:schemeClr val="tx1"/>
                </a:solidFill>
                <a:effectLst/>
                <a:latin typeface="+mn-ea"/>
                <a:ea typeface="+mn-ea"/>
              </a:endParaRPr>
            </a:p>
          </p:txBody>
        </p:sp>
        <p:grpSp>
          <p:nvGrpSpPr>
            <p:cNvPr id="262" name="组合 261"/>
            <p:cNvGrpSpPr/>
            <p:nvPr/>
          </p:nvGrpSpPr>
          <p:grpSpPr>
            <a:xfrm>
              <a:off x="1601651" y="3500835"/>
              <a:ext cx="720000" cy="720000"/>
              <a:chOff x="1601651" y="3500835"/>
              <a:chExt cx="720000" cy="720000"/>
            </a:xfrm>
          </p:grpSpPr>
          <p:grpSp>
            <p:nvGrpSpPr>
              <p:cNvPr id="198" name="组合 197"/>
              <p:cNvGrpSpPr/>
              <p:nvPr/>
            </p:nvGrpSpPr>
            <p:grpSpPr>
              <a:xfrm>
                <a:off x="1601651" y="3500835"/>
                <a:ext cx="720000" cy="720000"/>
                <a:chOff x="4986396" y="1763983"/>
                <a:chExt cx="1678382" cy="1678382"/>
              </a:xfrm>
            </p:grpSpPr>
            <p:sp>
              <p:nvSpPr>
                <p:cNvPr id="200" name="椭圆 199"/>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01" name="椭圆 200"/>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sp>
            <p:nvSpPr>
              <p:cNvPr id="254" name="medical-pills-couple_55254"/>
              <p:cNvSpPr/>
              <p:nvPr/>
            </p:nvSpPr>
            <p:spPr>
              <a:xfrm>
                <a:off x="1811782" y="3705878"/>
                <a:ext cx="299739" cy="3099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304" h="608274">
                    <a:moveTo>
                      <a:pt x="123596" y="403223"/>
                    </a:moveTo>
                    <a:cubicBezTo>
                      <a:pt x="78566" y="403223"/>
                      <a:pt x="41921" y="439812"/>
                      <a:pt x="41921" y="484867"/>
                    </a:cubicBezTo>
                    <a:cubicBezTo>
                      <a:pt x="41921" y="529828"/>
                      <a:pt x="78566" y="566417"/>
                      <a:pt x="123596" y="566417"/>
                    </a:cubicBezTo>
                    <a:lnTo>
                      <a:pt x="297685" y="566229"/>
                    </a:lnTo>
                    <a:lnTo>
                      <a:pt x="297685" y="403411"/>
                    </a:lnTo>
                    <a:close/>
                    <a:moveTo>
                      <a:pt x="123596" y="361366"/>
                    </a:moveTo>
                    <a:lnTo>
                      <a:pt x="473564" y="361742"/>
                    </a:lnTo>
                    <a:lnTo>
                      <a:pt x="474317" y="361742"/>
                    </a:lnTo>
                    <a:cubicBezTo>
                      <a:pt x="505311" y="364188"/>
                      <a:pt x="534043" y="378015"/>
                      <a:pt x="555239" y="400777"/>
                    </a:cubicBezTo>
                    <a:cubicBezTo>
                      <a:pt x="576623" y="423728"/>
                      <a:pt x="588304" y="453545"/>
                      <a:pt x="588304" y="484773"/>
                    </a:cubicBezTo>
                    <a:cubicBezTo>
                      <a:pt x="588304" y="516095"/>
                      <a:pt x="576623" y="545912"/>
                      <a:pt x="555239" y="568863"/>
                    </a:cubicBezTo>
                    <a:cubicBezTo>
                      <a:pt x="534043" y="591625"/>
                      <a:pt x="505311" y="605452"/>
                      <a:pt x="474317" y="607898"/>
                    </a:cubicBezTo>
                    <a:lnTo>
                      <a:pt x="472716" y="607898"/>
                    </a:lnTo>
                    <a:lnTo>
                      <a:pt x="123690" y="608274"/>
                    </a:lnTo>
                    <a:lnTo>
                      <a:pt x="123596" y="608274"/>
                    </a:lnTo>
                    <a:cubicBezTo>
                      <a:pt x="55486" y="608274"/>
                      <a:pt x="0" y="552873"/>
                      <a:pt x="0" y="484773"/>
                    </a:cubicBezTo>
                    <a:cubicBezTo>
                      <a:pt x="0" y="416767"/>
                      <a:pt x="55486" y="361366"/>
                      <a:pt x="123596" y="361366"/>
                    </a:cubicBezTo>
                    <a:close/>
                    <a:moveTo>
                      <a:pt x="454078" y="41857"/>
                    </a:moveTo>
                    <a:cubicBezTo>
                      <a:pt x="446070" y="41857"/>
                      <a:pt x="438157" y="43080"/>
                      <a:pt x="430337" y="45432"/>
                    </a:cubicBezTo>
                    <a:lnTo>
                      <a:pt x="263779" y="96037"/>
                    </a:lnTo>
                    <a:lnTo>
                      <a:pt x="311071" y="251803"/>
                    </a:lnTo>
                    <a:lnTo>
                      <a:pt x="477818" y="201574"/>
                    </a:lnTo>
                    <a:cubicBezTo>
                      <a:pt x="520870" y="188500"/>
                      <a:pt x="545270" y="142880"/>
                      <a:pt x="532270" y="99800"/>
                    </a:cubicBezTo>
                    <a:cubicBezTo>
                      <a:pt x="521907" y="65749"/>
                      <a:pt x="489782" y="41857"/>
                      <a:pt x="454078" y="41857"/>
                    </a:cubicBezTo>
                    <a:close/>
                    <a:moveTo>
                      <a:pt x="454078" y="0"/>
                    </a:moveTo>
                    <a:cubicBezTo>
                      <a:pt x="480079" y="0"/>
                      <a:pt x="505986" y="8466"/>
                      <a:pt x="527088" y="23798"/>
                    </a:cubicBezTo>
                    <a:cubicBezTo>
                      <a:pt x="548850" y="39694"/>
                      <a:pt x="564583" y="61799"/>
                      <a:pt x="572402" y="87666"/>
                    </a:cubicBezTo>
                    <a:cubicBezTo>
                      <a:pt x="592185" y="152850"/>
                      <a:pt x="555162" y="221892"/>
                      <a:pt x="489971" y="241645"/>
                    </a:cubicBezTo>
                    <a:lnTo>
                      <a:pt x="154970" y="342667"/>
                    </a:lnTo>
                    <a:lnTo>
                      <a:pt x="154217" y="342855"/>
                    </a:lnTo>
                    <a:cubicBezTo>
                      <a:pt x="145455" y="344736"/>
                      <a:pt x="136506" y="345771"/>
                      <a:pt x="127650" y="345771"/>
                    </a:cubicBezTo>
                    <a:cubicBezTo>
                      <a:pt x="101649" y="345771"/>
                      <a:pt x="75742" y="337305"/>
                      <a:pt x="54640" y="321973"/>
                    </a:cubicBezTo>
                    <a:cubicBezTo>
                      <a:pt x="32878" y="306077"/>
                      <a:pt x="17240" y="283972"/>
                      <a:pt x="9326" y="258105"/>
                    </a:cubicBezTo>
                    <a:cubicBezTo>
                      <a:pt x="282" y="228194"/>
                      <a:pt x="2826" y="196213"/>
                      <a:pt x="16580" y="168088"/>
                    </a:cubicBezTo>
                    <a:cubicBezTo>
                      <a:pt x="30240" y="140152"/>
                      <a:pt x="53698" y="118612"/>
                      <a:pt x="82713" y="107324"/>
                    </a:cubicBezTo>
                    <a:lnTo>
                      <a:pt x="84221" y="106760"/>
                    </a:lnTo>
                    <a:lnTo>
                      <a:pt x="418185" y="5362"/>
                    </a:lnTo>
                    <a:cubicBezTo>
                      <a:pt x="429866" y="1787"/>
                      <a:pt x="442019" y="0"/>
                      <a:pt x="45407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74" name="组合 273"/>
          <p:cNvGrpSpPr/>
          <p:nvPr/>
        </p:nvGrpSpPr>
        <p:grpSpPr>
          <a:xfrm>
            <a:off x="1590911" y="4408670"/>
            <a:ext cx="4262013" cy="720000"/>
            <a:chOff x="1590911" y="4408670"/>
            <a:chExt cx="4262013" cy="720000"/>
          </a:xfrm>
        </p:grpSpPr>
        <p:sp>
          <p:nvSpPr>
            <p:cNvPr id="203" name="îŝlíḓe"/>
            <p:cNvSpPr/>
            <p:nvPr/>
          </p:nvSpPr>
          <p:spPr bwMode="auto">
            <a:xfrm>
              <a:off x="1590911" y="442869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04" name="文本框 203"/>
            <p:cNvSpPr txBox="1"/>
            <p:nvPr/>
          </p:nvSpPr>
          <p:spPr>
            <a:xfrm>
              <a:off x="2476320" y="463344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医疗暴露</a:t>
              </a:r>
              <a:endParaRPr lang="zh-CN" altLang="en-US" sz="1600">
                <a:solidFill>
                  <a:schemeClr val="tx1"/>
                </a:solidFill>
                <a:effectLst/>
                <a:latin typeface="+mn-ea"/>
                <a:ea typeface="+mn-ea"/>
              </a:endParaRPr>
            </a:p>
          </p:txBody>
        </p:sp>
        <p:grpSp>
          <p:nvGrpSpPr>
            <p:cNvPr id="263" name="组合 262"/>
            <p:cNvGrpSpPr/>
            <p:nvPr/>
          </p:nvGrpSpPr>
          <p:grpSpPr>
            <a:xfrm>
              <a:off x="1601651" y="4408670"/>
              <a:ext cx="720000" cy="720000"/>
              <a:chOff x="1601651" y="4408670"/>
              <a:chExt cx="720000" cy="720000"/>
            </a:xfrm>
          </p:grpSpPr>
          <p:grpSp>
            <p:nvGrpSpPr>
              <p:cNvPr id="206" name="组合 205"/>
              <p:cNvGrpSpPr/>
              <p:nvPr/>
            </p:nvGrpSpPr>
            <p:grpSpPr>
              <a:xfrm>
                <a:off x="1601651" y="4408670"/>
                <a:ext cx="720000" cy="720000"/>
                <a:chOff x="4986396" y="1763983"/>
                <a:chExt cx="1678382" cy="1678382"/>
              </a:xfrm>
            </p:grpSpPr>
            <p:sp>
              <p:nvSpPr>
                <p:cNvPr id="208" name="椭圆 207"/>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09" name="椭圆 208"/>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5" name="图片 254" descr="图标&#10;&#10;AI 生成的内容可能不正确。"/>
              <p:cNvPicPr>
                <a:picLocks noChangeAspect="1"/>
              </p:cNvPicPr>
              <p:nvPr/>
            </p:nvPicPr>
            <p:blipFill>
              <a:blip r:embed="rId2"/>
              <a:stretch>
                <a:fillRect/>
              </a:stretch>
            </p:blipFill>
            <p:spPr>
              <a:xfrm>
                <a:off x="1797169" y="4604188"/>
                <a:ext cx="328964" cy="328964"/>
              </a:xfrm>
              <a:prstGeom prst="rect">
                <a:avLst/>
              </a:prstGeom>
            </p:spPr>
          </p:pic>
        </p:grpSp>
      </p:grpSp>
      <p:grpSp>
        <p:nvGrpSpPr>
          <p:cNvPr id="273" name="组合 272"/>
          <p:cNvGrpSpPr/>
          <p:nvPr/>
        </p:nvGrpSpPr>
        <p:grpSpPr>
          <a:xfrm>
            <a:off x="1590911" y="5316506"/>
            <a:ext cx="4262013" cy="720000"/>
            <a:chOff x="1590911" y="5316506"/>
            <a:chExt cx="4262013" cy="720000"/>
          </a:xfrm>
        </p:grpSpPr>
        <p:sp>
          <p:nvSpPr>
            <p:cNvPr id="211" name="îŝlíḓe"/>
            <p:cNvSpPr/>
            <p:nvPr/>
          </p:nvSpPr>
          <p:spPr bwMode="auto">
            <a:xfrm>
              <a:off x="1590911" y="5336531"/>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12" name="文本框 211"/>
            <p:cNvSpPr txBox="1"/>
            <p:nvPr/>
          </p:nvSpPr>
          <p:spPr>
            <a:xfrm>
              <a:off x="2476320" y="5541276"/>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合并症</a:t>
              </a:r>
              <a:endParaRPr lang="zh-CN" altLang="en-US" sz="1600">
                <a:solidFill>
                  <a:schemeClr val="tx1"/>
                </a:solidFill>
                <a:effectLst/>
                <a:latin typeface="+mn-ea"/>
                <a:ea typeface="+mn-ea"/>
              </a:endParaRPr>
            </a:p>
          </p:txBody>
        </p:sp>
        <p:grpSp>
          <p:nvGrpSpPr>
            <p:cNvPr id="264" name="组合 263"/>
            <p:cNvGrpSpPr/>
            <p:nvPr/>
          </p:nvGrpSpPr>
          <p:grpSpPr>
            <a:xfrm>
              <a:off x="1601651" y="5316506"/>
              <a:ext cx="720000" cy="720000"/>
              <a:chOff x="1601651" y="5316506"/>
              <a:chExt cx="720000" cy="720000"/>
            </a:xfrm>
          </p:grpSpPr>
          <p:grpSp>
            <p:nvGrpSpPr>
              <p:cNvPr id="214" name="组合 213"/>
              <p:cNvGrpSpPr/>
              <p:nvPr/>
            </p:nvGrpSpPr>
            <p:grpSpPr>
              <a:xfrm>
                <a:off x="1601651" y="5316506"/>
                <a:ext cx="720000" cy="720000"/>
                <a:chOff x="4986396" y="1763983"/>
                <a:chExt cx="1678382" cy="1678382"/>
              </a:xfrm>
            </p:grpSpPr>
            <p:sp>
              <p:nvSpPr>
                <p:cNvPr id="216" name="椭圆 215"/>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17" name="椭圆 216"/>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6" name="图片 255" descr="图标&#10;&#10;AI 生成的内容可能不正确。"/>
              <p:cNvPicPr>
                <a:picLocks noChangeAspect="1"/>
              </p:cNvPicPr>
              <p:nvPr/>
            </p:nvPicPr>
            <p:blipFill>
              <a:blip r:embed="rId3"/>
              <a:stretch>
                <a:fillRect/>
              </a:stretch>
            </p:blipFill>
            <p:spPr>
              <a:xfrm>
                <a:off x="1792651" y="5507506"/>
                <a:ext cx="338000" cy="338000"/>
              </a:xfrm>
              <a:prstGeom prst="rect">
                <a:avLst/>
              </a:prstGeom>
            </p:spPr>
          </p:pic>
        </p:grpSp>
      </p:grpSp>
      <p:grpSp>
        <p:nvGrpSpPr>
          <p:cNvPr id="269" name="组合 268"/>
          <p:cNvGrpSpPr/>
          <p:nvPr/>
        </p:nvGrpSpPr>
        <p:grpSpPr>
          <a:xfrm>
            <a:off x="6339076" y="2593000"/>
            <a:ext cx="4262013" cy="720000"/>
            <a:chOff x="6339076" y="2593000"/>
            <a:chExt cx="4262013" cy="720000"/>
          </a:xfrm>
        </p:grpSpPr>
        <p:sp>
          <p:nvSpPr>
            <p:cNvPr id="245" name="îŝlíḓe"/>
            <p:cNvSpPr/>
            <p:nvPr/>
          </p:nvSpPr>
          <p:spPr bwMode="auto">
            <a:xfrm>
              <a:off x="6339076" y="261302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46" name="文本框 245"/>
            <p:cNvSpPr txBox="1"/>
            <p:nvPr/>
          </p:nvSpPr>
          <p:spPr>
            <a:xfrm>
              <a:off x="7224485" y="281777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b="1">
                  <a:solidFill>
                    <a:schemeClr val="accent1"/>
                  </a:solidFill>
                  <a:effectLst/>
                  <a:latin typeface="+mn-ea"/>
                  <a:ea typeface="+mn-ea"/>
                </a:rPr>
                <a:t>入住</a:t>
              </a:r>
              <a:r>
                <a:rPr lang="en-US" altLang="zh-CN" sz="1600" b="1">
                  <a:solidFill>
                    <a:schemeClr val="accent1"/>
                  </a:solidFill>
                  <a:effectLst/>
                  <a:latin typeface="+mn-ea"/>
                  <a:ea typeface="+mn-ea"/>
                </a:rPr>
                <a:t>ICU</a:t>
              </a:r>
              <a:endParaRPr lang="en-US" altLang="zh-CN" sz="1600" b="1">
                <a:solidFill>
                  <a:schemeClr val="accent1"/>
                </a:solidFill>
                <a:effectLst/>
                <a:latin typeface="+mn-ea"/>
                <a:ea typeface="+mn-ea"/>
              </a:endParaRPr>
            </a:p>
          </p:txBody>
        </p:sp>
        <p:grpSp>
          <p:nvGrpSpPr>
            <p:cNvPr id="268" name="组合 267"/>
            <p:cNvGrpSpPr/>
            <p:nvPr/>
          </p:nvGrpSpPr>
          <p:grpSpPr>
            <a:xfrm>
              <a:off x="6349816" y="2593000"/>
              <a:ext cx="720000" cy="720000"/>
              <a:chOff x="6349816" y="2593000"/>
              <a:chExt cx="720000" cy="720000"/>
            </a:xfrm>
          </p:grpSpPr>
          <p:grpSp>
            <p:nvGrpSpPr>
              <p:cNvPr id="248" name="组合 247"/>
              <p:cNvGrpSpPr/>
              <p:nvPr/>
            </p:nvGrpSpPr>
            <p:grpSpPr>
              <a:xfrm>
                <a:off x="6349816" y="2593000"/>
                <a:ext cx="720000" cy="720000"/>
                <a:chOff x="4986396" y="1763983"/>
                <a:chExt cx="1678382" cy="1678382"/>
              </a:xfrm>
            </p:grpSpPr>
            <p:sp>
              <p:nvSpPr>
                <p:cNvPr id="250" name="椭圆 249"/>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51" name="椭圆 250"/>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7" name="图片 256" descr="图标&#10;&#10;AI 生成的内容可能不正确。"/>
              <p:cNvPicPr>
                <a:picLocks noChangeAspect="1"/>
              </p:cNvPicPr>
              <p:nvPr/>
            </p:nvPicPr>
            <p:blipFill>
              <a:blip r:embed="rId4"/>
              <a:stretch>
                <a:fillRect/>
              </a:stretch>
            </p:blipFill>
            <p:spPr>
              <a:xfrm>
                <a:off x="6511864" y="2755048"/>
                <a:ext cx="395904" cy="395904"/>
              </a:xfrm>
              <a:prstGeom prst="rect">
                <a:avLst/>
              </a:prstGeom>
            </p:spPr>
          </p:pic>
        </p:grpSp>
      </p:grpSp>
      <p:grpSp>
        <p:nvGrpSpPr>
          <p:cNvPr id="270" name="组合 269"/>
          <p:cNvGrpSpPr/>
          <p:nvPr/>
        </p:nvGrpSpPr>
        <p:grpSpPr>
          <a:xfrm>
            <a:off x="6339076" y="3500835"/>
            <a:ext cx="4262013" cy="720000"/>
            <a:chOff x="6339076" y="3500835"/>
            <a:chExt cx="4262013" cy="720000"/>
          </a:xfrm>
        </p:grpSpPr>
        <p:sp>
          <p:nvSpPr>
            <p:cNvPr id="238" name="îŝlíḓe"/>
            <p:cNvSpPr/>
            <p:nvPr/>
          </p:nvSpPr>
          <p:spPr bwMode="auto">
            <a:xfrm>
              <a:off x="6339076" y="3520860"/>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39" name="文本框 238"/>
            <p:cNvSpPr txBox="1"/>
            <p:nvPr/>
          </p:nvSpPr>
          <p:spPr>
            <a:xfrm>
              <a:off x="7224485" y="3725605"/>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机械通气</a:t>
              </a:r>
              <a:endParaRPr lang="zh-CN" altLang="en-US" sz="1600">
                <a:solidFill>
                  <a:schemeClr val="tx1"/>
                </a:solidFill>
                <a:effectLst/>
                <a:latin typeface="+mn-ea"/>
                <a:ea typeface="+mn-ea"/>
              </a:endParaRPr>
            </a:p>
          </p:txBody>
        </p:sp>
        <p:grpSp>
          <p:nvGrpSpPr>
            <p:cNvPr id="267" name="组合 266"/>
            <p:cNvGrpSpPr/>
            <p:nvPr/>
          </p:nvGrpSpPr>
          <p:grpSpPr>
            <a:xfrm>
              <a:off x="6349816" y="3500835"/>
              <a:ext cx="720000" cy="720000"/>
              <a:chOff x="6349816" y="3500835"/>
              <a:chExt cx="720000" cy="720000"/>
            </a:xfrm>
          </p:grpSpPr>
          <p:grpSp>
            <p:nvGrpSpPr>
              <p:cNvPr id="241" name="组合 240"/>
              <p:cNvGrpSpPr/>
              <p:nvPr/>
            </p:nvGrpSpPr>
            <p:grpSpPr>
              <a:xfrm>
                <a:off x="6349816" y="3500835"/>
                <a:ext cx="720000" cy="720000"/>
                <a:chOff x="4986396" y="1763983"/>
                <a:chExt cx="1678382" cy="1678382"/>
              </a:xfrm>
            </p:grpSpPr>
            <p:sp>
              <p:nvSpPr>
                <p:cNvPr id="243" name="椭圆 242"/>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44" name="椭圆 243"/>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8" name="图片 257" descr="图标&#10;&#10;AI 生成的内容可能不正确。"/>
              <p:cNvPicPr>
                <a:picLocks noChangeAspect="1"/>
              </p:cNvPicPr>
              <p:nvPr/>
            </p:nvPicPr>
            <p:blipFill>
              <a:blip r:embed="rId5"/>
              <a:stretch>
                <a:fillRect/>
              </a:stretch>
            </p:blipFill>
            <p:spPr>
              <a:xfrm>
                <a:off x="6480932" y="3631951"/>
                <a:ext cx="457769" cy="457769"/>
              </a:xfrm>
              <a:prstGeom prst="rect">
                <a:avLst/>
              </a:prstGeom>
            </p:spPr>
          </p:pic>
        </p:grpSp>
      </p:grpSp>
      <p:grpSp>
        <p:nvGrpSpPr>
          <p:cNvPr id="271" name="组合 270"/>
          <p:cNvGrpSpPr/>
          <p:nvPr/>
        </p:nvGrpSpPr>
        <p:grpSpPr>
          <a:xfrm>
            <a:off x="6339076" y="4408670"/>
            <a:ext cx="4262013" cy="720000"/>
            <a:chOff x="6339076" y="4408670"/>
            <a:chExt cx="4262013" cy="720000"/>
          </a:xfrm>
        </p:grpSpPr>
        <p:sp>
          <p:nvSpPr>
            <p:cNvPr id="231" name="îŝlíḓe"/>
            <p:cNvSpPr/>
            <p:nvPr/>
          </p:nvSpPr>
          <p:spPr bwMode="auto">
            <a:xfrm>
              <a:off x="6339076" y="442869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32" name="文本框 231"/>
            <p:cNvSpPr txBox="1"/>
            <p:nvPr/>
          </p:nvSpPr>
          <p:spPr>
            <a:xfrm>
              <a:off x="7224485" y="463344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透析和留置导管</a:t>
              </a:r>
              <a:endParaRPr lang="zh-CN" altLang="en-US" sz="1600">
                <a:solidFill>
                  <a:schemeClr val="tx1"/>
                </a:solidFill>
                <a:effectLst/>
                <a:latin typeface="+mn-ea"/>
                <a:ea typeface="+mn-ea"/>
              </a:endParaRPr>
            </a:p>
          </p:txBody>
        </p:sp>
        <p:grpSp>
          <p:nvGrpSpPr>
            <p:cNvPr id="266" name="组合 265"/>
            <p:cNvGrpSpPr/>
            <p:nvPr/>
          </p:nvGrpSpPr>
          <p:grpSpPr>
            <a:xfrm>
              <a:off x="6349816" y="4408670"/>
              <a:ext cx="720000" cy="720000"/>
              <a:chOff x="6349816" y="4408670"/>
              <a:chExt cx="720000" cy="720000"/>
            </a:xfrm>
          </p:grpSpPr>
          <p:grpSp>
            <p:nvGrpSpPr>
              <p:cNvPr id="234" name="组合 233"/>
              <p:cNvGrpSpPr/>
              <p:nvPr/>
            </p:nvGrpSpPr>
            <p:grpSpPr>
              <a:xfrm>
                <a:off x="6349816" y="4408670"/>
                <a:ext cx="720000" cy="720000"/>
                <a:chOff x="4986396" y="1763983"/>
                <a:chExt cx="1678382" cy="1678382"/>
              </a:xfrm>
            </p:grpSpPr>
            <p:sp>
              <p:nvSpPr>
                <p:cNvPr id="236" name="椭圆 235"/>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37" name="椭圆 236"/>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9" name="图片 258" descr="图标&#10;&#10;AI 生成的内容可能不正确。"/>
              <p:cNvPicPr>
                <a:picLocks noChangeAspect="1"/>
              </p:cNvPicPr>
              <p:nvPr/>
            </p:nvPicPr>
            <p:blipFill>
              <a:blip r:embed="rId6"/>
              <a:stretch>
                <a:fillRect/>
              </a:stretch>
            </p:blipFill>
            <p:spPr>
              <a:xfrm>
                <a:off x="6526589" y="4585443"/>
                <a:ext cx="366455" cy="366455"/>
              </a:xfrm>
              <a:prstGeom prst="rect">
                <a:avLst/>
              </a:prstGeom>
            </p:spPr>
          </p:pic>
        </p:grpSp>
      </p:grpSp>
      <p:grpSp>
        <p:nvGrpSpPr>
          <p:cNvPr id="272" name="组合 271"/>
          <p:cNvGrpSpPr/>
          <p:nvPr/>
        </p:nvGrpSpPr>
        <p:grpSpPr>
          <a:xfrm>
            <a:off x="6339076" y="5316506"/>
            <a:ext cx="4262013" cy="720000"/>
            <a:chOff x="6339076" y="5316506"/>
            <a:chExt cx="4262013" cy="720000"/>
          </a:xfrm>
        </p:grpSpPr>
        <p:sp>
          <p:nvSpPr>
            <p:cNvPr id="224" name="îŝlíḓe"/>
            <p:cNvSpPr/>
            <p:nvPr/>
          </p:nvSpPr>
          <p:spPr bwMode="auto">
            <a:xfrm>
              <a:off x="6339076" y="5336531"/>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25" name="文本框 224"/>
            <p:cNvSpPr txBox="1"/>
            <p:nvPr/>
          </p:nvSpPr>
          <p:spPr>
            <a:xfrm>
              <a:off x="7224485" y="5541276"/>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免疫功能低下</a:t>
              </a:r>
              <a:endParaRPr lang="zh-CN" altLang="en-US" sz="1600">
                <a:solidFill>
                  <a:schemeClr val="tx1"/>
                </a:solidFill>
                <a:effectLst/>
                <a:latin typeface="+mn-ea"/>
                <a:ea typeface="+mn-ea"/>
              </a:endParaRPr>
            </a:p>
          </p:txBody>
        </p:sp>
        <p:grpSp>
          <p:nvGrpSpPr>
            <p:cNvPr id="265" name="组合 264"/>
            <p:cNvGrpSpPr/>
            <p:nvPr/>
          </p:nvGrpSpPr>
          <p:grpSpPr>
            <a:xfrm>
              <a:off x="6349816" y="5316506"/>
              <a:ext cx="720000" cy="720000"/>
              <a:chOff x="6349816" y="5316506"/>
              <a:chExt cx="720000" cy="720000"/>
            </a:xfrm>
          </p:grpSpPr>
          <p:grpSp>
            <p:nvGrpSpPr>
              <p:cNvPr id="227" name="组合 226"/>
              <p:cNvGrpSpPr/>
              <p:nvPr/>
            </p:nvGrpSpPr>
            <p:grpSpPr>
              <a:xfrm>
                <a:off x="6349816" y="5316506"/>
                <a:ext cx="720000" cy="720000"/>
                <a:chOff x="4986396" y="1763983"/>
                <a:chExt cx="1678382" cy="1678382"/>
              </a:xfrm>
            </p:grpSpPr>
            <p:sp>
              <p:nvSpPr>
                <p:cNvPr id="229" name="椭圆 228"/>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30" name="椭圆 229"/>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60" name="图片 259" descr="图标&#10;&#10;AI 生成的内容可能不正确。"/>
              <p:cNvPicPr>
                <a:picLocks noChangeAspect="1"/>
              </p:cNvPicPr>
              <p:nvPr/>
            </p:nvPicPr>
            <p:blipFill>
              <a:blip r:embed="rId7"/>
              <a:stretch>
                <a:fillRect/>
              </a:stretch>
            </p:blipFill>
            <p:spPr>
              <a:xfrm>
                <a:off x="6566663" y="5533353"/>
                <a:ext cx="286307" cy="286307"/>
              </a:xfrm>
              <a:prstGeom prst="rect">
                <a:avLst/>
              </a:prstGeom>
            </p:spPr>
          </p:pic>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8"/>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0" imgH="0" progId="TCLayout.ActiveDocument.1">
                  <p:embed/>
                </p:oleObj>
              </mc:Choice>
              <mc:Fallback>
                <p:oleObj name="think-cell 幻灯片"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1"/>
          <p:cNvSpPr>
            <a:spLocks noGrp="1"/>
          </p:cNvSpPr>
          <p:nvPr>
            <p:ph type="title"/>
          </p:nvPr>
        </p:nvSpPr>
        <p:spPr>
          <a:xfrm>
            <a:off x="453887" y="363630"/>
            <a:ext cx="11363865" cy="745143"/>
          </a:xfrm>
        </p:spPr>
        <p:txBody>
          <a:bodyPr vert="horz" anchor="b" anchorCtr="0">
            <a:noAutofit/>
          </a:bodyPr>
          <a:lstStyle/>
          <a:p>
            <a:pPr algn="l">
              <a:lnSpc>
                <a:spcPct val="100000"/>
              </a:lnSpc>
              <a:buClrTx/>
              <a:buSzTx/>
              <a:buFontTx/>
            </a:pPr>
            <a:r>
              <a:rPr lang="zh-CN" altLang="en-US" sz="2400" b="1">
                <a:solidFill>
                  <a:schemeClr val="accent2"/>
                </a:solidFill>
                <a:sym typeface="+mn-lt"/>
              </a:rPr>
              <a:t>中国多中心研究：NDM是血液病成年患者肠道定植CRE中主要的碳青霉烯酶类型</a:t>
            </a:r>
            <a:endParaRPr lang="zh-CN" altLang="en-US" sz="2400" b="1">
              <a:solidFill>
                <a:schemeClr val="accent2"/>
              </a:solidFill>
              <a:sym typeface="+mn-lt"/>
            </a:endParaRPr>
          </a:p>
        </p:txBody>
      </p:sp>
      <p:sp>
        <p:nvSpPr>
          <p:cNvPr id="24" name="文本占位符 51"/>
          <p:cNvSpPr txBox="1"/>
          <p:nvPr/>
        </p:nvSpPr>
        <p:spPr>
          <a:xfrm>
            <a:off x="1377950" y="6124130"/>
            <a:ext cx="9937750" cy="354013"/>
          </a:xfrm>
          <a:prstGeom prst="rect">
            <a:avLst/>
          </a:prstGeom>
        </p:spPr>
        <p:txBody>
          <a:bodyPr lIns="0" tIns="0" rIns="0" bIns="0" anchor="b" anchorCtr="0"/>
          <a:lstStyle>
            <a:defPPr>
              <a:defRPr lang="en-US"/>
            </a:defPPr>
            <a:lvl1pPr marL="228600" indent="-228600">
              <a:lnSpc>
                <a:spcPct val="100000"/>
              </a:lnSpc>
              <a:spcBef>
                <a:spcPts val="0"/>
              </a:spcBef>
              <a:buClrTx/>
              <a:buSzPct val="100000"/>
              <a:buFont typeface="+mj-lt"/>
              <a:buAutoNum type="arabicPeriod"/>
              <a:defRPr sz="800">
                <a:solidFill>
                  <a:schemeClr val="bg1">
                    <a:lumMod val="50000"/>
                  </a:schemeClr>
                </a:solidFill>
              </a:defRPr>
            </a:lvl1pPr>
            <a:lvl2pPr indent="-170180">
              <a:lnSpc>
                <a:spcPct val="90000"/>
              </a:lnSpc>
              <a:spcBef>
                <a:spcPts val="1000"/>
              </a:spcBef>
              <a:buClrTx/>
              <a:buFont typeface="Arial" panose="020B0604020202090204" pitchFamily="34" charset="0"/>
              <a:buChar char="•"/>
            </a:lvl2pPr>
            <a:lvl3pPr marL="685800" indent="-171450">
              <a:lnSpc>
                <a:spcPct val="90000"/>
              </a:lnSpc>
              <a:spcBef>
                <a:spcPts val="500"/>
              </a:spcBef>
              <a:buClrTx/>
              <a:buFont typeface="Arial" panose="020B0604020202090204" pitchFamily="34" charset="0"/>
              <a:buChar char="•"/>
              <a:defRPr sz="1600"/>
            </a:lvl3pPr>
            <a:lvl4pPr marL="914400" indent="-171450">
              <a:lnSpc>
                <a:spcPct val="90000"/>
              </a:lnSpc>
              <a:spcBef>
                <a:spcPts val="200"/>
              </a:spcBef>
              <a:buClrTx/>
              <a:buFont typeface="Arial" panose="020B0604020202090204" pitchFamily="34" charset="0"/>
              <a:buChar char="•"/>
              <a:defRPr sz="1400"/>
            </a:lvl4pPr>
            <a:lvl5pPr marL="1089025" indent="-114300">
              <a:lnSpc>
                <a:spcPct val="90000"/>
              </a:lnSpc>
              <a:spcBef>
                <a:spcPts val="100"/>
              </a:spcBef>
              <a:buClrTx/>
              <a:buFont typeface="Arial" panose="020B0604020202090204" pitchFamily="34" charset="0"/>
              <a:buChar char="•"/>
              <a:defRPr sz="1200"/>
            </a:lvl5pPr>
            <a:lvl6pPr marL="2514600" indent="-228600">
              <a:spcBef>
                <a:spcPct val="20000"/>
              </a:spcBef>
              <a:buFont typeface="Arial" panose="020B0604020202090204" pitchFamily="34" charset="0"/>
              <a:buChar char="•"/>
              <a:defRPr sz="2000"/>
            </a:lvl6pPr>
            <a:lvl7pPr marL="2971800" indent="-228600">
              <a:spcBef>
                <a:spcPct val="20000"/>
              </a:spcBef>
              <a:buFont typeface="Arial" panose="020B0604020202090204" pitchFamily="34" charset="0"/>
              <a:buChar char="•"/>
              <a:defRPr sz="2000"/>
            </a:lvl7pPr>
            <a:lvl8pPr marL="3429000" indent="-228600">
              <a:spcBef>
                <a:spcPct val="20000"/>
              </a:spcBef>
              <a:buFont typeface="Arial" panose="020B0604020202090204" pitchFamily="34" charset="0"/>
              <a:buChar char="•"/>
              <a:defRPr sz="2000"/>
            </a:lvl8pPr>
            <a:lvl9pPr marL="3886200" indent="-228600">
              <a:spcBef>
                <a:spcPct val="20000"/>
              </a:spcBef>
              <a:buFont typeface="Arial" panose="020B0604020202090204"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Pct val="100000"/>
              <a:buFont typeface="+mj-lt"/>
              <a:buNone/>
              <a:defRPr/>
            </a:pP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Hu H, et al. </a:t>
            </a:r>
            <a:r>
              <a:rPr kumimoji="0" lang="en-US" altLang="zh-CN" sz="800" b="0" i="0" u="none" strike="noStrike" kern="1200" cap="none" spc="0" normalizeH="0" baseline="0" noProof="0" dirty="0" err="1">
                <a:ln>
                  <a:noFill/>
                </a:ln>
                <a:solidFill>
                  <a:srgbClr val="FFFFFF">
                    <a:lumMod val="50000"/>
                  </a:srgbClr>
                </a:solidFill>
                <a:effectLst/>
                <a:uLnTx/>
                <a:uFillTx/>
                <a:cs typeface="+mn-ea"/>
                <a:sym typeface="+mn-lt"/>
              </a:rPr>
              <a:t>Microbiol</a:t>
            </a: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 </a:t>
            </a:r>
            <a:r>
              <a:rPr kumimoji="0" lang="en-US" altLang="zh-CN" sz="800" b="0" i="0" u="none" strike="noStrike" kern="1200" cap="none" spc="0" normalizeH="0" baseline="0" noProof="0" dirty="0" err="1">
                <a:ln>
                  <a:noFill/>
                </a:ln>
                <a:solidFill>
                  <a:srgbClr val="FFFFFF">
                    <a:lumMod val="50000"/>
                  </a:srgbClr>
                </a:solidFill>
                <a:effectLst/>
                <a:uLnTx/>
                <a:uFillTx/>
                <a:cs typeface="+mn-ea"/>
                <a:sym typeface="+mn-lt"/>
              </a:rPr>
              <a:t>Spectr</a:t>
            </a: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 2024 Jul 2;12(7):e0429923.</a:t>
            </a:r>
            <a:endParaRPr kumimoji="0" lang="en-US" altLang="zh-CN" sz="800" b="0" i="0" u="none" strike="noStrike" kern="1200" cap="none" spc="0" normalizeH="0" baseline="0" noProof="0" dirty="0">
              <a:ln>
                <a:noFill/>
              </a:ln>
              <a:solidFill>
                <a:srgbClr val="FFFFFF">
                  <a:lumMod val="50000"/>
                </a:srgbClr>
              </a:solidFill>
              <a:effectLst/>
              <a:uLnTx/>
              <a:uFillTx/>
              <a:cs typeface="+mn-ea"/>
              <a:sym typeface="+mn-lt"/>
            </a:endParaRPr>
          </a:p>
        </p:txBody>
      </p:sp>
      <p:grpSp>
        <p:nvGrpSpPr>
          <p:cNvPr id="4" name="组合 3"/>
          <p:cNvGrpSpPr/>
          <p:nvPr/>
        </p:nvGrpSpPr>
        <p:grpSpPr>
          <a:xfrm>
            <a:off x="1030360" y="5315466"/>
            <a:ext cx="10131278" cy="432904"/>
            <a:chOff x="1266824" y="4909529"/>
            <a:chExt cx="9658352" cy="582168"/>
          </a:xfrm>
        </p:grpSpPr>
        <p:sp>
          <p:nvSpPr>
            <p:cNvPr id="5" name="矩形: 圆角 3"/>
            <p:cNvSpPr/>
            <p:nvPr/>
          </p:nvSpPr>
          <p:spPr>
            <a:xfrm>
              <a:off x="1266826" y="4909529"/>
              <a:ext cx="9658350" cy="582168"/>
            </a:xfrm>
            <a:prstGeom prst="roundRect">
              <a:avLst>
                <a:gd name="adj" fmla="val 0"/>
              </a:avLst>
            </a:prstGeom>
            <a:solidFill>
              <a:srgbClr val="F2F2F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cs typeface="+mn-ea"/>
                <a:sym typeface="+mn-lt"/>
              </a:endParaRPr>
            </a:p>
          </p:txBody>
        </p:sp>
        <p:sp>
          <p:nvSpPr>
            <p:cNvPr id="6" name="文本框 5"/>
            <p:cNvSpPr txBox="1"/>
            <p:nvPr/>
          </p:nvSpPr>
          <p:spPr bwMode="gray">
            <a:xfrm>
              <a:off x="1266824" y="5007760"/>
              <a:ext cx="9658349" cy="376129"/>
            </a:xfrm>
            <a:prstGeom prst="rect">
              <a:avLst/>
            </a:prstGeom>
          </p:spPr>
          <p:txBody>
            <a:bodyPr wrap="square" lIns="0" tIns="0" rIns="0" bIns="0" rtlCol="0">
              <a:spAutoFit/>
            </a:bodyPr>
            <a:lstStyle/>
            <a:p>
              <a:pPr marL="0" marR="0" lvl="0" indent="0" algn="ctr" defTabSz="914400" eaLnBrk="1" fontAlgn="auto" latinLnBrk="0" hangingPunct="1">
                <a:lnSpc>
                  <a:spcPct val="125000"/>
                </a:lnSpc>
                <a:spcBef>
                  <a:spcPts val="0"/>
                </a:spcBef>
                <a:spcAft>
                  <a:spcPts val="0"/>
                </a:spcAft>
                <a:buClrTx/>
                <a:buSzTx/>
                <a:buFontTx/>
                <a:buNone/>
                <a:defRPr/>
              </a:pPr>
              <a:r>
                <a:rPr kumimoji="0" lang="en-US" altLang="zh-CN" sz="1600" b="1" i="0" u="none" strike="noStrike" kern="0" cap="none" spc="0" normalizeH="0" baseline="0" noProof="0" dirty="0">
                  <a:ln>
                    <a:noFill/>
                  </a:ln>
                  <a:solidFill>
                    <a:srgbClr val="00C280"/>
                  </a:solidFill>
                  <a:effectLst/>
                  <a:uLnTx/>
                  <a:uFillTx/>
                  <a:cs typeface="+mn-ea"/>
                  <a:sym typeface="+mn-lt"/>
                </a:rPr>
                <a:t>69.6%CRE</a:t>
              </a:r>
              <a:r>
                <a:rPr kumimoji="0" lang="zh-CN" altLang="en-US" sz="1600" b="1" i="0" u="none" strike="noStrike" kern="0" cap="none" spc="0" normalizeH="0" baseline="0" noProof="0" dirty="0">
                  <a:ln>
                    <a:noFill/>
                  </a:ln>
                  <a:solidFill>
                    <a:srgbClr val="00C280"/>
                  </a:solidFill>
                  <a:effectLst/>
                  <a:uLnTx/>
                  <a:uFillTx/>
                  <a:cs typeface="+mn-ea"/>
                  <a:sym typeface="+mn-lt"/>
                </a:rPr>
                <a:t>菌株产生碳青霉烯酶，</a:t>
              </a:r>
              <a:r>
                <a:rPr kumimoji="0" lang="en-US" altLang="zh-CN" sz="1600" b="1" i="0" u="none" strike="noStrike" kern="0" cap="none" spc="0" normalizeH="0" baseline="0" noProof="0" dirty="0">
                  <a:ln>
                    <a:noFill/>
                  </a:ln>
                  <a:solidFill>
                    <a:srgbClr val="00C280"/>
                  </a:solidFill>
                  <a:effectLst/>
                  <a:uLnTx/>
                  <a:uFillTx/>
                  <a:cs typeface="+mn-ea"/>
                  <a:sym typeface="+mn-lt"/>
                </a:rPr>
                <a:t>NDM</a:t>
              </a:r>
              <a:r>
                <a:rPr kumimoji="0" lang="zh-CN" altLang="en-US" sz="1600" b="1" i="0" u="none" strike="noStrike" kern="0" cap="none" spc="0" normalizeH="0" baseline="0" noProof="0" dirty="0">
                  <a:ln>
                    <a:noFill/>
                  </a:ln>
                  <a:solidFill>
                    <a:srgbClr val="00C280"/>
                  </a:solidFill>
                  <a:effectLst/>
                  <a:uLnTx/>
                  <a:uFillTx/>
                  <a:cs typeface="+mn-ea"/>
                  <a:sym typeface="+mn-lt"/>
                </a:rPr>
                <a:t>是主要类型（占比</a:t>
              </a:r>
              <a:r>
                <a:rPr kumimoji="0" lang="en-US" altLang="zh-CN" sz="1600" b="1" i="0" u="none" strike="noStrike" kern="0" cap="none" spc="0" normalizeH="0" baseline="0" noProof="0" dirty="0">
                  <a:ln>
                    <a:noFill/>
                  </a:ln>
                  <a:solidFill>
                    <a:srgbClr val="00C280"/>
                  </a:solidFill>
                  <a:effectLst/>
                  <a:uLnTx/>
                  <a:uFillTx/>
                  <a:cs typeface="+mn-ea"/>
                  <a:sym typeface="+mn-lt"/>
                </a:rPr>
                <a:t>75%</a:t>
              </a:r>
              <a:r>
                <a:rPr kumimoji="0" lang="zh-CN" altLang="en-US" sz="1600" b="1" i="0" u="none" strike="noStrike" kern="0" cap="none" spc="0" normalizeH="0" baseline="0" noProof="0" dirty="0">
                  <a:ln>
                    <a:noFill/>
                  </a:ln>
                  <a:solidFill>
                    <a:srgbClr val="00C280"/>
                  </a:solidFill>
                  <a:effectLst/>
                  <a:uLnTx/>
                  <a:uFillTx/>
                  <a:cs typeface="+mn-ea"/>
                  <a:sym typeface="+mn-lt"/>
                </a:rPr>
                <a:t>）</a:t>
              </a:r>
              <a:endParaRPr kumimoji="0" lang="zh-CN" altLang="en-US" sz="1600" b="1" i="0" u="none" strike="noStrike" kern="0" cap="none" spc="0" normalizeH="0" baseline="0" noProof="0" dirty="0">
                <a:ln>
                  <a:noFill/>
                </a:ln>
                <a:solidFill>
                  <a:srgbClr val="00C280"/>
                </a:solidFill>
                <a:effectLst/>
                <a:uLnTx/>
                <a:uFillTx/>
                <a:cs typeface="+mn-ea"/>
                <a:sym typeface="+mn-lt"/>
              </a:endParaRPr>
            </a:p>
          </p:txBody>
        </p:sp>
      </p:grpSp>
      <p:sp>
        <p:nvSpPr>
          <p:cNvPr id="8" name="Rectangle 72"/>
          <p:cNvSpPr/>
          <p:nvPr/>
        </p:nvSpPr>
        <p:spPr bwMode="gray">
          <a:xfrm>
            <a:off x="1030361" y="1268993"/>
            <a:ext cx="10131277" cy="4018547"/>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400" b="1" i="0" u="none" strike="noStrike" kern="0" cap="none" spc="0" normalizeH="0" baseline="0" noProof="0" dirty="0">
              <a:ln>
                <a:noFill/>
              </a:ln>
              <a:solidFill>
                <a:srgbClr val="0000C9"/>
              </a:solidFill>
              <a:effectLst/>
              <a:uLnTx/>
              <a:uFillTx/>
              <a:cs typeface="+mn-ea"/>
              <a:sym typeface="+mn-lt"/>
            </a:endParaRPr>
          </a:p>
        </p:txBody>
      </p:sp>
      <p:sp>
        <p:nvSpPr>
          <p:cNvPr id="9" name="文本框 8"/>
          <p:cNvSpPr txBox="1"/>
          <p:nvPr/>
        </p:nvSpPr>
        <p:spPr bwMode="gray">
          <a:xfrm>
            <a:off x="1030362" y="1258359"/>
            <a:ext cx="10131276" cy="468000"/>
          </a:xfrm>
          <a:prstGeom prst="rect">
            <a:avLst/>
          </a:prstGeom>
          <a:solidFill>
            <a:srgbClr val="000D45"/>
          </a:solidFill>
        </p:spPr>
        <p:txBody>
          <a:bodyPr wrap="square"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cs typeface="+mn-ea"/>
                <a:sym typeface="+mn-lt"/>
              </a:rPr>
              <a:t>中国</a:t>
            </a:r>
            <a:r>
              <a:rPr kumimoji="0" lang="en-US" altLang="zh-CN" sz="1600" b="1" i="0" u="none" strike="noStrike" kern="0" cap="none" spc="0" normalizeH="0" baseline="0" noProof="0" dirty="0">
                <a:ln>
                  <a:noFill/>
                </a:ln>
                <a:solidFill>
                  <a:srgbClr val="FFFFFF"/>
                </a:solidFill>
                <a:effectLst/>
                <a:uLnTx/>
                <a:uFillTx/>
                <a:cs typeface="+mn-ea"/>
                <a:sym typeface="+mn-lt"/>
              </a:rPr>
              <a:t>92</a:t>
            </a:r>
            <a:r>
              <a:rPr kumimoji="0" lang="zh-CN" altLang="en-US" sz="1600" b="1" i="0" u="none" strike="noStrike" kern="0" cap="none" spc="0" normalizeH="0" baseline="0" noProof="0" dirty="0">
                <a:ln>
                  <a:noFill/>
                </a:ln>
                <a:solidFill>
                  <a:srgbClr val="FFFFFF"/>
                </a:solidFill>
                <a:effectLst/>
                <a:uLnTx/>
                <a:uFillTx/>
                <a:cs typeface="+mn-ea"/>
                <a:sym typeface="+mn-lt"/>
              </a:rPr>
              <a:t>家医院</a:t>
            </a:r>
            <a:r>
              <a:rPr kumimoji="0" lang="en-US" altLang="zh-CN" sz="1600" b="1" i="0" u="none" strike="noStrike" kern="0" cap="none" spc="0" normalizeH="0" baseline="0" noProof="0" dirty="0">
                <a:ln>
                  <a:noFill/>
                </a:ln>
                <a:solidFill>
                  <a:srgbClr val="FFFFFF"/>
                </a:solidFill>
                <a:effectLst/>
                <a:uLnTx/>
                <a:uFillTx/>
                <a:cs typeface="+mn-ea"/>
                <a:sym typeface="+mn-lt"/>
              </a:rPr>
              <a:t>CRE</a:t>
            </a:r>
            <a:r>
              <a:rPr kumimoji="0" lang="zh-CN" altLang="en-US" sz="1600" b="1" i="0" u="none" strike="noStrike" kern="0" cap="none" spc="0" normalizeH="0" baseline="0" noProof="0" dirty="0">
                <a:ln>
                  <a:noFill/>
                </a:ln>
                <a:solidFill>
                  <a:srgbClr val="FFFFFF"/>
                </a:solidFill>
                <a:effectLst/>
                <a:uLnTx/>
                <a:uFillTx/>
                <a:cs typeface="+mn-ea"/>
                <a:sym typeface="+mn-lt"/>
              </a:rPr>
              <a:t>菌株碳青霉烯酶的分布</a:t>
            </a:r>
            <a:endParaRPr kumimoji="0" lang="zh-CN" altLang="en-US" sz="1600" b="1" i="0" u="none" strike="noStrike" kern="0" cap="none" spc="0" normalizeH="0" baseline="0" noProof="0" dirty="0">
              <a:ln>
                <a:noFill/>
              </a:ln>
              <a:solidFill>
                <a:srgbClr val="FFFFFF"/>
              </a:solidFill>
              <a:effectLst/>
              <a:uLnTx/>
              <a:uFillTx/>
              <a:cs typeface="+mn-ea"/>
              <a:sym typeface="+mn-lt"/>
            </a:endParaRPr>
          </a:p>
        </p:txBody>
      </p:sp>
      <p:graphicFrame>
        <p:nvGraphicFramePr>
          <p:cNvPr id="10" name="图表 9"/>
          <p:cNvGraphicFramePr/>
          <p:nvPr/>
        </p:nvGraphicFramePr>
        <p:xfrm>
          <a:off x="1030360" y="1719191"/>
          <a:ext cx="10131278" cy="3561143"/>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10"/>
          <p:cNvSpPr txBox="1"/>
          <p:nvPr/>
        </p:nvSpPr>
        <p:spPr>
          <a:xfrm>
            <a:off x="1030360" y="5890062"/>
            <a:ext cx="10131278" cy="400110"/>
          </a:xfrm>
          <a:prstGeom prst="rect">
            <a:avLst/>
          </a:prstGeom>
          <a:noFill/>
        </p:spPr>
        <p:txBody>
          <a:bodyPr wrap="square">
            <a:spAutoFit/>
          </a:bodyPr>
          <a:lstStyle>
            <a:defPPr>
              <a:defRPr lang="en-US"/>
            </a:defPPr>
            <a:lvl1pPr>
              <a:defRPr sz="1000">
                <a:solidFill>
                  <a:schemeClr val="bg1">
                    <a:lumMod val="50000"/>
                  </a:schemeClr>
                </a:solidFill>
                <a:latin typeface="微软雅黑" panose="020B0503020204020204" charset="-122"/>
                <a:ea typeface="微软雅黑" panose="020B0503020204020204"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一项多中心病例对照研究，对全国</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92</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家医院的</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4641</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例成人血液病患者进行分析，旨在确定碳青霉烯耐药革兰氏阴性菌（</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CR-GNB</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在中国的肠道定植率及定植的危险因素，并了解定植的</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CR-GNB</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分离株的分子特征。</a:t>
            </a:r>
            <a:endPar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12" name="文本框 1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
          <p:cNvSpPr txBox="1">
            <a:spLocks noGrp="1"/>
          </p:cNvSpPr>
          <p:nvPr>
            <p:ph type="ftr" sz="quarter" idx="3"/>
          </p:nvPr>
        </p:nvSpPr>
        <p:spPr>
          <a:xfrm>
            <a:off x="523738" y="5732064"/>
            <a:ext cx="11001511" cy="173436"/>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 typeface="Arial" panose="020B0604020202090204" pitchFamily="34" charset="0"/>
              <a:buNone/>
              <a:defRPr/>
            </a:pPr>
            <a:r>
              <a:rPr kumimoji="0" lang="en-US" altLang="zh-CN" sz="6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Amp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青霉素</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类</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ES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超广谱</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IMP</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亚胺培南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KP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肺炎克雷伯菌碳青霉烯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NDM</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新德里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OXA-48</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苯唑西林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48</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型；</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丝氨酸</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IM</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维罗纳整合子编码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WHO</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世界卫生组织</a:t>
            </a:r>
            <a:endParaRPr kumimoji="0" lang="en-GB"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59" name="Title 58"/>
          <p:cNvSpPr>
            <a:spLocks noGrp="1"/>
          </p:cNvSpPr>
          <p:nvPr>
            <p:ph type="title"/>
          </p:nvPr>
        </p:nvSpPr>
        <p:spPr>
          <a:xfrm>
            <a:off x="454025" y="205740"/>
            <a:ext cx="11501755" cy="919480"/>
          </a:xfrm>
        </p:spPr>
        <p:txBody>
          <a:bodyPr vert="horz" anchor="b" anchorCtr="0">
            <a:noAutofit/>
          </a:bodyPr>
          <a:lstStyle/>
          <a:p>
            <a:r>
              <a:rPr lang="zh-CN" altLang="en-US" sz="2000" b="1">
                <a:solidFill>
                  <a:srgbClr val="00033E"/>
                </a:solidFill>
                <a:sym typeface="+mn-lt"/>
              </a:rPr>
              <a:t>2023年WHO指出</a:t>
            </a:r>
            <a:r>
              <a:rPr lang="en-US" altLang="zh-CN" sz="2000" b="1">
                <a:solidFill>
                  <a:srgbClr val="00033E"/>
                </a:solidFill>
                <a:sym typeface="+mn-lt"/>
              </a:rPr>
              <a:t>：</a:t>
            </a:r>
            <a:br>
              <a:rPr lang="en-US" altLang="zh-CN" sz="2000" b="1">
                <a:solidFill>
                  <a:srgbClr val="00033E"/>
                </a:solidFill>
                <a:sym typeface="+mn-lt"/>
              </a:rPr>
            </a:br>
            <a:r>
              <a:rPr lang="zh-CN" altLang="en-US" sz="2000" b="1">
                <a:solidFill>
                  <a:srgbClr val="00033E"/>
                </a:solidFill>
                <a:sym typeface="+mn-lt"/>
              </a:rPr>
              <a:t>传统抗生素无法有效治疗产MBL菌株</a:t>
            </a:r>
            <a:r>
              <a:rPr lang="en-US" altLang="zh-CN" sz="2000" b="1">
                <a:solidFill>
                  <a:srgbClr val="00033E"/>
                </a:solidFill>
                <a:sym typeface="+mn-lt"/>
              </a:rPr>
              <a:t>（</a:t>
            </a:r>
            <a:r>
              <a:rPr lang="zh-CN" altLang="en-US" sz="2000" b="1">
                <a:solidFill>
                  <a:srgbClr val="00033E"/>
                </a:solidFill>
                <a:sym typeface="+mn-ea"/>
              </a:rPr>
              <a:t>耐碳青霉烯类肠杆菌（</a:t>
            </a:r>
            <a:r>
              <a:rPr lang="en-US" altLang="zh-CN" sz="2000" b="1">
                <a:solidFill>
                  <a:srgbClr val="00033E"/>
                </a:solidFill>
                <a:sym typeface="+mn-ea"/>
              </a:rPr>
              <a:t>CRE</a:t>
            </a:r>
            <a:r>
              <a:rPr lang="zh-CN" altLang="en-US" sz="2000" b="1">
                <a:solidFill>
                  <a:srgbClr val="00033E"/>
                </a:solidFill>
                <a:sym typeface="+mn-ea"/>
              </a:rPr>
              <a:t>）及嗜麦芽窄食单胞</a:t>
            </a:r>
            <a:r>
              <a:rPr lang="zh-CN" altLang="en-US" sz="2000" b="1">
                <a:solidFill>
                  <a:srgbClr val="00033E"/>
                </a:solidFill>
                <a:sym typeface="+mn-ea"/>
              </a:rPr>
              <a:t>菌（</a:t>
            </a:r>
            <a:r>
              <a:rPr lang="en-US" altLang="zh-CN" sz="2000" b="1">
                <a:solidFill>
                  <a:srgbClr val="00033E"/>
                </a:solidFill>
                <a:sym typeface="+mn-ea"/>
              </a:rPr>
              <a:t>SMA</a:t>
            </a:r>
            <a:r>
              <a:rPr lang="zh-CN" altLang="en-US" sz="2000" b="1">
                <a:solidFill>
                  <a:srgbClr val="00033E"/>
                </a:solidFill>
                <a:sym typeface="+mn-ea"/>
              </a:rPr>
              <a:t>）</a:t>
            </a:r>
            <a:r>
              <a:rPr lang="en-US" altLang="zh-CN" sz="2000" b="1">
                <a:solidFill>
                  <a:srgbClr val="00033E"/>
                </a:solidFill>
                <a:sym typeface="+mn-lt"/>
              </a:rPr>
              <a:t>）</a:t>
            </a:r>
            <a:r>
              <a:rPr lang="zh-CN" altLang="en-US" sz="2000" b="1">
                <a:solidFill>
                  <a:srgbClr val="00033E"/>
                </a:solidFill>
                <a:sym typeface="+mn-lt"/>
              </a:rPr>
              <a:t>引起的感染</a:t>
            </a:r>
            <a:r>
              <a:rPr lang="en-US" altLang="zh-CN" sz="2000" b="1" baseline="30000" dirty="0">
                <a:solidFill>
                  <a:srgbClr val="00033E"/>
                </a:solidFill>
                <a:latin typeface="+mn-ea"/>
                <a:ea typeface="+mn-ea"/>
                <a:cs typeface="+mn-ea"/>
                <a:sym typeface="+mn-lt"/>
              </a:rPr>
              <a:t>1</a:t>
            </a:r>
            <a:endParaRPr lang="en-US" altLang="zh-CN" sz="2000" b="1" baseline="30000" dirty="0">
              <a:solidFill>
                <a:srgbClr val="00033E"/>
              </a:solidFill>
              <a:latin typeface="+mn-ea"/>
              <a:ea typeface="+mn-ea"/>
              <a:cs typeface="+mn-ea"/>
              <a:sym typeface="+mn-lt"/>
            </a:endParaRPr>
          </a:p>
        </p:txBody>
      </p:sp>
      <p:graphicFrame>
        <p:nvGraphicFramePr>
          <p:cNvPr id="4" name="Chart 3"/>
          <p:cNvGraphicFramePr/>
          <p:nvPr/>
        </p:nvGraphicFramePr>
        <p:xfrm>
          <a:off x="-456092" y="-1031722"/>
          <a:ext cx="1979843" cy="1158011"/>
        </p:xfrm>
        <a:graphic>
          <a:graphicData uri="http://schemas.openxmlformats.org/drawingml/2006/chart">
            <c:chart xmlns:c="http://schemas.openxmlformats.org/drawingml/2006/chart" xmlns:r="http://schemas.openxmlformats.org/officeDocument/2006/relationships" r:id="rId1"/>
          </a:graphicData>
        </a:graphic>
      </p:graphicFrame>
      <p:sp>
        <p:nvSpPr>
          <p:cNvPr id="5" name="Text Placeholder 2"/>
          <p:cNvSpPr txBox="1"/>
          <p:nvPr/>
        </p:nvSpPr>
        <p:spPr>
          <a:xfrm>
            <a:off x="4486276" y="5695950"/>
            <a:ext cx="7705724" cy="74455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6.Henderson J, et al. </a:t>
            </a:r>
            <a:r>
              <a:rPr lang="en-GB" sz="600" i="1" dirty="0">
                <a:solidFill>
                  <a:schemeClr val="tx1">
                    <a:lumMod val="75000"/>
                    <a:lumOff val="25000"/>
                  </a:schemeClr>
                </a:solidFill>
                <a:latin typeface="+mn-lt"/>
                <a:ea typeface="+mn-ea"/>
                <a:cs typeface="+mn-ea"/>
                <a:sym typeface="+mn-lt"/>
              </a:rPr>
              <a:t>J Hosp Infect </a:t>
            </a:r>
            <a:r>
              <a:rPr lang="en-GB" sz="600" dirty="0">
                <a:solidFill>
                  <a:schemeClr val="tx1">
                    <a:lumMod val="75000"/>
                    <a:lumOff val="25000"/>
                  </a:schemeClr>
                </a:solidFill>
                <a:latin typeface="+mn-lt"/>
                <a:ea typeface="+mn-ea"/>
                <a:cs typeface="+mn-ea"/>
                <a:sym typeface="+mn-lt"/>
              </a:rPr>
              <a:t>2020;104:12-9;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7.de Jager P, et al. </a:t>
            </a:r>
            <a:r>
              <a:rPr lang="en-GB" sz="600" i="1" dirty="0" err="1">
                <a:solidFill>
                  <a:schemeClr val="tx1">
                    <a:lumMod val="75000"/>
                    <a:lumOff val="25000"/>
                  </a:schemeClr>
                </a:solidFill>
                <a:latin typeface="+mn-lt"/>
                <a:ea typeface="+mn-ea"/>
                <a:cs typeface="+mn-ea"/>
                <a:sym typeface="+mn-lt"/>
              </a:rPr>
              <a:t>PLoS</a:t>
            </a:r>
            <a:r>
              <a:rPr lang="en-GB" sz="600" i="1" dirty="0">
                <a:solidFill>
                  <a:schemeClr val="tx1">
                    <a:lumMod val="75000"/>
                    <a:lumOff val="25000"/>
                  </a:schemeClr>
                </a:solidFill>
                <a:latin typeface="+mn-lt"/>
                <a:ea typeface="+mn-ea"/>
                <a:cs typeface="+mn-ea"/>
                <a:sym typeface="+mn-lt"/>
              </a:rPr>
              <a:t> One </a:t>
            </a:r>
            <a:r>
              <a:rPr lang="en-GB" sz="600" dirty="0">
                <a:solidFill>
                  <a:schemeClr val="tx1">
                    <a:lumMod val="75000"/>
                    <a:lumOff val="25000"/>
                  </a:schemeClr>
                </a:solidFill>
                <a:latin typeface="+mn-lt"/>
                <a:ea typeface="+mn-ea"/>
                <a:cs typeface="+mn-ea"/>
                <a:sym typeface="+mn-lt"/>
              </a:rPr>
              <a:t>2015;10:e0123337;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spc="-6" dirty="0">
                <a:solidFill>
                  <a:schemeClr val="tx1">
                    <a:lumMod val="75000"/>
                    <a:lumOff val="25000"/>
                  </a:schemeClr>
                </a:solidFill>
                <a:latin typeface="+mn-lt"/>
                <a:ea typeface="+mn-ea"/>
                <a:cs typeface="+mn-ea"/>
                <a:sym typeface="+mn-lt"/>
              </a:rPr>
              <a:t>8.D</a:t>
            </a:r>
            <a:r>
              <a:rPr lang="en-GB" sz="600" spc="-9" dirty="0">
                <a:solidFill>
                  <a:schemeClr val="tx1">
                    <a:lumMod val="75000"/>
                    <a:lumOff val="25000"/>
                  </a:schemeClr>
                </a:solidFill>
                <a:latin typeface="+mn-lt"/>
                <a:ea typeface="+mn-ea"/>
                <a:cs typeface="+mn-ea"/>
                <a:sym typeface="+mn-lt"/>
              </a:rPr>
              <a:t>a</a:t>
            </a:r>
            <a:r>
              <a:rPr lang="en-GB" sz="600" spc="-6" dirty="0">
                <a:solidFill>
                  <a:schemeClr val="tx1">
                    <a:lumMod val="75000"/>
                    <a:lumOff val="25000"/>
                  </a:schemeClr>
                </a:solidFill>
                <a:latin typeface="+mn-lt"/>
                <a:ea typeface="+mn-ea"/>
                <a:cs typeface="+mn-ea"/>
                <a:sym typeface="+mn-lt"/>
              </a:rPr>
              <a:t>i</a:t>
            </a:r>
            <a:r>
              <a:rPr lang="en-GB" sz="600" spc="-18" dirty="0">
                <a:solidFill>
                  <a:schemeClr val="tx1">
                    <a:lumMod val="75000"/>
                    <a:lumOff val="25000"/>
                  </a:schemeClr>
                </a:solidFill>
                <a:latin typeface="+mn-lt"/>
                <a:ea typeface="+mn-ea"/>
                <a:cs typeface="+mn-ea"/>
                <a:sym typeface="+mn-lt"/>
              </a:rPr>
              <a:t>k</a:t>
            </a:r>
            <a:r>
              <a:rPr lang="en-GB" sz="600" spc="-6" dirty="0">
                <a:solidFill>
                  <a:schemeClr val="tx1">
                    <a:lumMod val="75000"/>
                    <a:lumOff val="25000"/>
                  </a:schemeClr>
                </a:solidFill>
                <a:latin typeface="+mn-lt"/>
                <a:ea typeface="+mn-ea"/>
                <a:cs typeface="+mn-ea"/>
                <a:sym typeface="+mn-lt"/>
              </a:rPr>
              <a:t>o</a:t>
            </a:r>
            <a:r>
              <a:rPr lang="en-GB" sz="600" dirty="0">
                <a:solidFill>
                  <a:schemeClr val="tx1">
                    <a:lumMod val="75000"/>
                    <a:lumOff val="25000"/>
                  </a:schemeClr>
                </a:solidFill>
                <a:latin typeface="+mn-lt"/>
                <a:ea typeface="+mn-ea"/>
                <a:cs typeface="+mn-ea"/>
                <a:sym typeface="+mn-lt"/>
              </a:rPr>
              <a:t>s G</a:t>
            </a:r>
            <a:r>
              <a:rPr lang="en-GB" sz="600" spc="-6"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spc="-9" dirty="0">
                <a:solidFill>
                  <a:schemeClr val="tx1">
                    <a:lumMod val="75000"/>
                    <a:lumOff val="25000"/>
                  </a:schemeClr>
                </a:solidFill>
                <a:latin typeface="+mn-lt"/>
                <a:ea typeface="+mn-ea"/>
                <a:cs typeface="+mn-ea"/>
                <a:sym typeface="+mn-lt"/>
              </a:rPr>
              <a:t>e</a:t>
            </a:r>
            <a:r>
              <a:rPr lang="en-GB" sz="600" dirty="0">
                <a:solidFill>
                  <a:schemeClr val="tx1">
                    <a:lumMod val="75000"/>
                    <a:lumOff val="25000"/>
                  </a:schemeClr>
                </a:solidFill>
                <a:latin typeface="+mn-lt"/>
                <a:ea typeface="+mn-ea"/>
                <a:cs typeface="+mn-ea"/>
                <a:sym typeface="+mn-lt"/>
              </a:rPr>
              <a:t>t </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i="1" spc="3" dirty="0" err="1">
                <a:solidFill>
                  <a:schemeClr val="tx1">
                    <a:lumMod val="75000"/>
                    <a:lumOff val="25000"/>
                  </a:schemeClr>
                </a:solidFill>
                <a:latin typeface="+mn-lt"/>
                <a:ea typeface="+mn-ea"/>
                <a:cs typeface="+mn-ea"/>
                <a:sym typeface="+mn-lt"/>
              </a:rPr>
              <a:t>A</a:t>
            </a:r>
            <a:r>
              <a:rPr lang="en-GB" sz="600" i="1" spc="-12" dirty="0" err="1">
                <a:solidFill>
                  <a:schemeClr val="tx1">
                    <a:lumMod val="75000"/>
                    <a:lumOff val="25000"/>
                  </a:schemeClr>
                </a:solidFill>
                <a:latin typeface="+mn-lt"/>
                <a:ea typeface="+mn-ea"/>
                <a:cs typeface="+mn-ea"/>
                <a:sym typeface="+mn-lt"/>
              </a:rPr>
              <a:t>n</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imi</a:t>
            </a:r>
            <a:r>
              <a:rPr lang="en-GB" sz="600" i="1" dirty="0" err="1">
                <a:solidFill>
                  <a:schemeClr val="tx1">
                    <a:lumMod val="75000"/>
                    <a:lumOff val="25000"/>
                  </a:schemeClr>
                </a:solidFill>
                <a:latin typeface="+mn-lt"/>
                <a:ea typeface="+mn-ea"/>
                <a:cs typeface="+mn-ea"/>
                <a:sym typeface="+mn-lt"/>
              </a:rPr>
              <a:t>c</a:t>
            </a:r>
            <a:r>
              <a:rPr lang="en-GB" sz="600" i="1" spc="-6" dirty="0" err="1">
                <a:solidFill>
                  <a:schemeClr val="tx1">
                    <a:lumMod val="75000"/>
                    <a:lumOff val="25000"/>
                  </a:schemeClr>
                </a:solidFill>
                <a:latin typeface="+mn-lt"/>
                <a:ea typeface="+mn-ea"/>
                <a:cs typeface="+mn-ea"/>
                <a:sym typeface="+mn-lt"/>
              </a:rPr>
              <a:t>ro</a:t>
            </a:r>
            <a:r>
              <a:rPr lang="en-GB" sz="600" i="1" dirty="0" err="1">
                <a:solidFill>
                  <a:schemeClr val="tx1">
                    <a:lumMod val="75000"/>
                    <a:lumOff val="25000"/>
                  </a:schemeClr>
                </a:solidFill>
                <a:latin typeface="+mn-lt"/>
                <a:ea typeface="+mn-ea"/>
                <a:cs typeface="+mn-ea"/>
                <a:sym typeface="+mn-lt"/>
              </a:rPr>
              <a:t>b</a:t>
            </a:r>
            <a:r>
              <a:rPr lang="en-GB" sz="600" i="1" dirty="0">
                <a:solidFill>
                  <a:schemeClr val="tx1">
                    <a:lumMod val="75000"/>
                    <a:lumOff val="25000"/>
                  </a:schemeClr>
                </a:solidFill>
                <a:latin typeface="+mn-lt"/>
                <a:ea typeface="+mn-ea"/>
                <a:cs typeface="+mn-ea"/>
                <a:sym typeface="+mn-lt"/>
              </a:rPr>
              <a:t> </a:t>
            </a:r>
            <a:r>
              <a:rPr lang="en-GB" sz="600" i="1" spc="-9" dirty="0">
                <a:solidFill>
                  <a:schemeClr val="tx1">
                    <a:lumMod val="75000"/>
                    <a:lumOff val="25000"/>
                  </a:schemeClr>
                </a:solidFill>
                <a:latin typeface="+mn-lt"/>
                <a:ea typeface="+mn-ea"/>
                <a:cs typeface="+mn-ea"/>
                <a:sym typeface="+mn-lt"/>
              </a:rPr>
              <a:t>A</a:t>
            </a:r>
            <a:r>
              <a:rPr lang="en-GB" sz="600" i="1" spc="-6" dirty="0">
                <a:solidFill>
                  <a:schemeClr val="tx1">
                    <a:lumMod val="75000"/>
                    <a:lumOff val="25000"/>
                  </a:schemeClr>
                </a:solidFill>
                <a:latin typeface="+mn-lt"/>
                <a:ea typeface="+mn-ea"/>
                <a:cs typeface="+mn-ea"/>
                <a:sym typeface="+mn-lt"/>
              </a:rPr>
              <a:t>ge</a:t>
            </a:r>
            <a:r>
              <a:rPr lang="en-GB" sz="600" i="1" spc="-12" dirty="0">
                <a:solidFill>
                  <a:schemeClr val="tx1">
                    <a:lumMod val="75000"/>
                    <a:lumOff val="25000"/>
                  </a:schemeClr>
                </a:solidFill>
                <a:latin typeface="+mn-lt"/>
                <a:ea typeface="+mn-ea"/>
                <a:cs typeface="+mn-ea"/>
                <a:sym typeface="+mn-lt"/>
              </a:rPr>
              <a:t>n</a:t>
            </a:r>
            <a:r>
              <a:rPr lang="en-GB" sz="600" i="1" spc="-3" dirty="0">
                <a:solidFill>
                  <a:schemeClr val="tx1">
                    <a:lumMod val="75000"/>
                    <a:lumOff val="25000"/>
                  </a:schemeClr>
                </a:solidFill>
                <a:latin typeface="+mn-lt"/>
                <a:ea typeface="+mn-ea"/>
                <a:cs typeface="+mn-ea"/>
                <a:sym typeface="+mn-lt"/>
              </a:rPr>
              <a:t>t</a:t>
            </a:r>
            <a:r>
              <a:rPr lang="en-GB" sz="600" i="1" dirty="0">
                <a:solidFill>
                  <a:schemeClr val="tx1">
                    <a:lumMod val="75000"/>
                    <a:lumOff val="25000"/>
                  </a:schemeClr>
                </a:solidFill>
                <a:latin typeface="+mn-lt"/>
                <a:ea typeface="+mn-ea"/>
                <a:cs typeface="+mn-ea"/>
                <a:sym typeface="+mn-lt"/>
              </a:rPr>
              <a:t>s </a:t>
            </a:r>
            <a:r>
              <a:rPr lang="en-GB" sz="600" i="1" spc="-6" dirty="0" err="1">
                <a:solidFill>
                  <a:schemeClr val="tx1">
                    <a:lumMod val="75000"/>
                    <a:lumOff val="25000"/>
                  </a:schemeClr>
                </a:solidFill>
                <a:latin typeface="+mn-lt"/>
                <a:ea typeface="+mn-ea"/>
                <a:cs typeface="+mn-ea"/>
                <a:sym typeface="+mn-lt"/>
              </a:rPr>
              <a:t>Che</a:t>
            </a:r>
            <a:r>
              <a:rPr lang="en-GB" sz="600" i="1" spc="-3" dirty="0" err="1">
                <a:solidFill>
                  <a:schemeClr val="tx1">
                    <a:lumMod val="75000"/>
                    <a:lumOff val="25000"/>
                  </a:schemeClr>
                </a:solidFill>
                <a:latin typeface="+mn-lt"/>
                <a:ea typeface="+mn-ea"/>
                <a:cs typeface="+mn-ea"/>
                <a:sym typeface="+mn-lt"/>
              </a:rPr>
              <a:t>m</a:t>
            </a:r>
            <a:r>
              <a:rPr lang="en-GB" sz="600" i="1" spc="-9" dirty="0" err="1">
                <a:solidFill>
                  <a:schemeClr val="tx1">
                    <a:lumMod val="75000"/>
                    <a:lumOff val="25000"/>
                  </a:schemeClr>
                </a:solidFill>
                <a:latin typeface="+mn-lt"/>
                <a:ea typeface="+mn-ea"/>
                <a:cs typeface="+mn-ea"/>
                <a:sym typeface="+mn-lt"/>
              </a:rPr>
              <a:t>o</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he</a:t>
            </a:r>
            <a:r>
              <a:rPr lang="en-GB" sz="600" i="1" spc="-42" dirty="0" err="1">
                <a:solidFill>
                  <a:schemeClr val="tx1">
                    <a:lumMod val="75000"/>
                    <a:lumOff val="25000"/>
                  </a:schemeClr>
                </a:solidFill>
                <a:latin typeface="+mn-lt"/>
                <a:ea typeface="+mn-ea"/>
                <a:cs typeface="+mn-ea"/>
                <a:sym typeface="+mn-lt"/>
              </a:rPr>
              <a:t>r</a:t>
            </a:r>
            <a:r>
              <a:rPr lang="en-GB" sz="600" i="1" dirty="0">
                <a:solidFill>
                  <a:schemeClr val="tx1">
                    <a:lumMod val="75000"/>
                    <a:lumOff val="25000"/>
                  </a:schemeClr>
                </a:solidFill>
                <a:latin typeface="+mn-lt"/>
                <a:ea typeface="+mn-ea"/>
                <a:cs typeface="+mn-ea"/>
                <a:sym typeface="+mn-lt"/>
              </a:rPr>
              <a:t> </a:t>
            </a:r>
            <a:r>
              <a:rPr lang="en-GB" sz="600" spc="-6" dirty="0">
                <a:solidFill>
                  <a:schemeClr val="tx1">
                    <a:lumMod val="75000"/>
                    <a:lumOff val="25000"/>
                  </a:schemeClr>
                </a:solidFill>
                <a:latin typeface="+mn-lt"/>
                <a:ea typeface="+mn-ea"/>
                <a:cs typeface="+mn-ea"/>
                <a:sym typeface="+mn-lt"/>
              </a:rPr>
              <a:t>2</a:t>
            </a:r>
            <a:r>
              <a:rPr lang="en-GB" sz="600" spc="6" dirty="0">
                <a:solidFill>
                  <a:schemeClr val="tx1">
                    <a:lumMod val="75000"/>
                    <a:lumOff val="25000"/>
                  </a:schemeClr>
                </a:solidFill>
                <a:latin typeface="+mn-lt"/>
                <a:ea typeface="+mn-ea"/>
                <a:cs typeface="+mn-ea"/>
                <a:sym typeface="+mn-lt"/>
              </a:rPr>
              <a:t>0</a:t>
            </a:r>
            <a:r>
              <a:rPr lang="en-GB" sz="600" spc="3" dirty="0">
                <a:solidFill>
                  <a:schemeClr val="tx1">
                    <a:lumMod val="75000"/>
                    <a:lumOff val="25000"/>
                  </a:schemeClr>
                </a:solidFill>
                <a:latin typeface="+mn-lt"/>
                <a:ea typeface="+mn-ea"/>
                <a:cs typeface="+mn-ea"/>
                <a:sym typeface="+mn-lt"/>
              </a:rPr>
              <a:t>0</a:t>
            </a:r>
            <a:r>
              <a:rPr lang="en-GB" sz="600" spc="-12" dirty="0">
                <a:solidFill>
                  <a:schemeClr val="tx1">
                    <a:lumMod val="75000"/>
                    <a:lumOff val="25000"/>
                  </a:schemeClr>
                </a:solidFill>
                <a:latin typeface="+mn-lt"/>
                <a:ea typeface="+mn-ea"/>
                <a:cs typeface="+mn-ea"/>
                <a:sym typeface="+mn-lt"/>
              </a:rPr>
              <a:t>9</a:t>
            </a:r>
            <a:r>
              <a:rPr lang="en-GB" sz="600" spc="-15" dirty="0">
                <a:solidFill>
                  <a:schemeClr val="tx1">
                    <a:lumMod val="75000"/>
                    <a:lumOff val="25000"/>
                  </a:schemeClr>
                </a:solidFill>
                <a:latin typeface="+mn-lt"/>
                <a:ea typeface="+mn-ea"/>
                <a:cs typeface="+mn-ea"/>
                <a:sym typeface="+mn-lt"/>
              </a:rPr>
              <a:t>;</a:t>
            </a:r>
            <a:r>
              <a:rPr lang="en-GB" sz="600" dirty="0">
                <a:solidFill>
                  <a:schemeClr val="tx1">
                    <a:lumMod val="75000"/>
                    <a:lumOff val="25000"/>
                  </a:schemeClr>
                </a:solidFill>
                <a:latin typeface="+mn-lt"/>
                <a:ea typeface="+mn-ea"/>
                <a:cs typeface="+mn-ea"/>
                <a:sym typeface="+mn-lt"/>
              </a:rPr>
              <a:t>5</a:t>
            </a:r>
            <a:r>
              <a:rPr lang="en-GB" sz="600" spc="-3" dirty="0">
                <a:solidFill>
                  <a:schemeClr val="tx1">
                    <a:lumMod val="75000"/>
                    <a:lumOff val="25000"/>
                  </a:schemeClr>
                </a:solidFill>
                <a:latin typeface="+mn-lt"/>
                <a:ea typeface="+mn-ea"/>
                <a:cs typeface="+mn-ea"/>
                <a:sym typeface="+mn-lt"/>
              </a:rPr>
              <a:t>3</a:t>
            </a:r>
            <a:r>
              <a:rPr lang="en-GB" sz="600" spc="-33" dirty="0">
                <a:solidFill>
                  <a:schemeClr val="tx1">
                    <a:lumMod val="75000"/>
                    <a:lumOff val="25000"/>
                  </a:schemeClr>
                </a:solidFill>
                <a:latin typeface="+mn-lt"/>
                <a:ea typeface="+mn-ea"/>
                <a:cs typeface="+mn-ea"/>
                <a:sym typeface="+mn-lt"/>
              </a:rPr>
              <a:t>:</a:t>
            </a:r>
            <a:r>
              <a:rPr lang="en-GB" sz="600" spc="-27" dirty="0">
                <a:solidFill>
                  <a:schemeClr val="tx1">
                    <a:lumMod val="75000"/>
                    <a:lumOff val="25000"/>
                  </a:schemeClr>
                </a:solidFill>
                <a:latin typeface="+mn-lt"/>
                <a:ea typeface="+mn-ea"/>
                <a:cs typeface="+mn-ea"/>
                <a:sym typeface="+mn-lt"/>
              </a:rPr>
              <a:t>1</a:t>
            </a:r>
            <a:r>
              <a:rPr lang="en-GB" sz="600" spc="3" dirty="0">
                <a:solidFill>
                  <a:schemeClr val="tx1">
                    <a:lumMod val="75000"/>
                    <a:lumOff val="25000"/>
                  </a:schemeClr>
                </a:solidFill>
                <a:latin typeface="+mn-lt"/>
                <a:ea typeface="+mn-ea"/>
                <a:cs typeface="+mn-ea"/>
                <a:sym typeface="+mn-lt"/>
              </a:rPr>
              <a:t>86</a:t>
            </a:r>
            <a:r>
              <a:rPr lang="en-GB" sz="600" spc="15" dirty="0">
                <a:solidFill>
                  <a:schemeClr val="tx1">
                    <a:lumMod val="75000"/>
                    <a:lumOff val="25000"/>
                  </a:schemeClr>
                </a:solidFill>
                <a:latin typeface="+mn-lt"/>
                <a:ea typeface="+mn-ea"/>
                <a:cs typeface="+mn-ea"/>
                <a:sym typeface="+mn-lt"/>
              </a:rPr>
              <a:t>8</a:t>
            </a:r>
            <a:r>
              <a:rPr lang="en-GB" sz="600" spc="-24" dirty="0">
                <a:solidFill>
                  <a:schemeClr val="tx1">
                    <a:lumMod val="75000"/>
                    <a:lumOff val="25000"/>
                  </a:schemeClr>
                </a:solidFill>
                <a:latin typeface="+mn-lt"/>
                <a:ea typeface="+mn-ea"/>
                <a:cs typeface="+mn-ea"/>
                <a:sym typeface="+mn-lt"/>
              </a:rPr>
              <a:t>–</a:t>
            </a:r>
            <a:r>
              <a:rPr lang="en-GB" sz="600" spc="-12" dirty="0">
                <a:solidFill>
                  <a:schemeClr val="tx1">
                    <a:lumMod val="75000"/>
                    <a:lumOff val="25000"/>
                  </a:schemeClr>
                </a:solidFill>
                <a:latin typeface="+mn-lt"/>
                <a:ea typeface="+mn-ea"/>
                <a:cs typeface="+mn-ea"/>
                <a:sym typeface="+mn-lt"/>
              </a:rPr>
              <a:t>7</a:t>
            </a:r>
            <a:r>
              <a:rPr lang="en-GB" sz="600" spc="-6" dirty="0">
                <a:solidFill>
                  <a:schemeClr val="tx1">
                    <a:lumMod val="75000"/>
                    <a:lumOff val="25000"/>
                  </a:schemeClr>
                </a:solidFill>
                <a:latin typeface="+mn-lt"/>
                <a:ea typeface="+mn-ea"/>
                <a:cs typeface="+mn-ea"/>
                <a:sym typeface="+mn-lt"/>
              </a:rPr>
              <a:t>3;</a:t>
            </a:r>
            <a:endParaRPr lang="en-GB" sz="600" spc="-6"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spc="-6" dirty="0">
                <a:solidFill>
                  <a:schemeClr val="tx1">
                    <a:lumMod val="75000"/>
                    <a:lumOff val="25000"/>
                  </a:schemeClr>
                </a:solidFill>
                <a:latin typeface="+mn-lt"/>
                <a:ea typeface="+mn-ea"/>
                <a:cs typeface="+mn-ea"/>
                <a:sym typeface="+mn-lt"/>
              </a:rPr>
              <a:t>9. </a:t>
            </a:r>
            <a:r>
              <a:rPr lang="en-GB" sz="600" spc="-3" dirty="0">
                <a:solidFill>
                  <a:schemeClr val="tx1">
                    <a:lumMod val="75000"/>
                    <a:lumOff val="25000"/>
                  </a:schemeClr>
                </a:solidFill>
                <a:latin typeface="+mn-lt"/>
                <a:ea typeface="+mn-ea"/>
                <a:cs typeface="+mn-ea"/>
                <a:sym typeface="+mn-lt"/>
              </a:rPr>
              <a:t>H</a:t>
            </a:r>
            <a:r>
              <a:rPr lang="en-GB" sz="600" spc="-18" dirty="0">
                <a:solidFill>
                  <a:schemeClr val="tx1">
                    <a:lumMod val="75000"/>
                    <a:lumOff val="25000"/>
                  </a:schemeClr>
                </a:solidFill>
                <a:latin typeface="+mn-lt"/>
                <a:ea typeface="+mn-ea"/>
                <a:cs typeface="+mn-ea"/>
                <a:sym typeface="+mn-lt"/>
              </a:rPr>
              <a:t>a</a:t>
            </a:r>
            <a:r>
              <a:rPr lang="en-GB" sz="600" spc="-12" dirty="0">
                <a:solidFill>
                  <a:schemeClr val="tx1">
                    <a:lumMod val="75000"/>
                    <a:lumOff val="25000"/>
                  </a:schemeClr>
                </a:solidFill>
                <a:latin typeface="+mn-lt"/>
                <a:ea typeface="+mn-ea"/>
                <a:cs typeface="+mn-ea"/>
                <a:sym typeface="+mn-lt"/>
              </a:rPr>
              <a:t>y</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k</a:t>
            </a:r>
            <a:r>
              <a:rPr lang="en-GB" sz="600" spc="-12" dirty="0">
                <a:solidFill>
                  <a:schemeClr val="tx1">
                    <a:lumMod val="75000"/>
                    <a:lumOff val="25000"/>
                  </a:schemeClr>
                </a:solidFill>
                <a:latin typeface="+mn-lt"/>
                <a:ea typeface="+mn-ea"/>
                <a:cs typeface="+mn-ea"/>
                <a:sym typeface="+mn-lt"/>
              </a:rPr>
              <a:t>aw</a:t>
            </a:r>
            <a:r>
              <a:rPr lang="en-GB" sz="600" dirty="0">
                <a:solidFill>
                  <a:schemeClr val="tx1">
                    <a:lumMod val="75000"/>
                    <a:lumOff val="25000"/>
                  </a:schemeClr>
                </a:solidFill>
                <a:latin typeface="+mn-lt"/>
                <a:ea typeface="+mn-ea"/>
                <a:cs typeface="+mn-ea"/>
                <a:sym typeface="+mn-lt"/>
              </a:rPr>
              <a:t>a </a:t>
            </a:r>
            <a:r>
              <a:rPr lang="en-GB" sz="600" spc="3" dirty="0">
                <a:solidFill>
                  <a:schemeClr val="tx1">
                    <a:lumMod val="75000"/>
                    <a:lumOff val="25000"/>
                  </a:schemeClr>
                </a:solidFill>
                <a:latin typeface="+mn-lt"/>
                <a:ea typeface="+mn-ea"/>
                <a:cs typeface="+mn-ea"/>
                <a:sym typeface="+mn-lt"/>
              </a:rPr>
              <a:t>K</a:t>
            </a:r>
            <a:r>
              <a:rPr lang="en-GB" sz="600" dirty="0">
                <a:solidFill>
                  <a:schemeClr val="tx1">
                    <a:lumMod val="75000"/>
                    <a:lumOff val="25000"/>
                  </a:schemeClr>
                </a:solidFill>
                <a:latin typeface="+mn-lt"/>
                <a:ea typeface="+mn-ea"/>
                <a:cs typeface="+mn-ea"/>
                <a:sym typeface="+mn-lt"/>
              </a:rPr>
              <a:t>, </a:t>
            </a:r>
            <a:r>
              <a:rPr lang="en-GB" sz="600" spc="-9" dirty="0">
                <a:solidFill>
                  <a:schemeClr val="tx1">
                    <a:lumMod val="75000"/>
                    <a:lumOff val="25000"/>
                  </a:schemeClr>
                </a:solidFill>
                <a:latin typeface="+mn-lt"/>
                <a:ea typeface="+mn-ea"/>
                <a:cs typeface="+mn-ea"/>
                <a:sym typeface="+mn-lt"/>
              </a:rPr>
              <a:t>e</a:t>
            </a:r>
            <a:r>
              <a:rPr lang="en-GB" sz="600" dirty="0">
                <a:solidFill>
                  <a:schemeClr val="tx1">
                    <a:lumMod val="75000"/>
                    <a:lumOff val="25000"/>
                  </a:schemeClr>
                </a:solidFill>
                <a:latin typeface="+mn-lt"/>
                <a:ea typeface="+mn-ea"/>
                <a:cs typeface="+mn-ea"/>
                <a:sym typeface="+mn-lt"/>
              </a:rPr>
              <a:t>t </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i="1" dirty="0">
                <a:solidFill>
                  <a:schemeClr val="tx1">
                    <a:lumMod val="75000"/>
                    <a:lumOff val="25000"/>
                  </a:schemeClr>
                </a:solidFill>
                <a:latin typeface="+mn-lt"/>
                <a:ea typeface="+mn-ea"/>
                <a:cs typeface="+mn-ea"/>
                <a:sym typeface="+mn-lt"/>
              </a:rPr>
              <a:t>J </a:t>
            </a:r>
            <a:r>
              <a:rPr lang="en-GB" sz="600" i="1" spc="3" dirty="0" err="1">
                <a:solidFill>
                  <a:schemeClr val="tx1">
                    <a:lumMod val="75000"/>
                    <a:lumOff val="25000"/>
                  </a:schemeClr>
                </a:solidFill>
                <a:latin typeface="+mn-lt"/>
                <a:ea typeface="+mn-ea"/>
                <a:cs typeface="+mn-ea"/>
                <a:sym typeface="+mn-lt"/>
              </a:rPr>
              <a:t>A</a:t>
            </a:r>
            <a:r>
              <a:rPr lang="en-GB" sz="600" i="1" spc="-12" dirty="0" err="1">
                <a:solidFill>
                  <a:schemeClr val="tx1">
                    <a:lumMod val="75000"/>
                    <a:lumOff val="25000"/>
                  </a:schemeClr>
                </a:solidFill>
                <a:latin typeface="+mn-lt"/>
                <a:ea typeface="+mn-ea"/>
                <a:cs typeface="+mn-ea"/>
                <a:sym typeface="+mn-lt"/>
              </a:rPr>
              <a:t>n</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imi</a:t>
            </a:r>
            <a:r>
              <a:rPr lang="en-GB" sz="600" i="1" dirty="0" err="1">
                <a:solidFill>
                  <a:schemeClr val="tx1">
                    <a:lumMod val="75000"/>
                    <a:lumOff val="25000"/>
                  </a:schemeClr>
                </a:solidFill>
                <a:latin typeface="+mn-lt"/>
                <a:ea typeface="+mn-ea"/>
                <a:cs typeface="+mn-ea"/>
                <a:sym typeface="+mn-lt"/>
              </a:rPr>
              <a:t>c</a:t>
            </a:r>
            <a:r>
              <a:rPr lang="en-GB" sz="600" i="1" spc="-6" dirty="0" err="1">
                <a:solidFill>
                  <a:schemeClr val="tx1">
                    <a:lumMod val="75000"/>
                    <a:lumOff val="25000"/>
                  </a:schemeClr>
                </a:solidFill>
                <a:latin typeface="+mn-lt"/>
                <a:ea typeface="+mn-ea"/>
                <a:cs typeface="+mn-ea"/>
                <a:sym typeface="+mn-lt"/>
              </a:rPr>
              <a:t>ro</a:t>
            </a:r>
            <a:r>
              <a:rPr lang="en-GB" sz="600" i="1" dirty="0" err="1">
                <a:solidFill>
                  <a:schemeClr val="tx1">
                    <a:lumMod val="75000"/>
                    <a:lumOff val="25000"/>
                  </a:schemeClr>
                </a:solidFill>
                <a:latin typeface="+mn-lt"/>
                <a:ea typeface="+mn-ea"/>
                <a:cs typeface="+mn-ea"/>
                <a:sym typeface="+mn-lt"/>
              </a:rPr>
              <a:t>b</a:t>
            </a:r>
            <a:r>
              <a:rPr lang="en-GB" sz="600" i="1" dirty="0">
                <a:solidFill>
                  <a:schemeClr val="tx1">
                    <a:lumMod val="75000"/>
                    <a:lumOff val="25000"/>
                  </a:schemeClr>
                </a:solidFill>
                <a:latin typeface="+mn-lt"/>
                <a:ea typeface="+mn-ea"/>
                <a:cs typeface="+mn-ea"/>
                <a:sym typeface="+mn-lt"/>
              </a:rPr>
              <a:t> </a:t>
            </a:r>
            <a:r>
              <a:rPr lang="en-GB" sz="600" i="1" spc="-6" dirty="0" err="1">
                <a:solidFill>
                  <a:schemeClr val="tx1">
                    <a:lumMod val="75000"/>
                    <a:lumOff val="25000"/>
                  </a:schemeClr>
                </a:solidFill>
                <a:latin typeface="+mn-lt"/>
                <a:ea typeface="+mn-ea"/>
                <a:cs typeface="+mn-ea"/>
                <a:sym typeface="+mn-lt"/>
              </a:rPr>
              <a:t>Che</a:t>
            </a:r>
            <a:r>
              <a:rPr lang="en-GB" sz="600" i="1" spc="-3" dirty="0" err="1">
                <a:solidFill>
                  <a:schemeClr val="tx1">
                    <a:lumMod val="75000"/>
                    <a:lumOff val="25000"/>
                  </a:schemeClr>
                </a:solidFill>
                <a:latin typeface="+mn-lt"/>
                <a:ea typeface="+mn-ea"/>
                <a:cs typeface="+mn-ea"/>
                <a:sym typeface="+mn-lt"/>
              </a:rPr>
              <a:t>m</a:t>
            </a:r>
            <a:r>
              <a:rPr lang="en-GB" sz="600" i="1" spc="-9" dirty="0" err="1">
                <a:solidFill>
                  <a:schemeClr val="tx1">
                    <a:lumMod val="75000"/>
                    <a:lumOff val="25000"/>
                  </a:schemeClr>
                </a:solidFill>
                <a:latin typeface="+mn-lt"/>
                <a:ea typeface="+mn-ea"/>
                <a:cs typeface="+mn-ea"/>
                <a:sym typeface="+mn-lt"/>
              </a:rPr>
              <a:t>o</a:t>
            </a:r>
            <a:r>
              <a:rPr lang="en-GB" sz="600" i="1" spc="-3" dirty="0" err="1">
                <a:solidFill>
                  <a:schemeClr val="tx1">
                    <a:lumMod val="75000"/>
                    <a:lumOff val="25000"/>
                  </a:schemeClr>
                </a:solidFill>
                <a:latin typeface="+mn-lt"/>
                <a:ea typeface="+mn-ea"/>
                <a:cs typeface="+mn-ea"/>
                <a:sym typeface="+mn-lt"/>
              </a:rPr>
              <a:t>t</a:t>
            </a:r>
            <a:r>
              <a:rPr lang="en-GB" sz="600" i="1" spc="-12" dirty="0" err="1">
                <a:solidFill>
                  <a:schemeClr val="tx1">
                    <a:lumMod val="75000"/>
                    <a:lumOff val="25000"/>
                  </a:schemeClr>
                </a:solidFill>
                <a:latin typeface="+mn-lt"/>
                <a:ea typeface="+mn-ea"/>
                <a:cs typeface="+mn-ea"/>
                <a:sym typeface="+mn-lt"/>
              </a:rPr>
              <a:t>her</a:t>
            </a:r>
            <a:r>
              <a:rPr lang="en-GB" sz="600" dirty="0">
                <a:solidFill>
                  <a:schemeClr val="tx1">
                    <a:lumMod val="75000"/>
                    <a:lumOff val="25000"/>
                  </a:schemeClr>
                </a:solidFill>
                <a:latin typeface="+mn-lt"/>
                <a:ea typeface="+mn-ea"/>
                <a:cs typeface="+mn-ea"/>
                <a:sym typeface="+mn-lt"/>
              </a:rPr>
              <a:t> </a:t>
            </a:r>
            <a:r>
              <a:rPr lang="en-GB" sz="600" spc="-6" dirty="0">
                <a:solidFill>
                  <a:schemeClr val="tx1">
                    <a:lumMod val="75000"/>
                    <a:lumOff val="25000"/>
                  </a:schemeClr>
                </a:solidFill>
                <a:latin typeface="+mn-lt"/>
                <a:ea typeface="+mn-ea"/>
                <a:cs typeface="+mn-ea"/>
                <a:sym typeface="+mn-lt"/>
              </a:rPr>
              <a:t>202</a:t>
            </a:r>
            <a:r>
              <a:rPr lang="en-GB" sz="600" spc="-12" dirty="0">
                <a:solidFill>
                  <a:schemeClr val="tx1">
                    <a:lumMod val="75000"/>
                    <a:lumOff val="25000"/>
                  </a:schemeClr>
                </a:solidFill>
                <a:latin typeface="+mn-lt"/>
                <a:ea typeface="+mn-ea"/>
                <a:cs typeface="+mn-ea"/>
                <a:sym typeface="+mn-lt"/>
              </a:rPr>
              <a:t>0</a:t>
            </a:r>
            <a:r>
              <a:rPr lang="en-GB" sz="600" spc="-42" dirty="0">
                <a:solidFill>
                  <a:schemeClr val="tx1">
                    <a:lumMod val="75000"/>
                    <a:lumOff val="25000"/>
                  </a:schemeClr>
                </a:solidFill>
                <a:latin typeface="+mn-lt"/>
                <a:ea typeface="+mn-ea"/>
                <a:cs typeface="+mn-ea"/>
                <a:sym typeface="+mn-lt"/>
              </a:rPr>
              <a:t>;</a:t>
            </a:r>
            <a:r>
              <a:rPr lang="en-GB" sz="600" spc="-21" dirty="0">
                <a:solidFill>
                  <a:schemeClr val="tx1">
                    <a:lumMod val="75000"/>
                    <a:lumOff val="25000"/>
                  </a:schemeClr>
                </a:solidFill>
                <a:latin typeface="+mn-lt"/>
                <a:ea typeface="+mn-ea"/>
                <a:cs typeface="+mn-ea"/>
                <a:sym typeface="+mn-lt"/>
              </a:rPr>
              <a:t>7</a:t>
            </a:r>
            <a:r>
              <a:rPr lang="en-GB" sz="600" spc="-6" dirty="0">
                <a:solidFill>
                  <a:schemeClr val="tx1">
                    <a:lumMod val="75000"/>
                    <a:lumOff val="25000"/>
                  </a:schemeClr>
                </a:solidFill>
                <a:latin typeface="+mn-lt"/>
                <a:ea typeface="+mn-ea"/>
                <a:cs typeface="+mn-ea"/>
                <a:sym typeface="+mn-lt"/>
              </a:rPr>
              <a:t>5</a:t>
            </a:r>
            <a:r>
              <a:rPr lang="en-GB" sz="600" spc="-12" dirty="0">
                <a:solidFill>
                  <a:schemeClr val="tx1">
                    <a:lumMod val="75000"/>
                    <a:lumOff val="25000"/>
                  </a:schemeClr>
                </a:solidFill>
                <a:latin typeface="+mn-lt"/>
                <a:ea typeface="+mn-ea"/>
                <a:cs typeface="+mn-ea"/>
                <a:sym typeface="+mn-lt"/>
              </a:rPr>
              <a:t>:</a:t>
            </a:r>
            <a:r>
              <a:rPr lang="en-GB" sz="600" dirty="0">
                <a:solidFill>
                  <a:schemeClr val="tx1">
                    <a:lumMod val="75000"/>
                    <a:lumOff val="25000"/>
                  </a:schemeClr>
                </a:solidFill>
                <a:latin typeface="+mn-lt"/>
                <a:ea typeface="+mn-ea"/>
                <a:cs typeface="+mn-ea"/>
                <a:sym typeface="+mn-lt"/>
              </a:rPr>
              <a:t>6</a:t>
            </a:r>
            <a:r>
              <a:rPr lang="en-GB" sz="600" spc="-15" dirty="0">
                <a:solidFill>
                  <a:schemeClr val="tx1">
                    <a:lumMod val="75000"/>
                    <a:lumOff val="25000"/>
                  </a:schemeClr>
                </a:solidFill>
                <a:latin typeface="+mn-lt"/>
                <a:ea typeface="+mn-ea"/>
                <a:cs typeface="+mn-ea"/>
                <a:sym typeface="+mn-lt"/>
              </a:rPr>
              <a:t>9</a:t>
            </a:r>
            <a:r>
              <a:rPr lang="en-GB" sz="600" spc="-39" dirty="0">
                <a:solidFill>
                  <a:schemeClr val="tx1">
                    <a:lumMod val="75000"/>
                    <a:lumOff val="25000"/>
                  </a:schemeClr>
                </a:solidFill>
                <a:latin typeface="+mn-lt"/>
                <a:ea typeface="+mn-ea"/>
                <a:cs typeface="+mn-ea"/>
                <a:sym typeface="+mn-lt"/>
              </a:rPr>
              <a:t>7</a:t>
            </a:r>
            <a:r>
              <a:rPr lang="en-GB" sz="600" spc="-24" dirty="0">
                <a:solidFill>
                  <a:schemeClr val="tx1">
                    <a:lumMod val="75000"/>
                    <a:lumOff val="25000"/>
                  </a:schemeClr>
                </a:solidFill>
                <a:latin typeface="+mn-lt"/>
                <a:ea typeface="+mn-ea"/>
                <a:cs typeface="+mn-ea"/>
                <a:sym typeface="+mn-lt"/>
              </a:rPr>
              <a:t>–</a:t>
            </a:r>
            <a:r>
              <a:rPr lang="en-GB" sz="600" spc="-18" dirty="0">
                <a:solidFill>
                  <a:schemeClr val="tx1">
                    <a:lumMod val="75000"/>
                    <a:lumOff val="25000"/>
                  </a:schemeClr>
                </a:solidFill>
                <a:latin typeface="+mn-lt"/>
                <a:ea typeface="+mn-ea"/>
                <a:cs typeface="+mn-ea"/>
                <a:sym typeface="+mn-lt"/>
              </a:rPr>
              <a:t>7</a:t>
            </a:r>
            <a:r>
              <a:rPr lang="en-GB" sz="600" dirty="0">
                <a:solidFill>
                  <a:schemeClr val="tx1">
                    <a:lumMod val="75000"/>
                    <a:lumOff val="25000"/>
                  </a:schemeClr>
                </a:solidFill>
                <a:latin typeface="+mn-lt"/>
                <a:ea typeface="+mn-ea"/>
                <a:cs typeface="+mn-ea"/>
                <a:sym typeface="+mn-lt"/>
              </a:rPr>
              <a:t>0</a:t>
            </a:r>
            <a:r>
              <a:rPr lang="en-GB" sz="600" spc="-3" dirty="0">
                <a:solidFill>
                  <a:schemeClr val="tx1">
                    <a:lumMod val="75000"/>
                    <a:lumOff val="25000"/>
                  </a:schemeClr>
                </a:solidFill>
                <a:latin typeface="+mn-lt"/>
                <a:ea typeface="+mn-ea"/>
                <a:cs typeface="+mn-ea"/>
                <a:sym typeface="+mn-lt"/>
              </a:rPr>
              <a:t>8</a:t>
            </a:r>
            <a:r>
              <a:rPr lang="en-GB" sz="600" dirty="0">
                <a:solidFill>
                  <a:schemeClr val="tx1">
                    <a:lumMod val="75000"/>
                    <a:lumOff val="25000"/>
                  </a:schemeClr>
                </a:solidFill>
                <a:latin typeface="+mn-lt"/>
                <a:ea typeface="+mn-ea"/>
                <a:cs typeface="+mn-ea"/>
                <a:sym typeface="+mn-lt"/>
              </a:rPr>
              <a:t>;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10.Sader HS, et al. </a:t>
            </a:r>
            <a:r>
              <a:rPr lang="en-GB" sz="600" i="1" dirty="0" err="1">
                <a:solidFill>
                  <a:schemeClr val="tx1">
                    <a:lumMod val="75000"/>
                    <a:lumOff val="25000"/>
                  </a:schemeClr>
                </a:solidFill>
                <a:latin typeface="+mn-lt"/>
                <a:ea typeface="+mn-ea"/>
                <a:cs typeface="+mn-ea"/>
                <a:sym typeface="+mn-lt"/>
              </a:rPr>
              <a:t>Antimicrob</a:t>
            </a:r>
            <a:r>
              <a:rPr lang="en-GB" sz="600" i="1" dirty="0">
                <a:solidFill>
                  <a:schemeClr val="tx1">
                    <a:lumMod val="75000"/>
                    <a:lumOff val="25000"/>
                  </a:schemeClr>
                </a:solidFill>
                <a:latin typeface="+mn-lt"/>
                <a:ea typeface="+mn-ea"/>
                <a:cs typeface="+mn-ea"/>
                <a:sym typeface="+mn-lt"/>
              </a:rPr>
              <a:t> Agents </a:t>
            </a:r>
            <a:r>
              <a:rPr lang="en-GB" sz="600" i="1" dirty="0" err="1">
                <a:solidFill>
                  <a:schemeClr val="tx1">
                    <a:lumMod val="75000"/>
                    <a:lumOff val="25000"/>
                  </a:schemeClr>
                </a:solidFill>
                <a:latin typeface="+mn-lt"/>
                <a:ea typeface="+mn-ea"/>
                <a:cs typeface="+mn-ea"/>
                <a:sym typeface="+mn-lt"/>
              </a:rPr>
              <a:t>Chemother</a:t>
            </a:r>
            <a:r>
              <a:rPr lang="en-GB" sz="600" i="1"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2020;64:e01433-20.</a:t>
            </a:r>
            <a:endParaRPr lang="en-GB" sz="600" dirty="0">
              <a:solidFill>
                <a:schemeClr val="tx1">
                  <a:lumMod val="75000"/>
                  <a:lumOff val="25000"/>
                </a:schemeClr>
              </a:solidFill>
              <a:latin typeface="+mn-lt"/>
              <a:ea typeface="+mn-ea"/>
              <a:cs typeface="+mn-ea"/>
              <a:sym typeface="+mn-lt"/>
            </a:endParaRPr>
          </a:p>
        </p:txBody>
      </p:sp>
      <p:sp>
        <p:nvSpPr>
          <p:cNvPr id="6" name="Text Placeholder 2"/>
          <p:cNvSpPr txBox="1"/>
          <p:nvPr/>
        </p:nvSpPr>
        <p:spPr>
          <a:xfrm>
            <a:off x="523738" y="5770164"/>
            <a:ext cx="4210187" cy="74455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World Health Organization. 2023 Antibacterial agents in clinical and preclinical development. </a:t>
            </a:r>
            <a:r>
              <a:rPr lang="en-US" sz="600" dirty="0">
                <a:solidFill>
                  <a:schemeClr val="tx1">
                    <a:lumMod val="75000"/>
                    <a:lumOff val="25000"/>
                  </a:schemeClr>
                </a:solidFill>
                <a:latin typeface="+mn-lt"/>
                <a:ea typeface="+mn-ea"/>
                <a:cs typeface="+mn-ea"/>
                <a:sym typeface="+mn-lt"/>
                <a:hlinkClick r:id="rId5"/>
              </a:rPr>
              <a:t>2023 Antibacterial agents in clinical and preclinical development: an overview and analysis (who.int)</a:t>
            </a:r>
            <a:r>
              <a:rPr lang="en-US" sz="600"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Accessed August 2024);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err="1">
                <a:solidFill>
                  <a:schemeClr val="tx1">
                    <a:lumMod val="75000"/>
                    <a:lumOff val="25000"/>
                  </a:schemeClr>
                </a:solidFill>
                <a:latin typeface="+mn-lt"/>
                <a:ea typeface="+mn-ea"/>
                <a:cs typeface="+mn-ea"/>
                <a:sym typeface="+mn-lt"/>
              </a:rPr>
              <a:t>Deshmuh</a:t>
            </a:r>
            <a:r>
              <a:rPr lang="en-GB" sz="600" dirty="0">
                <a:solidFill>
                  <a:schemeClr val="tx1">
                    <a:lumMod val="75000"/>
                    <a:lumOff val="25000"/>
                  </a:schemeClr>
                </a:solidFill>
                <a:latin typeface="+mn-lt"/>
                <a:ea typeface="+mn-ea"/>
                <a:cs typeface="+mn-ea"/>
                <a:sym typeface="+mn-lt"/>
              </a:rPr>
              <a:t> DG, et al. </a:t>
            </a:r>
            <a:r>
              <a:rPr lang="en-GB" sz="600" i="1" dirty="0">
                <a:solidFill>
                  <a:schemeClr val="tx1">
                    <a:lumMod val="75000"/>
                    <a:lumOff val="25000"/>
                  </a:schemeClr>
                </a:solidFill>
                <a:latin typeface="+mn-lt"/>
                <a:ea typeface="+mn-ea"/>
                <a:cs typeface="+mn-ea"/>
                <a:sym typeface="+mn-lt"/>
              </a:rPr>
              <a:t>J Lab Physicians </a:t>
            </a:r>
            <a:r>
              <a:rPr lang="en-GB" sz="600" dirty="0">
                <a:solidFill>
                  <a:schemeClr val="tx1">
                    <a:lumMod val="75000"/>
                    <a:lumOff val="25000"/>
                  </a:schemeClr>
                </a:solidFill>
                <a:latin typeface="+mn-lt"/>
                <a:ea typeface="+mn-ea"/>
                <a:cs typeface="+mn-ea"/>
                <a:sym typeface="+mn-lt"/>
              </a:rPr>
              <a:t>2011;3:93-7;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Mojica MF, et al. </a:t>
            </a:r>
            <a:r>
              <a:rPr lang="en-GB" sz="600" i="1" dirty="0">
                <a:solidFill>
                  <a:schemeClr val="tx1">
                    <a:lumMod val="75000"/>
                    <a:lumOff val="25000"/>
                  </a:schemeClr>
                </a:solidFill>
                <a:latin typeface="+mn-lt"/>
                <a:ea typeface="+mn-ea"/>
                <a:cs typeface="+mn-ea"/>
                <a:sym typeface="+mn-lt"/>
              </a:rPr>
              <a:t>Lancet Infect Dis </a:t>
            </a:r>
            <a:r>
              <a:rPr lang="en-GB" sz="600" dirty="0">
                <a:solidFill>
                  <a:schemeClr val="tx1">
                    <a:lumMod val="75000"/>
                    <a:lumOff val="25000"/>
                  </a:schemeClr>
                </a:solidFill>
                <a:latin typeface="+mn-lt"/>
                <a:ea typeface="+mn-ea"/>
                <a:cs typeface="+mn-ea"/>
                <a:sym typeface="+mn-lt"/>
              </a:rPr>
              <a:t>2022;22:e28-34;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Tan X, et al. </a:t>
            </a:r>
            <a:r>
              <a:rPr lang="en-GB" sz="600" i="1" dirty="0">
                <a:solidFill>
                  <a:schemeClr val="tx1">
                    <a:lumMod val="75000"/>
                    <a:lumOff val="25000"/>
                  </a:schemeClr>
                </a:solidFill>
                <a:latin typeface="+mn-lt"/>
                <a:ea typeface="+mn-ea"/>
                <a:cs typeface="+mn-ea"/>
                <a:sym typeface="+mn-lt"/>
              </a:rPr>
              <a:t>Infect Drug Resist </a:t>
            </a:r>
            <a:r>
              <a:rPr lang="en-GB" sz="600" dirty="0">
                <a:solidFill>
                  <a:schemeClr val="tx1">
                    <a:lumMod val="75000"/>
                    <a:lumOff val="25000"/>
                  </a:schemeClr>
                </a:solidFill>
                <a:latin typeface="+mn-lt"/>
                <a:ea typeface="+mn-ea"/>
                <a:cs typeface="+mn-ea"/>
                <a:sym typeface="+mn-lt"/>
              </a:rPr>
              <a:t>2021;14:125-42;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Han R, et al. </a:t>
            </a:r>
            <a:r>
              <a:rPr lang="en-GB" sz="600" i="1" dirty="0">
                <a:solidFill>
                  <a:schemeClr val="tx1">
                    <a:lumMod val="75000"/>
                    <a:lumOff val="25000"/>
                  </a:schemeClr>
                </a:solidFill>
                <a:latin typeface="+mn-lt"/>
                <a:ea typeface="+mn-ea"/>
                <a:cs typeface="+mn-ea"/>
                <a:sym typeface="+mn-lt"/>
              </a:rPr>
              <a:t>Front Cell Infect </a:t>
            </a:r>
            <a:r>
              <a:rPr lang="en-GB" sz="600" i="1" dirty="0" err="1">
                <a:solidFill>
                  <a:schemeClr val="tx1">
                    <a:lumMod val="75000"/>
                    <a:lumOff val="25000"/>
                  </a:schemeClr>
                </a:solidFill>
                <a:latin typeface="+mn-lt"/>
                <a:ea typeface="+mn-ea"/>
                <a:cs typeface="+mn-ea"/>
                <a:sym typeface="+mn-lt"/>
              </a:rPr>
              <a:t>Microbiol</a:t>
            </a:r>
            <a:r>
              <a:rPr lang="en-GB" sz="600" i="1"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2020;10:314; </a:t>
            </a:r>
            <a:endParaRPr lang="en-GB" sz="600" dirty="0">
              <a:solidFill>
                <a:schemeClr val="tx1">
                  <a:lumMod val="75000"/>
                  <a:lumOff val="25000"/>
                </a:schemeClr>
              </a:solidFill>
              <a:latin typeface="+mn-lt"/>
              <a:ea typeface="+mn-ea"/>
              <a:cs typeface="+mn-ea"/>
              <a:sym typeface="+mn-lt"/>
            </a:endParaRPr>
          </a:p>
        </p:txBody>
      </p:sp>
      <p:grpSp>
        <p:nvGrpSpPr>
          <p:cNvPr id="9" name="组合 8"/>
          <p:cNvGrpSpPr/>
          <p:nvPr/>
        </p:nvGrpSpPr>
        <p:grpSpPr>
          <a:xfrm>
            <a:off x="442912" y="1313514"/>
            <a:ext cx="11306175" cy="2291826"/>
            <a:chOff x="6055038" y="1041023"/>
            <a:chExt cx="5575300" cy="2677005"/>
          </a:xfrm>
        </p:grpSpPr>
        <p:sp>
          <p:nvSpPr>
            <p:cNvPr id="12"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13" name="直接连接符 12"/>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14" name="直接连接符 1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16" name="Text Placeholder 4"/>
          <p:cNvSpPr txBox="1"/>
          <p:nvPr/>
        </p:nvSpPr>
        <p:spPr>
          <a:xfrm>
            <a:off x="770096" y="1482942"/>
            <a:ext cx="10651806" cy="1952971"/>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90204" pitchFamily="34" charset="0"/>
              <a:buChar char="•"/>
              <a:defRPr sz="20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6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4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4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179705" indent="-179705">
              <a:lnSpc>
                <a:spcPct val="120000"/>
              </a:lnSpc>
            </a:pPr>
            <a:r>
              <a:rPr lang="en-GB" sz="1600" dirty="0">
                <a:solidFill>
                  <a:prstClr val="black"/>
                </a:solidFill>
                <a:latin typeface="微软雅黑"/>
                <a:ea typeface="微软雅黑"/>
              </a:rPr>
              <a:t>MBL基因具有高度移动性，加快了其全球传播</a:t>
            </a:r>
            <a:r>
              <a:rPr lang="en-GB" sz="1600" baseline="30000" dirty="0">
                <a:solidFill>
                  <a:prstClr val="black"/>
                </a:solidFill>
                <a:latin typeface="微软雅黑"/>
                <a:ea typeface="微软雅黑"/>
              </a:rPr>
              <a:t>2</a:t>
            </a:r>
            <a:endParaRPr lang="en-GB" sz="1600" baseline="30000" dirty="0">
              <a:solidFill>
                <a:prstClr val="black"/>
              </a:solidFill>
              <a:latin typeface="微软雅黑"/>
              <a:ea typeface="微软雅黑"/>
            </a:endParaRPr>
          </a:p>
          <a:p>
            <a:pPr marL="179705" indent="-179705">
              <a:lnSpc>
                <a:spcPct val="120000"/>
              </a:lnSpc>
            </a:pPr>
            <a:r>
              <a:rPr lang="en-US" sz="1600" dirty="0" err="1">
                <a:solidFill>
                  <a:prstClr val="black"/>
                </a:solidFill>
                <a:latin typeface="微软雅黑"/>
                <a:ea typeface="微软雅黑"/>
              </a:rPr>
              <a:t>MBL能够水解几乎所有</a:t>
            </a:r>
            <a:r>
              <a:rPr lang="en-US" sz="1600" dirty="0">
                <a:solidFill>
                  <a:prstClr val="black"/>
                </a:solidFill>
                <a:latin typeface="微软雅黑"/>
                <a:ea typeface="微软雅黑"/>
              </a:rPr>
              <a:t>β-内酰胺类抗生素</a:t>
            </a:r>
            <a:r>
              <a:rPr lang="en-US" sz="1600" baseline="30000" dirty="0">
                <a:solidFill>
                  <a:prstClr val="black"/>
                </a:solidFill>
                <a:latin typeface="微软雅黑"/>
                <a:ea typeface="微软雅黑"/>
              </a:rPr>
              <a:t>3,4</a:t>
            </a:r>
            <a:endParaRPr lang="en-US" sz="1600" baseline="30000" dirty="0">
              <a:solidFill>
                <a:prstClr val="black"/>
              </a:solidFill>
              <a:latin typeface="微软雅黑"/>
              <a:ea typeface="微软雅黑"/>
            </a:endParaRPr>
          </a:p>
          <a:p>
            <a:pPr marL="179705" indent="-179705">
              <a:lnSpc>
                <a:spcPct val="120000"/>
              </a:lnSpc>
            </a:pPr>
            <a:r>
              <a:rPr lang="en-GB" sz="1600" dirty="0" err="1">
                <a:solidFill>
                  <a:prstClr val="black"/>
                </a:solidFill>
                <a:latin typeface="微软雅黑"/>
                <a:ea typeface="微软雅黑"/>
              </a:rPr>
              <a:t>产MBL菌通常同时</a:t>
            </a:r>
            <a:r>
              <a:rPr lang="zh-CN" altLang="en-US" sz="1600" dirty="0">
                <a:solidFill>
                  <a:prstClr val="black"/>
                </a:solidFill>
                <a:latin typeface="微软雅黑"/>
                <a:ea typeface="微软雅黑"/>
              </a:rPr>
              <a:t>具有</a:t>
            </a:r>
            <a:r>
              <a:rPr lang="en-GB" sz="1600" dirty="0">
                <a:solidFill>
                  <a:prstClr val="black"/>
                </a:solidFill>
                <a:latin typeface="微软雅黑"/>
                <a:ea typeface="微软雅黑"/>
              </a:rPr>
              <a:t>多种耐药机制，包括SBL（如AmpC和ESBLs）</a:t>
            </a:r>
            <a:r>
              <a:rPr lang="en-GB" sz="1600" baseline="30000" dirty="0">
                <a:solidFill>
                  <a:prstClr val="black"/>
                </a:solidFill>
                <a:latin typeface="微软雅黑"/>
                <a:ea typeface="微软雅黑"/>
              </a:rPr>
              <a:t>5,6</a:t>
            </a:r>
            <a:endParaRPr lang="en-GB" sz="1600" baseline="30000" dirty="0">
              <a:solidFill>
                <a:prstClr val="black"/>
              </a:solidFill>
              <a:latin typeface="微软雅黑"/>
              <a:ea typeface="微软雅黑"/>
            </a:endParaRPr>
          </a:p>
          <a:p>
            <a:pPr marL="179705" lvl="2" indent="-179705">
              <a:lnSpc>
                <a:spcPct val="120000"/>
              </a:lnSpc>
            </a:pPr>
            <a:r>
              <a:rPr lang="en-GB" dirty="0" err="1">
                <a:solidFill>
                  <a:prstClr val="black"/>
                </a:solidFill>
                <a:latin typeface="微软雅黑"/>
                <a:ea typeface="微软雅黑"/>
              </a:rPr>
              <a:t>由产MBL肠杆菌科细菌（包括产NDM、VIM和IMP肠杆菌科细菌）引起的感染与</a:t>
            </a:r>
            <a:r>
              <a:rPr lang="zh-CN" altLang="en-US" dirty="0">
                <a:solidFill>
                  <a:prstClr val="black"/>
                </a:solidFill>
                <a:latin typeface="微软雅黑"/>
                <a:ea typeface="微软雅黑"/>
              </a:rPr>
              <a:t>较</a:t>
            </a:r>
            <a:r>
              <a:rPr lang="en-GB" dirty="0">
                <a:solidFill>
                  <a:prstClr val="black"/>
                </a:solidFill>
                <a:latin typeface="微软雅黑"/>
                <a:ea typeface="微软雅黑"/>
              </a:rPr>
              <a:t>高</a:t>
            </a:r>
            <a:r>
              <a:rPr lang="zh-CN" altLang="en-US" dirty="0">
                <a:solidFill>
                  <a:prstClr val="black"/>
                </a:solidFill>
                <a:latin typeface="微软雅黑"/>
                <a:ea typeface="微软雅黑"/>
              </a:rPr>
              <a:t>的</a:t>
            </a:r>
            <a:r>
              <a:rPr lang="en-GB" dirty="0">
                <a:solidFill>
                  <a:prstClr val="black"/>
                </a:solidFill>
                <a:latin typeface="微软雅黑"/>
                <a:ea typeface="微软雅黑"/>
              </a:rPr>
              <a:t>死亡率相关</a:t>
            </a:r>
            <a:r>
              <a:rPr lang="en-GB" baseline="30000" dirty="0">
                <a:solidFill>
                  <a:prstClr val="black"/>
                </a:solidFill>
                <a:latin typeface="微软雅黑"/>
                <a:ea typeface="微软雅黑"/>
              </a:rPr>
              <a:t>7-9</a:t>
            </a:r>
            <a:endParaRPr lang="en-GB" baseline="30000" dirty="0">
              <a:solidFill>
                <a:prstClr val="black"/>
              </a:solidFill>
              <a:latin typeface="微软雅黑"/>
              <a:ea typeface="微软雅黑"/>
            </a:endParaRPr>
          </a:p>
          <a:p>
            <a:pPr marL="179705" indent="-179705">
              <a:lnSpc>
                <a:spcPct val="120000"/>
              </a:lnSpc>
            </a:pPr>
            <a:r>
              <a:rPr lang="en-GB" sz="1600" dirty="0" err="1">
                <a:solidFill>
                  <a:prstClr val="black"/>
                </a:solidFill>
                <a:latin typeface="微软雅黑"/>
                <a:ea typeface="微软雅黑"/>
              </a:rPr>
              <a:t>嗜麦芽窄食单胞菌产生两种可诱导的</a:t>
            </a:r>
            <a:r>
              <a:rPr lang="en-GB" sz="1600" dirty="0">
                <a:solidFill>
                  <a:prstClr val="black"/>
                </a:solidFill>
                <a:latin typeface="微软雅黑"/>
                <a:ea typeface="微软雅黑"/>
              </a:rPr>
              <a:t>β-内酰胺酶（L1和L2）以及其他耐药机制，因此对大多数β-内酰胺类药物耐药</a:t>
            </a:r>
            <a:r>
              <a:rPr lang="en-GB" sz="1600" baseline="30000" dirty="0">
                <a:solidFill>
                  <a:prstClr val="black"/>
                </a:solidFill>
                <a:latin typeface="微软雅黑"/>
                <a:ea typeface="微软雅黑"/>
              </a:rPr>
              <a:t>10</a:t>
            </a:r>
            <a:br>
              <a:rPr lang="en-GB" sz="1600" dirty="0">
                <a:solidFill>
                  <a:prstClr val="black"/>
                </a:solidFill>
                <a:latin typeface="微软雅黑"/>
                <a:ea typeface="微软雅黑"/>
              </a:rPr>
            </a:br>
            <a:r>
              <a:rPr lang="en-GB" sz="1600" dirty="0">
                <a:solidFill>
                  <a:prstClr val="black"/>
                </a:solidFill>
                <a:latin typeface="微软雅黑"/>
                <a:ea typeface="微软雅黑"/>
              </a:rPr>
              <a:t>--</a:t>
            </a:r>
            <a:r>
              <a:rPr lang="en-GB" sz="1200" dirty="0">
                <a:solidFill>
                  <a:prstClr val="black"/>
                </a:solidFill>
                <a:latin typeface="微软雅黑"/>
                <a:ea typeface="微软雅黑"/>
              </a:rPr>
              <a:t>L1是一种MBL，能够水解碳青霉烯类和其他β-内酰胺类药物，但对单环β氨曲南无水解作用</a:t>
            </a:r>
            <a:r>
              <a:rPr lang="en-GB" sz="1200" baseline="30000" dirty="0">
                <a:solidFill>
                  <a:prstClr val="black"/>
                </a:solidFill>
                <a:latin typeface="微软雅黑"/>
                <a:ea typeface="微软雅黑"/>
              </a:rPr>
              <a:t>10</a:t>
            </a:r>
            <a:endParaRPr lang="en-GB" sz="1600" baseline="30000" dirty="0">
              <a:solidFill>
                <a:prstClr val="black"/>
              </a:solidFill>
              <a:latin typeface="微软雅黑"/>
              <a:ea typeface="微软雅黑"/>
            </a:endParaRPr>
          </a:p>
        </p:txBody>
      </p:sp>
      <p:grpSp>
        <p:nvGrpSpPr>
          <p:cNvPr id="17" name="组合 16"/>
          <p:cNvGrpSpPr/>
          <p:nvPr/>
        </p:nvGrpSpPr>
        <p:grpSpPr>
          <a:xfrm>
            <a:off x="442910" y="4059224"/>
            <a:ext cx="11306174" cy="1628483"/>
            <a:chOff x="633413" y="3545765"/>
            <a:chExt cx="3532188" cy="1628483"/>
          </a:xfrm>
        </p:grpSpPr>
        <p:sp>
          <p:nvSpPr>
            <p:cNvPr id="18" name="MH_Text_1"/>
            <p:cNvSpPr/>
            <p:nvPr>
              <p:custDataLst>
                <p:tags r:id="rId6"/>
              </p:custDataLst>
            </p:nvPr>
          </p:nvSpPr>
          <p:spPr>
            <a:xfrm>
              <a:off x="633413" y="3545765"/>
              <a:ext cx="3532188" cy="1628483"/>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9" name="MH_SubTitle_1"/>
            <p:cNvSpPr/>
            <p:nvPr>
              <p:custDataLst>
                <p:tags r:id="rId7"/>
              </p:custDataLst>
            </p:nvPr>
          </p:nvSpPr>
          <p:spPr>
            <a:xfrm>
              <a:off x="633415" y="3545765"/>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grpSp>
      <p:sp>
        <p:nvSpPr>
          <p:cNvPr id="20" name="MH_SubTitle_1"/>
          <p:cNvSpPr/>
          <p:nvPr>
            <p:custDataLst>
              <p:tags r:id="rId8"/>
            </p:custDataLst>
          </p:nvPr>
        </p:nvSpPr>
        <p:spPr>
          <a:xfrm>
            <a:off x="4257041" y="3877882"/>
            <a:ext cx="3677918" cy="403592"/>
          </a:xfrm>
          <a:prstGeom prst="hexagon">
            <a:avLst/>
          </a:prstGeom>
          <a:solidFill>
            <a:srgbClr val="000D45"/>
          </a:solidFill>
          <a:ln w="19050">
            <a:noFill/>
          </a:ln>
        </p:spPr>
        <p:txBody>
          <a:bodyPr vert="horz" wrap="square" lIns="0" tIns="0" rIns="0" bIns="0" numCol="1" anchor="ctr" anchorCtr="0" compatLnSpc="1"/>
          <a:lstStyle/>
          <a:p>
            <a:pPr algn="ctr">
              <a:defRPr/>
            </a:pPr>
            <a:r>
              <a:rPr lang="zh-CN" altLang="en-US" b="1" dirty="0">
                <a:solidFill>
                  <a:prstClr val="white"/>
                </a:solidFill>
                <a:cs typeface="Calibri" panose="020F0502020204030204" pitchFamily="34" charset="0"/>
                <a:sym typeface="Arial" panose="020B0604020202090204" pitchFamily="34" charset="0"/>
              </a:rPr>
              <a:t>以下‘五大’碳青霉烯酶：</a:t>
            </a:r>
            <a:r>
              <a:rPr lang="en-US" altLang="zh-CN" b="1" baseline="30000" dirty="0">
                <a:solidFill>
                  <a:prstClr val="white"/>
                </a:solidFill>
                <a:cs typeface="Calibri" panose="020F0502020204030204" pitchFamily="34" charset="0"/>
                <a:sym typeface="Arial" panose="020B0604020202090204" pitchFamily="34" charset="0"/>
              </a:rPr>
              <a:t>5,6</a:t>
            </a:r>
            <a:endParaRPr lang="en-US" altLang="zh-CN" b="1" baseline="30000" dirty="0">
              <a:solidFill>
                <a:prstClr val="white"/>
              </a:solidFill>
              <a:cs typeface="Calibri" panose="020F0502020204030204" pitchFamily="34" charset="0"/>
              <a:sym typeface="Arial" panose="020B0604020202090204" pitchFamily="34" charset="0"/>
            </a:endParaRPr>
          </a:p>
        </p:txBody>
      </p:sp>
      <p:sp>
        <p:nvSpPr>
          <p:cNvPr id="21" name="TextBox 14"/>
          <p:cNvSpPr txBox="1"/>
          <p:nvPr/>
        </p:nvSpPr>
        <p:spPr bwMode="gray">
          <a:xfrm>
            <a:off x="1058421" y="5191704"/>
            <a:ext cx="5159499" cy="246221"/>
          </a:xfrm>
          <a:prstGeom prst="roundRect">
            <a:avLst>
              <a:gd name="adj" fmla="val 0"/>
            </a:avLst>
          </a:prstGeom>
          <a:noFill/>
          <a:ln w="38100" cap="flat" cmpd="sng" algn="ctr">
            <a:noFill/>
            <a:prstDash val="solid"/>
            <a:miter lim="800000"/>
          </a:ln>
          <a:effectLst/>
        </p:spPr>
        <p:txBody>
          <a:bodyPr wrap="square" lIns="0" tIns="0" rIns="0" bIns="0" anchor="ctr">
            <a:spAutoFit/>
          </a:bodyPr>
          <a:lstStyle/>
          <a:p>
            <a:pPr marL="0" marR="0" lvl="2" indent="0" defTabSz="914400" eaLnBrk="0" fontAlgn="base" latinLnBrk="0" hangingPunct="0">
              <a:lnSpc>
                <a:spcPct val="100000"/>
              </a:lnSpc>
              <a:spcBef>
                <a:spcPts val="1000"/>
              </a:spcBef>
              <a:spcAft>
                <a:spcPct val="0"/>
              </a:spcAft>
              <a:buClrTx/>
              <a:buSzTx/>
              <a:buFontTx/>
              <a:buNone/>
              <a:defRPr/>
            </a:pPr>
            <a:r>
              <a:rPr kumimoji="0" lang="en-GB" sz="1600" b="0" i="0" u="none" strike="noStrike" kern="0" cap="none" spc="0" normalizeH="0" baseline="0" noProof="0" dirty="0">
                <a:ln>
                  <a:noFill/>
                </a:ln>
                <a:solidFill>
                  <a:prstClr val="black"/>
                </a:solidFill>
                <a:effectLst/>
                <a:uLnTx/>
                <a:uFillTx/>
                <a:latin typeface="微软雅黑"/>
                <a:ea typeface="微软雅黑"/>
                <a:cs typeface="Times New Roman" panose="02020503050405090304" pitchFamily="18" charset="0"/>
              </a:rPr>
              <a:t>是全球范围内肠杆菌科细菌中最常见的碳青霉烯酶</a:t>
            </a:r>
            <a:r>
              <a:rPr kumimoji="0" lang="en-GB" sz="1600" b="0" i="0" u="none" strike="noStrike" kern="0" cap="none" spc="0" normalizeH="0" baseline="30000" noProof="0" dirty="0">
                <a:ln>
                  <a:noFill/>
                </a:ln>
                <a:solidFill>
                  <a:prstClr val="black"/>
                </a:solidFill>
                <a:effectLst/>
                <a:uLnTx/>
                <a:uFillTx/>
                <a:latin typeface="微软雅黑"/>
                <a:ea typeface="微软雅黑"/>
                <a:cs typeface="Times New Roman" panose="02020503050405090304" pitchFamily="18" charset="0"/>
              </a:rPr>
              <a:t>5,6</a:t>
            </a:r>
            <a:r>
              <a:rPr kumimoji="0" lang="en-GB" sz="1600" b="0" i="0" u="none" strike="noStrike" kern="0" cap="none" spc="0" normalizeH="0" baseline="0" noProof="0" dirty="0">
                <a:ln>
                  <a:noFill/>
                </a:ln>
                <a:solidFill>
                  <a:prstClr val="black"/>
                </a:solidFill>
                <a:effectLst/>
                <a:uLnTx/>
                <a:uFillTx/>
                <a:latin typeface="微软雅黑"/>
                <a:ea typeface="微软雅黑"/>
                <a:cs typeface="Times New Roman" panose="02020503050405090304" pitchFamily="18" charset="0"/>
              </a:rPr>
              <a:t>。</a:t>
            </a:r>
            <a:endParaRPr kumimoji="0" lang="en-US" sz="1600" b="0" i="0" u="none" strike="noStrike" kern="0" cap="none" spc="0" normalizeH="0" baseline="30000" noProof="0" dirty="0">
              <a:ln>
                <a:noFill/>
              </a:ln>
              <a:solidFill>
                <a:prstClr val="black"/>
              </a:solidFill>
              <a:effectLst/>
              <a:uLnTx/>
              <a:uFillTx/>
              <a:latin typeface="微软雅黑"/>
              <a:ea typeface="微软雅黑"/>
              <a:cs typeface="Times New Roman" panose="02020503050405090304" pitchFamily="18" charset="0"/>
            </a:endParaRPr>
          </a:p>
        </p:txBody>
      </p:sp>
      <p:grpSp>
        <p:nvGrpSpPr>
          <p:cNvPr id="22" name="组合 21"/>
          <p:cNvGrpSpPr/>
          <p:nvPr/>
        </p:nvGrpSpPr>
        <p:grpSpPr>
          <a:xfrm>
            <a:off x="1058421" y="4558776"/>
            <a:ext cx="10075159" cy="459469"/>
            <a:chOff x="935741" y="3900537"/>
            <a:chExt cx="7119619" cy="459469"/>
          </a:xfrm>
        </p:grpSpPr>
        <p:sp>
          <p:nvSpPr>
            <p:cNvPr id="23" name="文本框 22"/>
            <p:cNvSpPr txBox="1"/>
            <p:nvPr/>
          </p:nvSpPr>
          <p:spPr>
            <a:xfrm>
              <a:off x="9357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1.KPC</a:t>
              </a:r>
              <a:endParaRPr lang="en-GB" altLang="zh-CN" b="1" dirty="0">
                <a:solidFill>
                  <a:prstClr val="black"/>
                </a:solidFill>
                <a:latin typeface="微软雅黑"/>
                <a:cs typeface="Times New Roman" panose="02020503050405090304" pitchFamily="18" charset="0"/>
              </a:endParaRPr>
            </a:p>
          </p:txBody>
        </p:sp>
        <p:sp>
          <p:nvSpPr>
            <p:cNvPr id="24" name="文本框 23"/>
            <p:cNvSpPr txBox="1"/>
            <p:nvPr/>
          </p:nvSpPr>
          <p:spPr>
            <a:xfrm>
              <a:off x="24216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2.OXA-48</a:t>
              </a:r>
              <a:endParaRPr lang="en-GB" altLang="zh-CN" b="1" dirty="0">
                <a:solidFill>
                  <a:prstClr val="black"/>
                </a:solidFill>
                <a:latin typeface="微软雅黑"/>
                <a:cs typeface="Times New Roman" panose="02020503050405090304" pitchFamily="18" charset="0"/>
              </a:endParaRPr>
            </a:p>
          </p:txBody>
        </p:sp>
        <p:sp>
          <p:nvSpPr>
            <p:cNvPr id="25" name="文本框 24"/>
            <p:cNvSpPr txBox="1"/>
            <p:nvPr/>
          </p:nvSpPr>
          <p:spPr>
            <a:xfrm>
              <a:off x="39075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3.IMP</a:t>
              </a:r>
              <a:endParaRPr lang="en-GB" altLang="zh-CN" b="1" dirty="0">
                <a:solidFill>
                  <a:prstClr val="black"/>
                </a:solidFill>
                <a:latin typeface="微软雅黑"/>
                <a:cs typeface="Times New Roman" panose="02020503050405090304" pitchFamily="18" charset="0"/>
              </a:endParaRPr>
            </a:p>
          </p:txBody>
        </p:sp>
        <p:sp>
          <p:nvSpPr>
            <p:cNvPr id="26" name="文本框 25"/>
            <p:cNvSpPr txBox="1"/>
            <p:nvPr/>
          </p:nvSpPr>
          <p:spPr>
            <a:xfrm>
              <a:off x="53934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4.VIM</a:t>
              </a:r>
              <a:endParaRPr lang="en-GB" altLang="zh-CN" b="1" dirty="0">
                <a:solidFill>
                  <a:prstClr val="black"/>
                </a:solidFill>
                <a:latin typeface="微软雅黑"/>
                <a:cs typeface="Times New Roman" panose="02020503050405090304" pitchFamily="18" charset="0"/>
              </a:endParaRPr>
            </a:p>
          </p:txBody>
        </p:sp>
        <p:sp>
          <p:nvSpPr>
            <p:cNvPr id="27" name="文本框 26"/>
            <p:cNvSpPr txBox="1"/>
            <p:nvPr/>
          </p:nvSpPr>
          <p:spPr>
            <a:xfrm>
              <a:off x="68793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5.NDM</a:t>
              </a:r>
              <a:endParaRPr lang="en-GB" altLang="zh-CN" b="1" dirty="0">
                <a:solidFill>
                  <a:prstClr val="black"/>
                </a:solidFill>
                <a:latin typeface="微软雅黑"/>
                <a:cs typeface="Times New Roman" panose="02020503050405090304" pitchFamily="18" charset="0"/>
              </a:endParaRPr>
            </a:p>
          </p:txBody>
        </p:sp>
      </p:grpSp>
      <p:sp>
        <p:nvSpPr>
          <p:cNvPr id="7" name="文本框 6"/>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p:txBody>
          <a:bodyPr/>
          <a:lstStyle/>
          <a:p>
            <a:r>
              <a:rPr lang="en-US" altLang="zh-CN"/>
              <a:t>ICU</a:t>
            </a:r>
            <a:r>
              <a:rPr lang="zh-CN" altLang="en-US"/>
              <a:t>耐药挑战：</a:t>
            </a:r>
            <a:r>
              <a:rPr lang="en-US" altLang="zh-CN"/>
              <a:t>CRE </a:t>
            </a:r>
            <a:r>
              <a:rPr lang="zh-CN" altLang="en-US"/>
              <a:t>与 </a:t>
            </a:r>
            <a:r>
              <a:rPr lang="en-US" altLang="zh-CN"/>
              <a:t>SMA </a:t>
            </a:r>
            <a:r>
              <a:rPr lang="zh-CN" altLang="en-US"/>
              <a:t>在</a:t>
            </a:r>
            <a:r>
              <a:rPr lang="en-US" altLang="zh-CN"/>
              <a:t>HAP/VAP</a:t>
            </a:r>
            <a:r>
              <a:rPr lang="zh-CN" altLang="en-US"/>
              <a:t>和</a:t>
            </a:r>
            <a:r>
              <a:rPr lang="en-US" altLang="zh-CN" err="1"/>
              <a:t>cIAI</a:t>
            </a:r>
            <a:r>
              <a:rPr lang="zh-CN" altLang="en-US"/>
              <a:t>患者常见耐药菌中占比</a:t>
            </a:r>
            <a:r>
              <a:rPr lang="zh-CN" altLang="en-US"/>
              <a:t>较高</a:t>
            </a:r>
            <a:endParaRPr lang="zh-CN" altLang="en-US"/>
          </a:p>
        </p:txBody>
      </p:sp>
      <p:sp>
        <p:nvSpPr>
          <p:cNvPr id="14" name="文本占位符 13"/>
          <p:cNvSpPr>
            <a:spLocks noGrp="1"/>
          </p:cNvSpPr>
          <p:nvPr>
            <p:ph type="body" sz="quarter" idx="10"/>
          </p:nvPr>
        </p:nvSpPr>
        <p:spPr>
          <a:xfrm>
            <a:off x="1262063" y="6382941"/>
            <a:ext cx="9164085" cy="322654"/>
          </a:xfrm>
        </p:spPr>
        <p:txBody>
          <a:bodyPr numCol="2"/>
          <a:lstStyle/>
          <a:p>
            <a:r>
              <a:rPr lang="en-US" altLang="zh-CN"/>
              <a:t>Zhang Y, et al. Int J Infect Dis. 2014;29:84-90. </a:t>
            </a:r>
            <a:endParaRPr lang="en-US" altLang="zh-CN"/>
          </a:p>
          <a:p>
            <a:r>
              <a:rPr lang="zh-CN" altLang="en-US"/>
              <a:t>卜春红</a:t>
            </a:r>
            <a:r>
              <a:rPr lang="en-US" altLang="zh-CN"/>
              <a:t>,</a:t>
            </a:r>
            <a:r>
              <a:rPr lang="zh-CN" altLang="en-US"/>
              <a:t>等</a:t>
            </a:r>
            <a:r>
              <a:rPr lang="en-US" altLang="zh-CN"/>
              <a:t>. </a:t>
            </a:r>
            <a:r>
              <a:rPr lang="zh-CN" altLang="en-US"/>
              <a:t>河北医学</a:t>
            </a:r>
            <a:r>
              <a:rPr lang="en-US" altLang="zh-CN"/>
              <a:t>,2022,28(7):1166-1172. </a:t>
            </a:r>
            <a:endParaRPr lang="en-US" altLang="zh-CN"/>
          </a:p>
          <a:p>
            <a:r>
              <a:rPr lang="en-US" altLang="zh-CN"/>
              <a:t>Napolitano </a:t>
            </a:r>
            <a:r>
              <a:rPr lang="en-US" altLang="zh-CN" err="1"/>
              <a:t>LM.Semin</a:t>
            </a:r>
            <a:r>
              <a:rPr lang="en-US" altLang="zh-CN"/>
              <a:t> Respir Crit Care Med. 2022;43(1):10-27. </a:t>
            </a:r>
            <a:endParaRPr lang="en-US" altLang="zh-CN"/>
          </a:p>
          <a:p>
            <a:r>
              <a:rPr lang="en-US" altLang="zh-CN"/>
              <a:t>Liu J, et al. J Infect Dis. 2020;221(Suppl 2):S156-S163.</a:t>
            </a:r>
            <a:endParaRPr lang="en-US" altLang="zh-CN"/>
          </a:p>
        </p:txBody>
      </p:sp>
      <p:sp>
        <p:nvSpPr>
          <p:cNvPr id="69" name="文本框 68"/>
          <p:cNvSpPr txBox="1"/>
          <p:nvPr/>
        </p:nvSpPr>
        <p:spPr>
          <a:xfrm>
            <a:off x="479425" y="6139541"/>
            <a:ext cx="11233150" cy="246221"/>
          </a:xfrm>
          <a:prstGeom prst="rect">
            <a:avLst/>
          </a:prstGeom>
          <a:noFill/>
        </p:spPr>
        <p:txBody>
          <a:bodyPr wrap="square" lIns="0" rIns="0" rtlCol="0" anchor="b">
            <a:spAutoFit/>
          </a:bodyPr>
          <a:lstStyle/>
          <a:p>
            <a:r>
              <a:rPr lang="en-US" altLang="zh-CN" sz="1000"/>
              <a:t>CRE</a:t>
            </a:r>
            <a:r>
              <a:rPr lang="zh-CN" altLang="en-US" sz="1000"/>
              <a:t>：耐碳青霉烯类肠杆菌 </a:t>
            </a:r>
            <a:r>
              <a:rPr lang="en-US" altLang="zh-CN" sz="1000"/>
              <a:t>;SMA </a:t>
            </a:r>
            <a:r>
              <a:rPr lang="zh-CN" altLang="en-US" sz="1000"/>
              <a:t>：嗜麦芽窄食单胞菌；</a:t>
            </a:r>
            <a:r>
              <a:rPr lang="en-US" altLang="zh-CN" sz="1000"/>
              <a:t>HAP/VAP</a:t>
            </a:r>
            <a:r>
              <a:rPr lang="zh-CN" altLang="en-US" sz="1000"/>
              <a:t>：医院获得性肺炎或呼吸机相关性肺炎；</a:t>
            </a:r>
            <a:r>
              <a:rPr lang="en-US" altLang="zh-CN" sz="1000"/>
              <a:t>HA-</a:t>
            </a:r>
            <a:r>
              <a:rPr lang="en-US" altLang="zh-CN" sz="1000" err="1"/>
              <a:t>cIAI</a:t>
            </a:r>
            <a:r>
              <a:rPr lang="zh-CN" altLang="en-US" sz="1000"/>
              <a:t>：医院获得性复杂腹腔内感染</a:t>
            </a:r>
            <a:endParaRPr lang="zh-CN" altLang="en-US" sz="1000"/>
          </a:p>
        </p:txBody>
      </p:sp>
      <p:sp>
        <p:nvSpPr>
          <p:cNvPr id="71" name="矩形 70"/>
          <p:cNvSpPr/>
          <p:nvPr/>
        </p:nvSpPr>
        <p:spPr>
          <a:xfrm>
            <a:off x="479425" y="2353522"/>
            <a:ext cx="5508042" cy="374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p:cNvSpPr/>
          <p:nvPr/>
        </p:nvSpPr>
        <p:spPr>
          <a:xfrm>
            <a:off x="6201342" y="2353522"/>
            <a:ext cx="5508042" cy="374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0" name="组合 89"/>
          <p:cNvGrpSpPr/>
          <p:nvPr/>
        </p:nvGrpSpPr>
        <p:grpSpPr>
          <a:xfrm>
            <a:off x="479425" y="1089025"/>
            <a:ext cx="5508042" cy="1080000"/>
            <a:chOff x="479425" y="1089025"/>
            <a:chExt cx="5508042" cy="1080000"/>
          </a:xfrm>
        </p:grpSpPr>
        <p:sp>
          <p:nvSpPr>
            <p:cNvPr id="91" name="矩形 90"/>
            <p:cNvSpPr/>
            <p:nvPr/>
          </p:nvSpPr>
          <p:spPr>
            <a:xfrm>
              <a:off x="479425" y="1089025"/>
              <a:ext cx="5508042" cy="108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b="1">
                  <a:solidFill>
                    <a:schemeClr val="accent1"/>
                  </a:solidFill>
                </a:rPr>
                <a:t>ICU </a:t>
              </a:r>
              <a:r>
                <a:rPr lang="zh-CN" altLang="en-US" sz="1200" b="1">
                  <a:solidFill>
                    <a:schemeClr val="accent1"/>
                  </a:solidFill>
                </a:rPr>
                <a:t>获得性肺炎</a:t>
              </a:r>
              <a:r>
                <a:rPr lang="en-US" altLang="zh-CN" sz="1200" b="1">
                  <a:solidFill>
                    <a:schemeClr val="accent1"/>
                  </a:solidFill>
                </a:rPr>
                <a:t>/VAP </a:t>
              </a:r>
              <a:r>
                <a:rPr lang="zh-CN" altLang="en-US" sz="1200" b="1">
                  <a:solidFill>
                    <a:schemeClr val="accent1"/>
                  </a:solidFill>
                </a:rPr>
                <a:t>是中国 </a:t>
              </a:r>
              <a:r>
                <a:rPr lang="en-US" altLang="zh-CN" sz="1200" b="1">
                  <a:solidFill>
                    <a:schemeClr val="accent1"/>
                  </a:solidFill>
                </a:rPr>
                <a:t>ICU </a:t>
              </a:r>
              <a:r>
                <a:rPr lang="zh-CN" altLang="en-US" sz="1200" b="1">
                  <a:solidFill>
                    <a:schemeClr val="accent1"/>
                  </a:solidFill>
                </a:rPr>
                <a:t>患者发病和死亡的主要原因</a:t>
              </a:r>
              <a:r>
                <a:rPr lang="en-US" altLang="zh-CN" sz="1200" baseline="30000">
                  <a:solidFill>
                    <a:schemeClr val="tx1"/>
                  </a:solidFill>
                </a:rPr>
                <a:t>1</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在</a:t>
              </a:r>
              <a:r>
                <a:rPr lang="en-US" altLang="zh-CN" sz="1200">
                  <a:solidFill>
                    <a:schemeClr val="tx1"/>
                  </a:solidFill>
                </a:rPr>
                <a:t>150</a:t>
              </a:r>
              <a:r>
                <a:rPr lang="zh-CN" altLang="en-US" sz="1200">
                  <a:solidFill>
                    <a:schemeClr val="tx1"/>
                  </a:solidFill>
                </a:rPr>
                <a:t>例感染细菌的</a:t>
              </a:r>
              <a:r>
                <a:rPr lang="en-US" altLang="zh-CN" sz="1200">
                  <a:solidFill>
                    <a:schemeClr val="tx1"/>
                  </a:solidFill>
                </a:rPr>
                <a:t>ICU VAP</a:t>
              </a:r>
              <a:r>
                <a:rPr lang="zh-CN" altLang="en-US" sz="1200">
                  <a:solidFill>
                    <a:schemeClr val="tx1"/>
                  </a:solidFill>
                </a:rPr>
                <a:t>患者中，共分离出</a:t>
              </a:r>
              <a:r>
                <a:rPr lang="en-US" altLang="zh-CN" sz="1200">
                  <a:solidFill>
                    <a:schemeClr val="tx1"/>
                  </a:solidFill>
                </a:rPr>
                <a:t>240</a:t>
              </a:r>
              <a:r>
                <a:rPr lang="zh-CN" altLang="en-US" sz="1200">
                  <a:solidFill>
                    <a:schemeClr val="tx1"/>
                  </a:solidFill>
                </a:rPr>
                <a:t>株病原菌，</a:t>
              </a:r>
              <a:r>
                <a:rPr lang="en-US" altLang="zh-CN" sz="1200">
                  <a:solidFill>
                    <a:schemeClr val="tx1"/>
                  </a:solidFill>
                </a:rPr>
                <a:t>202</a:t>
              </a:r>
              <a:r>
                <a:rPr lang="zh-CN" altLang="en-US" sz="1200">
                  <a:solidFill>
                    <a:schemeClr val="tx1"/>
                  </a:solidFill>
                </a:rPr>
                <a:t>株为革兰阴性菌，其中</a:t>
              </a:r>
              <a:r>
                <a:rPr lang="en-US" altLang="zh-CN" sz="1200">
                  <a:solidFill>
                    <a:schemeClr val="tx1"/>
                  </a:solidFill>
                </a:rPr>
                <a:t>30.7%</a:t>
              </a:r>
              <a:r>
                <a:rPr lang="zh-CN" altLang="en-US" sz="1200">
                  <a:solidFill>
                    <a:schemeClr val="tx1"/>
                  </a:solidFill>
                </a:rPr>
                <a:t>为碳青霉烯类耐药革兰阴性杆菌（</a:t>
              </a:r>
              <a:r>
                <a:rPr lang="en-US" altLang="zh-CN" sz="1200">
                  <a:solidFill>
                    <a:schemeClr val="tx1"/>
                  </a:solidFill>
                </a:rPr>
                <a:t>CRGNB</a:t>
              </a:r>
              <a:r>
                <a:rPr lang="zh-CN" altLang="en-US" sz="1200">
                  <a:solidFill>
                    <a:schemeClr val="tx1"/>
                  </a:solidFill>
                </a:rPr>
                <a:t>）</a:t>
              </a:r>
              <a:r>
                <a:rPr lang="en-US" altLang="zh-CN" sz="1200" baseline="30000">
                  <a:solidFill>
                    <a:schemeClr val="tx1"/>
                  </a:solidFill>
                </a:rPr>
                <a:t>2</a:t>
              </a:r>
              <a:endParaRPr lang="en-US" altLang="zh-CN" sz="1200" baseline="30000">
                <a:solidFill>
                  <a:schemeClr val="tx1"/>
                </a:solidFill>
              </a:endParaRPr>
            </a:p>
          </p:txBody>
        </p:sp>
        <p:sp>
          <p:nvSpPr>
            <p:cNvPr id="92" name="任意多边形: 形状 91"/>
            <p:cNvSpPr/>
            <p:nvPr/>
          </p:nvSpPr>
          <p:spPr>
            <a:xfrm>
              <a:off x="584548" y="133200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93" name="任意多边形: 形状 92"/>
            <p:cNvSpPr/>
            <p:nvPr/>
          </p:nvSpPr>
          <p:spPr>
            <a:xfrm>
              <a:off x="584548" y="162573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94" name="组合 93"/>
          <p:cNvGrpSpPr/>
          <p:nvPr/>
        </p:nvGrpSpPr>
        <p:grpSpPr>
          <a:xfrm>
            <a:off x="6204533" y="1089025"/>
            <a:ext cx="5508042" cy="1080000"/>
            <a:chOff x="479425" y="1089025"/>
            <a:chExt cx="5508042" cy="1080000"/>
          </a:xfrm>
        </p:grpSpPr>
        <p:sp>
          <p:nvSpPr>
            <p:cNvPr id="95" name="矩形 94"/>
            <p:cNvSpPr/>
            <p:nvPr/>
          </p:nvSpPr>
          <p:spPr>
            <a:xfrm>
              <a:off x="479425" y="1089025"/>
              <a:ext cx="5508042" cy="108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b="1">
                  <a:solidFill>
                    <a:schemeClr val="accent1"/>
                  </a:solidFill>
                </a:rPr>
                <a:t>腹腔内感染（</a:t>
              </a:r>
              <a:r>
                <a:rPr lang="en-US" altLang="zh-CN" sz="1200" b="1">
                  <a:solidFill>
                    <a:schemeClr val="accent1"/>
                  </a:solidFill>
                </a:rPr>
                <a:t>IAI)</a:t>
              </a:r>
              <a:r>
                <a:rPr lang="zh-CN" altLang="en-US" sz="1200" b="1">
                  <a:solidFill>
                    <a:schemeClr val="accent1"/>
                  </a:solidFill>
                </a:rPr>
                <a:t>是导致</a:t>
              </a:r>
              <a:r>
                <a:rPr lang="en-US" altLang="zh-CN" sz="1200" b="1">
                  <a:solidFill>
                    <a:schemeClr val="accent1"/>
                  </a:solidFill>
                </a:rPr>
                <a:t>ICU</a:t>
              </a:r>
              <a:r>
                <a:rPr lang="zh-CN" altLang="en-US" sz="1200" b="1">
                  <a:solidFill>
                    <a:schemeClr val="accent1"/>
                  </a:solidFill>
                </a:rPr>
                <a:t>感染相关死亡的第二大原因</a:t>
              </a:r>
              <a:r>
                <a:rPr lang="en-US" altLang="zh-CN" sz="1200" b="1" baseline="30000">
                  <a:solidFill>
                    <a:schemeClr val="accent1"/>
                  </a:solidFill>
                </a:rPr>
                <a:t>3</a:t>
              </a:r>
              <a:r>
                <a:rPr lang="zh-CN" altLang="en-US" sz="1200" b="1">
                  <a:solidFill>
                    <a:schemeClr val="accent1"/>
                  </a:solidFill>
                </a:rPr>
                <a:t>，其中复杂腹腔内感染</a:t>
              </a:r>
              <a:r>
                <a:rPr lang="en-US" altLang="zh-CN" sz="1200" b="1">
                  <a:solidFill>
                    <a:schemeClr val="accent1"/>
                  </a:solidFill>
                </a:rPr>
                <a:t>(</a:t>
              </a:r>
              <a:r>
                <a:rPr lang="en-US" altLang="zh-CN" sz="1200" b="1" err="1">
                  <a:solidFill>
                    <a:schemeClr val="accent1"/>
                  </a:solidFill>
                </a:rPr>
                <a:t>cIAI</a:t>
              </a:r>
              <a:r>
                <a:rPr lang="en-US" altLang="zh-CN" sz="1200" b="1">
                  <a:solidFill>
                    <a:schemeClr val="accent1"/>
                  </a:solidFill>
                </a:rPr>
                <a:t>)</a:t>
              </a:r>
              <a:r>
                <a:rPr lang="zh-CN" altLang="en-US" sz="1200" b="1">
                  <a:solidFill>
                    <a:schemeClr val="accent1"/>
                  </a:solidFill>
                </a:rPr>
                <a:t>通常涉及多种细菌</a:t>
              </a:r>
              <a:r>
                <a:rPr lang="en-US" altLang="zh-CN" sz="1200" b="1" baseline="30000">
                  <a:solidFill>
                    <a:schemeClr val="accent1"/>
                  </a:solidFill>
                </a:rPr>
                <a:t>4</a:t>
              </a:r>
              <a:r>
                <a:rPr lang="zh-CN" altLang="en-US" sz="1200" b="1">
                  <a:solidFill>
                    <a:schemeClr val="accent1"/>
                  </a:solidFill>
                </a:rPr>
                <a:t>，是</a:t>
              </a:r>
              <a:r>
                <a:rPr lang="en-US" altLang="zh-CN" sz="1200" b="1">
                  <a:solidFill>
                    <a:schemeClr val="accent1"/>
                  </a:solidFill>
                </a:rPr>
                <a:t>ICU</a:t>
              </a:r>
              <a:r>
                <a:rPr lang="zh-CN" altLang="en-US" sz="1200" b="1">
                  <a:solidFill>
                    <a:schemeClr val="accent1"/>
                  </a:solidFill>
                </a:rPr>
                <a:t>的关键挑战之一 </a:t>
              </a:r>
              <a:endParaRPr lang="zh-CN" altLang="en-US" sz="1200" b="1">
                <a:solidFill>
                  <a:schemeClr val="accent1"/>
                </a:solidFill>
              </a:endParaRPr>
            </a:p>
            <a:p>
              <a:pPr algn="just">
                <a:lnSpc>
                  <a:spcPct val="120000"/>
                </a:lnSpc>
                <a:spcAft>
                  <a:spcPts val="600"/>
                </a:spcAft>
              </a:pPr>
              <a:r>
                <a:rPr lang="zh-CN" altLang="en-US" sz="1200">
                  <a:solidFill>
                    <a:schemeClr val="tx1"/>
                  </a:solidFill>
                </a:rPr>
                <a:t>在</a:t>
              </a:r>
              <a:r>
                <a:rPr lang="en-US" altLang="zh-CN" sz="1200">
                  <a:solidFill>
                    <a:schemeClr val="tx1"/>
                  </a:solidFill>
                </a:rPr>
                <a:t>HA-</a:t>
              </a:r>
              <a:r>
                <a:rPr lang="en-US" altLang="zh-CN" sz="1200" err="1">
                  <a:solidFill>
                    <a:schemeClr val="tx1"/>
                  </a:solidFill>
                </a:rPr>
                <a:t>cIAI</a:t>
              </a:r>
              <a:r>
                <a:rPr lang="en-US" altLang="zh-CN" sz="1200">
                  <a:solidFill>
                    <a:schemeClr val="tx1"/>
                  </a:solidFill>
                </a:rPr>
                <a:t> </a:t>
              </a:r>
              <a:r>
                <a:rPr lang="zh-CN" altLang="en-US" sz="1200">
                  <a:solidFill>
                    <a:schemeClr val="tx1"/>
                  </a:solidFill>
                </a:rPr>
                <a:t>患者病例分离的菌株中，</a:t>
              </a:r>
              <a:r>
                <a:rPr lang="en-US" altLang="zh-CN" sz="1200">
                  <a:solidFill>
                    <a:schemeClr val="tx1"/>
                  </a:solidFill>
                </a:rPr>
                <a:t>74.6%</a:t>
              </a:r>
              <a:r>
                <a:rPr lang="zh-CN" altLang="en-US" sz="1200">
                  <a:solidFill>
                    <a:schemeClr val="tx1"/>
                  </a:solidFill>
                </a:rPr>
                <a:t>为革兰阴性菌。其中，</a:t>
              </a:r>
              <a:r>
                <a:rPr lang="en-US" altLang="zh-CN" sz="1200">
                  <a:solidFill>
                    <a:schemeClr val="tx1"/>
                  </a:solidFill>
                </a:rPr>
                <a:t>31.7%</a:t>
              </a:r>
              <a:r>
                <a:rPr lang="zh-CN" altLang="en-US" sz="1200">
                  <a:solidFill>
                    <a:schemeClr val="tx1"/>
                  </a:solidFill>
                </a:rPr>
                <a:t>的革兰阴性菌为碳青霉烯类耐药菌</a:t>
              </a:r>
              <a:r>
                <a:rPr lang="en-US" altLang="zh-CN" sz="1200" baseline="30000">
                  <a:solidFill>
                    <a:schemeClr val="tx1"/>
                  </a:solidFill>
                </a:rPr>
                <a:t>4</a:t>
              </a:r>
              <a:endParaRPr lang="en-US" altLang="zh-CN" sz="1200" baseline="30000">
                <a:solidFill>
                  <a:schemeClr val="tx1"/>
                </a:solidFill>
              </a:endParaRPr>
            </a:p>
          </p:txBody>
        </p:sp>
        <p:sp>
          <p:nvSpPr>
            <p:cNvPr id="96" name="任意多边形: 形状 95"/>
            <p:cNvSpPr/>
            <p:nvPr/>
          </p:nvSpPr>
          <p:spPr>
            <a:xfrm>
              <a:off x="584548" y="122273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97" name="任意多边形: 形状 96"/>
            <p:cNvSpPr/>
            <p:nvPr/>
          </p:nvSpPr>
          <p:spPr>
            <a:xfrm>
              <a:off x="584548" y="174030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100" name="矩形: 圆角 99"/>
          <p:cNvSpPr/>
          <p:nvPr/>
        </p:nvSpPr>
        <p:spPr>
          <a:xfrm>
            <a:off x="6366553" y="2464908"/>
            <a:ext cx="5184002"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HA-</a:t>
            </a:r>
            <a:r>
              <a:rPr lang="en-US" altLang="zh-CN" sz="1400" b="1" err="1">
                <a:solidFill>
                  <a:schemeClr val="tx1"/>
                </a:solidFill>
              </a:rPr>
              <a:t>cIAI</a:t>
            </a:r>
            <a:r>
              <a:rPr lang="en-US" altLang="zh-CN" sz="1400" b="1">
                <a:solidFill>
                  <a:schemeClr val="tx1"/>
                </a:solidFill>
              </a:rPr>
              <a:t> </a:t>
            </a:r>
            <a:r>
              <a:rPr lang="zh-CN" altLang="en-US" sz="1400" b="1">
                <a:solidFill>
                  <a:schemeClr val="tx1"/>
                </a:solidFill>
              </a:rPr>
              <a:t>患者分离的碳青霉烯类耐药菌</a:t>
            </a:r>
            <a:r>
              <a:rPr lang="en-US" altLang="zh-CN" sz="1400" b="1" baseline="30000">
                <a:solidFill>
                  <a:schemeClr val="tx1"/>
                </a:solidFill>
              </a:rPr>
              <a:t>4</a:t>
            </a:r>
            <a:endParaRPr lang="en-US" altLang="zh-CN" sz="1400" b="1" baseline="30000">
              <a:solidFill>
                <a:schemeClr val="tx1"/>
              </a:solidFill>
            </a:endParaRPr>
          </a:p>
        </p:txBody>
      </p:sp>
      <p:graphicFrame>
        <p:nvGraphicFramePr>
          <p:cNvPr id="28" name="图表 27"/>
          <p:cNvGraphicFramePr/>
          <p:nvPr/>
        </p:nvGraphicFramePr>
        <p:xfrm>
          <a:off x="6225139" y="2877807"/>
          <a:ext cx="5460448" cy="3143439"/>
        </p:xfrm>
        <a:graphic>
          <a:graphicData uri="http://schemas.openxmlformats.org/drawingml/2006/chart">
            <c:chart xmlns:c="http://schemas.openxmlformats.org/drawingml/2006/chart" xmlns:r="http://schemas.openxmlformats.org/officeDocument/2006/relationships" r:id="rId1"/>
          </a:graphicData>
        </a:graphic>
      </p:graphicFrame>
      <p:grpSp>
        <p:nvGrpSpPr>
          <p:cNvPr id="111" name="组合 110"/>
          <p:cNvGrpSpPr/>
          <p:nvPr/>
        </p:nvGrpSpPr>
        <p:grpSpPr>
          <a:xfrm>
            <a:off x="557345" y="2464908"/>
            <a:ext cx="3108244" cy="3556339"/>
            <a:chOff x="538469" y="2464908"/>
            <a:chExt cx="3108244" cy="3556339"/>
          </a:xfrm>
        </p:grpSpPr>
        <p:graphicFrame>
          <p:nvGraphicFramePr>
            <p:cNvPr id="110" name="图表 109"/>
            <p:cNvGraphicFramePr/>
            <p:nvPr/>
          </p:nvGraphicFramePr>
          <p:xfrm>
            <a:off x="538469" y="2877808"/>
            <a:ext cx="3108244" cy="3143439"/>
          </p:xfrm>
          <a:graphic>
            <a:graphicData uri="http://schemas.openxmlformats.org/drawingml/2006/chart">
              <c:chart xmlns:c="http://schemas.openxmlformats.org/drawingml/2006/chart" xmlns:r="http://schemas.openxmlformats.org/officeDocument/2006/relationships" r:id="rId2"/>
            </a:graphicData>
          </a:graphic>
        </p:graphicFrame>
        <p:sp>
          <p:nvSpPr>
            <p:cNvPr id="107" name="矩形: 圆角 106"/>
            <p:cNvSpPr/>
            <p:nvPr/>
          </p:nvSpPr>
          <p:spPr>
            <a:xfrm>
              <a:off x="538469" y="2464908"/>
              <a:ext cx="3108244"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VAP </a:t>
              </a:r>
              <a:r>
                <a:rPr lang="zh-CN" altLang="en-US" sz="1400" b="1">
                  <a:solidFill>
                    <a:schemeClr val="tx1"/>
                  </a:solidFill>
                </a:rPr>
                <a:t>患者分离的</a:t>
              </a:r>
              <a:r>
                <a:rPr lang="en-US" altLang="zh-CN" sz="1400" b="1">
                  <a:solidFill>
                    <a:schemeClr val="tx1"/>
                  </a:solidFill>
                </a:rPr>
                <a:t>CRGNB</a:t>
              </a:r>
              <a:r>
                <a:rPr lang="en-US" altLang="zh-CN" sz="1400" b="1" baseline="30000">
                  <a:solidFill>
                    <a:schemeClr val="tx1"/>
                  </a:solidFill>
                </a:rPr>
                <a:t>2</a:t>
              </a:r>
              <a:endParaRPr lang="en-US" altLang="zh-CN" sz="1400" b="1" baseline="30000">
                <a:solidFill>
                  <a:schemeClr val="tx1"/>
                </a:solidFill>
              </a:endParaRPr>
            </a:p>
          </p:txBody>
        </p:sp>
      </p:grpSp>
      <p:grpSp>
        <p:nvGrpSpPr>
          <p:cNvPr id="112" name="组合 111"/>
          <p:cNvGrpSpPr/>
          <p:nvPr/>
        </p:nvGrpSpPr>
        <p:grpSpPr>
          <a:xfrm>
            <a:off x="3749548" y="2464908"/>
            <a:ext cx="2160000" cy="3556338"/>
            <a:chOff x="3730672" y="2464908"/>
            <a:chExt cx="2160000" cy="3556338"/>
          </a:xfrm>
        </p:grpSpPr>
        <p:sp>
          <p:nvSpPr>
            <p:cNvPr id="108" name="矩形: 圆角 107"/>
            <p:cNvSpPr/>
            <p:nvPr/>
          </p:nvSpPr>
          <p:spPr>
            <a:xfrm>
              <a:off x="3730672" y="2464908"/>
              <a:ext cx="2160000"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VAP</a:t>
              </a:r>
              <a:r>
                <a:rPr lang="zh-CN" altLang="en-US" sz="1400" b="1">
                  <a:solidFill>
                    <a:schemeClr val="tx1"/>
                  </a:solidFill>
                </a:rPr>
                <a:t>患者分离的</a:t>
              </a:r>
              <a:r>
                <a:rPr lang="en-US" altLang="zh-CN" sz="1400" b="1">
                  <a:solidFill>
                    <a:schemeClr val="tx1"/>
                  </a:solidFill>
                </a:rPr>
                <a:t>SMA</a:t>
              </a:r>
              <a:r>
                <a:rPr lang="en-US" altLang="zh-CN" sz="1400" b="1" baseline="30000">
                  <a:solidFill>
                    <a:schemeClr val="tx1"/>
                  </a:solidFill>
                </a:rPr>
                <a:t>2</a:t>
              </a:r>
              <a:endParaRPr lang="en-US" altLang="zh-CN" sz="1400" b="1" baseline="30000">
                <a:solidFill>
                  <a:schemeClr val="tx1"/>
                </a:solidFill>
              </a:endParaRPr>
            </a:p>
          </p:txBody>
        </p:sp>
        <p:graphicFrame>
          <p:nvGraphicFramePr>
            <p:cNvPr id="67" name="图表 66"/>
            <p:cNvGraphicFramePr/>
            <p:nvPr/>
          </p:nvGraphicFramePr>
          <p:xfrm>
            <a:off x="4068786" y="2877807"/>
            <a:ext cx="1483772" cy="3143439"/>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119" name="组合 118"/>
          <p:cNvGrpSpPr/>
          <p:nvPr/>
        </p:nvGrpSpPr>
        <p:grpSpPr>
          <a:xfrm>
            <a:off x="6877137" y="3876675"/>
            <a:ext cx="2614525" cy="2052637"/>
            <a:chOff x="6877137" y="3876675"/>
            <a:chExt cx="2614525" cy="2052637"/>
          </a:xfrm>
        </p:grpSpPr>
        <p:sp>
          <p:nvSpPr>
            <p:cNvPr id="116" name="矩形 115"/>
            <p:cNvSpPr/>
            <p:nvPr/>
          </p:nvSpPr>
          <p:spPr>
            <a:xfrm>
              <a:off x="6877137" y="3876675"/>
              <a:ext cx="2614525"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8721738"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CRE</a:t>
              </a:r>
              <a:endParaRPr lang="zh-CN" altLang="en-US" sz="1200">
                <a:latin typeface="+mn-ea"/>
              </a:endParaRPr>
            </a:p>
          </p:txBody>
        </p:sp>
      </p:grpSp>
      <p:grpSp>
        <p:nvGrpSpPr>
          <p:cNvPr id="118" name="组合 117"/>
          <p:cNvGrpSpPr/>
          <p:nvPr/>
        </p:nvGrpSpPr>
        <p:grpSpPr>
          <a:xfrm>
            <a:off x="10848020" y="3876675"/>
            <a:ext cx="769924" cy="2052637"/>
            <a:chOff x="10848020" y="3876675"/>
            <a:chExt cx="769924" cy="2052637"/>
          </a:xfrm>
        </p:grpSpPr>
        <p:sp>
          <p:nvSpPr>
            <p:cNvPr id="117" name="矩形 116"/>
            <p:cNvSpPr/>
            <p:nvPr/>
          </p:nvSpPr>
          <p:spPr>
            <a:xfrm>
              <a:off x="10859610" y="3876675"/>
              <a:ext cx="746744"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10848020"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SMA</a:t>
              </a:r>
              <a:endParaRPr lang="zh-CN" altLang="en-US" sz="1200">
                <a:latin typeface="+mn-ea"/>
              </a:endParaRPr>
            </a:p>
          </p:txBody>
        </p:sp>
      </p:grpSp>
      <p:grpSp>
        <p:nvGrpSpPr>
          <p:cNvPr id="120" name="组合 119"/>
          <p:cNvGrpSpPr/>
          <p:nvPr/>
        </p:nvGrpSpPr>
        <p:grpSpPr>
          <a:xfrm>
            <a:off x="2314575" y="3876675"/>
            <a:ext cx="1351014" cy="2052637"/>
            <a:chOff x="2314575" y="3876675"/>
            <a:chExt cx="1351014" cy="2052637"/>
          </a:xfrm>
        </p:grpSpPr>
        <p:sp>
          <p:nvSpPr>
            <p:cNvPr id="115" name="矩形 114"/>
            <p:cNvSpPr/>
            <p:nvPr/>
          </p:nvSpPr>
          <p:spPr>
            <a:xfrm>
              <a:off x="2314575" y="3876675"/>
              <a:ext cx="1351014"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文本框 113"/>
            <p:cNvSpPr txBox="1"/>
            <p:nvPr/>
          </p:nvSpPr>
          <p:spPr>
            <a:xfrm>
              <a:off x="2895665"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CRE</a:t>
              </a:r>
              <a:endParaRPr lang="zh-CN" altLang="en-US" sz="1200">
                <a:latin typeface="+mn-ea"/>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title"/>
          </p:nvPr>
        </p:nvSpPr>
        <p:spPr/>
        <p:txBody>
          <a:bodyPr/>
          <a:lstStyle/>
          <a:p>
            <a:r>
              <a:rPr lang="en-US" altLang="zh-CN"/>
              <a:t>CRE</a:t>
            </a:r>
            <a:r>
              <a:rPr lang="zh-CN" altLang="en-US"/>
              <a:t>及</a:t>
            </a:r>
            <a:r>
              <a:rPr lang="en-US" altLang="zh-CN"/>
              <a:t>SMA</a:t>
            </a:r>
            <a:r>
              <a:rPr lang="zh-CN" altLang="en-US"/>
              <a:t>感染与患者死亡率增加有关，对</a:t>
            </a:r>
            <a:r>
              <a:rPr lang="en-US" altLang="zh-CN"/>
              <a:t>ICU</a:t>
            </a:r>
            <a:r>
              <a:rPr lang="zh-CN" altLang="en-US"/>
              <a:t>患者生命健康造成严重威胁</a:t>
            </a:r>
            <a:endParaRPr lang="zh-CN" altLang="en-US"/>
          </a:p>
        </p:txBody>
      </p:sp>
      <p:sp>
        <p:nvSpPr>
          <p:cNvPr id="20" name="文本占位符 19"/>
          <p:cNvSpPr>
            <a:spLocks noGrp="1"/>
          </p:cNvSpPr>
          <p:nvPr>
            <p:ph type="body" sz="quarter" idx="10"/>
          </p:nvPr>
        </p:nvSpPr>
        <p:spPr/>
        <p:txBody>
          <a:bodyPr/>
          <a:lstStyle/>
          <a:p>
            <a:r>
              <a:rPr lang="en-US" altLang="zh-CN"/>
              <a:t>Fernandez Del Peloso P, et al. Crit Care Sci. 2025;37:e20250237.</a:t>
            </a:r>
            <a:endParaRPr lang="en-US" altLang="zh-CN"/>
          </a:p>
          <a:p>
            <a:r>
              <a:rPr lang="en-US" altLang="zh-CN"/>
              <a:t>Ibn Saied W, et al. J Infect. 2020;80(3):279-285. </a:t>
            </a:r>
            <a:endParaRPr lang="en-US" altLang="zh-CN"/>
          </a:p>
          <a:p>
            <a:r>
              <a:rPr lang="en-US" altLang="zh-CN"/>
              <a:t>Dimopoulos G, et al. Diagnostics (Basel). 2023;13(6):1106. </a:t>
            </a:r>
            <a:endParaRPr lang="en-US" altLang="zh-CN"/>
          </a:p>
        </p:txBody>
      </p:sp>
      <p:sp>
        <p:nvSpPr>
          <p:cNvPr id="113" name="文本框 112"/>
          <p:cNvSpPr txBox="1"/>
          <p:nvPr/>
        </p:nvSpPr>
        <p:spPr>
          <a:xfrm>
            <a:off x="479425" y="6139541"/>
            <a:ext cx="11233150" cy="246221"/>
          </a:xfrm>
          <a:prstGeom prst="rect">
            <a:avLst/>
          </a:prstGeom>
          <a:noFill/>
        </p:spPr>
        <p:txBody>
          <a:bodyPr wrap="square" lIns="0" rIns="0" rtlCol="0" anchor="b">
            <a:spAutoFit/>
          </a:bodyPr>
          <a:lstStyle/>
          <a:p>
            <a:r>
              <a:rPr lang="en-US" altLang="zh-CN" sz="1000"/>
              <a:t>CRE</a:t>
            </a:r>
            <a:r>
              <a:rPr lang="zh-CN" altLang="en-US" sz="1000"/>
              <a:t>：耐碳青霉烯类肠杆菌；</a:t>
            </a:r>
            <a:r>
              <a:rPr lang="en-US" altLang="zh-CN" sz="1000"/>
              <a:t>CSE</a:t>
            </a:r>
            <a:r>
              <a:rPr lang="zh-CN" altLang="en-US" sz="1000"/>
              <a:t>：碳青霉烯类敏感肠杆菌；</a:t>
            </a:r>
            <a:r>
              <a:rPr lang="en-US" altLang="zh-CN" sz="1000"/>
              <a:t>SMA </a:t>
            </a:r>
            <a:r>
              <a:rPr lang="zh-CN" altLang="en-US" sz="1000"/>
              <a:t>：嗜麦芽窄食单胞菌；</a:t>
            </a:r>
            <a:r>
              <a:rPr lang="en-US" altLang="zh-CN" sz="1000"/>
              <a:t>VAP</a:t>
            </a:r>
            <a:r>
              <a:rPr lang="zh-CN" altLang="en-US" sz="1000"/>
              <a:t>：呼吸机相关性肺炎</a:t>
            </a:r>
            <a:endParaRPr lang="zh-CN" altLang="en-US" sz="1000"/>
          </a:p>
        </p:txBody>
      </p:sp>
      <p:sp>
        <p:nvSpPr>
          <p:cNvPr id="114" name="文本框 113"/>
          <p:cNvSpPr txBox="1"/>
          <p:nvPr/>
        </p:nvSpPr>
        <p:spPr>
          <a:xfrm>
            <a:off x="479425" y="5953142"/>
            <a:ext cx="11233150" cy="246221"/>
          </a:xfrm>
          <a:prstGeom prst="rect">
            <a:avLst/>
          </a:prstGeom>
          <a:noFill/>
        </p:spPr>
        <p:txBody>
          <a:bodyPr wrap="square" lIns="0" rIns="0" rtlCol="0" anchor="b">
            <a:spAutoFit/>
          </a:bodyPr>
          <a:lstStyle/>
          <a:p>
            <a:r>
              <a:rPr lang="zh-CN" altLang="en-US" sz="1000"/>
              <a:t>巴西的一项回顾性、多中心队列研究，共计纳入 </a:t>
            </a:r>
            <a:r>
              <a:rPr lang="en-US" altLang="zh-CN" sz="1000"/>
              <a:t>500 </a:t>
            </a:r>
            <a:r>
              <a:rPr lang="zh-CN" altLang="en-US" sz="1000"/>
              <a:t>例成人</a:t>
            </a:r>
            <a:r>
              <a:rPr lang="en-US" altLang="zh-CN" sz="1000"/>
              <a:t>ICU</a:t>
            </a:r>
            <a:r>
              <a:rPr lang="zh-CN" altLang="en-US" sz="1000"/>
              <a:t>患者，包括 </a:t>
            </a:r>
            <a:r>
              <a:rPr lang="en-US" altLang="zh-CN" sz="1000"/>
              <a:t>250 </a:t>
            </a:r>
            <a:r>
              <a:rPr lang="zh-CN" altLang="en-US" sz="1000"/>
              <a:t>例</a:t>
            </a:r>
            <a:r>
              <a:rPr lang="en-US" altLang="zh-CN" sz="1000"/>
              <a:t>CRE</a:t>
            </a:r>
            <a:r>
              <a:rPr lang="zh-CN" altLang="en-US" sz="1000"/>
              <a:t>感染患者和 </a:t>
            </a:r>
            <a:r>
              <a:rPr lang="en-US" altLang="zh-CN" sz="1000"/>
              <a:t>250 </a:t>
            </a:r>
            <a:r>
              <a:rPr lang="zh-CN" altLang="en-US" sz="1000"/>
              <a:t>例</a:t>
            </a:r>
            <a:r>
              <a:rPr lang="en-US" altLang="zh-CN" sz="1000"/>
              <a:t>CSE</a:t>
            </a:r>
            <a:r>
              <a:rPr lang="zh-CN" altLang="en-US" sz="1000"/>
              <a:t>感染患者</a:t>
            </a:r>
            <a:endParaRPr lang="zh-CN" altLang="en-US" sz="1000"/>
          </a:p>
        </p:txBody>
      </p:sp>
      <p:sp>
        <p:nvSpPr>
          <p:cNvPr id="116" name="矩形 115"/>
          <p:cNvSpPr/>
          <p:nvPr/>
        </p:nvSpPr>
        <p:spPr>
          <a:xfrm>
            <a:off x="479425" y="1091628"/>
            <a:ext cx="5508042" cy="482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p:cNvSpPr/>
          <p:nvPr/>
        </p:nvSpPr>
        <p:spPr>
          <a:xfrm>
            <a:off x="479425" y="1091629"/>
            <a:ext cx="5508042" cy="648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effectLst>
                  <a:outerShdw blurRad="38100" dist="38100" dir="2700000" algn="tl">
                    <a:srgbClr val="000000">
                      <a:alpha val="43137"/>
                    </a:srgbClr>
                  </a:outerShdw>
                </a:effectLst>
              </a:rPr>
              <a:t>与碳青霉烯类敏感肠杆菌感染患者相比</a:t>
            </a:r>
            <a:endParaRPr lang="zh-CN" altLang="en-US" b="1">
              <a:effectLst>
                <a:outerShdw blurRad="38100" dist="38100" dir="2700000" algn="tl">
                  <a:srgbClr val="000000">
                    <a:alpha val="43137"/>
                  </a:srgbClr>
                </a:outerShdw>
              </a:effectLst>
            </a:endParaRPr>
          </a:p>
          <a:p>
            <a:pPr algn="ctr"/>
            <a:r>
              <a:rPr lang="en-US" altLang="zh-CN" b="1">
                <a:effectLst>
                  <a:outerShdw blurRad="38100" dist="38100" dir="2700000" algn="tl">
                    <a:srgbClr val="000000">
                      <a:alpha val="43137"/>
                    </a:srgbClr>
                  </a:outerShdw>
                </a:effectLst>
              </a:rPr>
              <a:t>CRE</a:t>
            </a:r>
            <a:r>
              <a:rPr lang="zh-CN" altLang="en-US" b="1">
                <a:effectLst>
                  <a:outerShdw blurRad="38100" dist="38100" dir="2700000" algn="tl">
                    <a:srgbClr val="000000">
                      <a:alpha val="43137"/>
                    </a:srgbClr>
                  </a:outerShdw>
                </a:effectLst>
              </a:rPr>
              <a:t>感染患者死亡率显著增加</a:t>
            </a:r>
            <a:r>
              <a:rPr lang="en-US" altLang="zh-CN" b="1" baseline="30000">
                <a:effectLst>
                  <a:outerShdw blurRad="38100" dist="38100" dir="2700000" algn="tl">
                    <a:srgbClr val="000000">
                      <a:alpha val="43137"/>
                    </a:srgbClr>
                  </a:outerShdw>
                </a:effectLst>
              </a:rPr>
              <a:t>1</a:t>
            </a:r>
            <a:endParaRPr lang="en-US" altLang="zh-CN" b="1" baseline="30000">
              <a:effectLst>
                <a:outerShdw blurRad="38100" dist="38100" dir="2700000" algn="tl">
                  <a:srgbClr val="000000">
                    <a:alpha val="43137"/>
                  </a:srgbClr>
                </a:outerShdw>
              </a:effectLst>
            </a:endParaRPr>
          </a:p>
        </p:txBody>
      </p:sp>
      <p:grpSp>
        <p:nvGrpSpPr>
          <p:cNvPr id="119" name="组合 118"/>
          <p:cNvGrpSpPr/>
          <p:nvPr/>
        </p:nvGrpSpPr>
        <p:grpSpPr>
          <a:xfrm>
            <a:off x="5465652" y="1091629"/>
            <a:ext cx="521815" cy="648000"/>
            <a:chOff x="7281325" y="2029438"/>
            <a:chExt cx="521815" cy="430843"/>
          </a:xfrm>
        </p:grpSpPr>
        <p:sp>
          <p:nvSpPr>
            <p:cNvPr id="123" name="直角三角形 12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24" name="直角三角形 12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20" name="组合 119"/>
          <p:cNvGrpSpPr/>
          <p:nvPr/>
        </p:nvGrpSpPr>
        <p:grpSpPr>
          <a:xfrm flipH="1">
            <a:off x="479425" y="1091629"/>
            <a:ext cx="521815" cy="648000"/>
            <a:chOff x="9555833" y="2029438"/>
            <a:chExt cx="521815" cy="430843"/>
          </a:xfrm>
        </p:grpSpPr>
        <p:sp>
          <p:nvSpPr>
            <p:cNvPr id="121" name="直角三角形 12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22" name="直角三角形 12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sp>
        <p:nvSpPr>
          <p:cNvPr id="126" name="矩形 125"/>
          <p:cNvSpPr/>
          <p:nvPr/>
        </p:nvSpPr>
        <p:spPr>
          <a:xfrm>
            <a:off x="6204533" y="1091628"/>
            <a:ext cx="5508042" cy="482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矩形 127"/>
          <p:cNvSpPr/>
          <p:nvPr/>
        </p:nvSpPr>
        <p:spPr>
          <a:xfrm>
            <a:off x="6204533" y="1091629"/>
            <a:ext cx="5508042" cy="648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effectLst>
                  <a:outerShdw blurRad="38100" dist="38100" dir="2700000" algn="tl">
                    <a:srgbClr val="000000">
                      <a:alpha val="43137"/>
                    </a:srgbClr>
                  </a:outerShdw>
                </a:effectLst>
              </a:rPr>
              <a:t>与感染其他菌株的</a:t>
            </a:r>
            <a:r>
              <a:rPr lang="en-US" altLang="zh-CN" b="1">
                <a:effectLst>
                  <a:outerShdw blurRad="38100" dist="38100" dir="2700000" algn="tl">
                    <a:srgbClr val="000000">
                      <a:alpha val="43137"/>
                    </a:srgbClr>
                  </a:outerShdw>
                </a:effectLst>
              </a:rPr>
              <a:t>ICU VAP</a:t>
            </a:r>
            <a:r>
              <a:rPr lang="zh-CN" altLang="en-US" b="1">
                <a:effectLst>
                  <a:outerShdw blurRad="38100" dist="38100" dir="2700000" algn="tl">
                    <a:srgbClr val="000000">
                      <a:alpha val="43137"/>
                    </a:srgbClr>
                  </a:outerShdw>
                </a:effectLst>
              </a:rPr>
              <a:t>患者相比</a:t>
            </a:r>
            <a:endParaRPr lang="zh-CN" altLang="en-US" b="1">
              <a:effectLst>
                <a:outerShdw blurRad="38100" dist="38100" dir="2700000" algn="tl">
                  <a:srgbClr val="000000">
                    <a:alpha val="43137"/>
                  </a:srgbClr>
                </a:outerShdw>
              </a:effectLst>
            </a:endParaRPr>
          </a:p>
          <a:p>
            <a:pPr algn="ctr"/>
            <a:r>
              <a:rPr lang="en-US" altLang="zh-CN" b="1">
                <a:effectLst>
                  <a:outerShdw blurRad="38100" dist="38100" dir="2700000" algn="tl">
                    <a:srgbClr val="000000">
                      <a:alpha val="43137"/>
                    </a:srgbClr>
                  </a:outerShdw>
                </a:effectLst>
              </a:rPr>
              <a:t>SMA</a:t>
            </a:r>
            <a:r>
              <a:rPr lang="zh-CN" altLang="en-US" b="1">
                <a:effectLst>
                  <a:outerShdw blurRad="38100" dist="38100" dir="2700000" algn="tl">
                    <a:srgbClr val="000000">
                      <a:alpha val="43137"/>
                    </a:srgbClr>
                  </a:outerShdw>
                </a:effectLst>
              </a:rPr>
              <a:t>感染患者住院死亡率显著增加</a:t>
            </a:r>
            <a:endParaRPr lang="zh-CN" altLang="en-US" b="1">
              <a:effectLst>
                <a:outerShdw blurRad="38100" dist="38100" dir="2700000" algn="tl">
                  <a:srgbClr val="000000">
                    <a:alpha val="43137"/>
                  </a:srgbClr>
                </a:outerShdw>
              </a:effectLst>
            </a:endParaRPr>
          </a:p>
        </p:txBody>
      </p:sp>
      <p:grpSp>
        <p:nvGrpSpPr>
          <p:cNvPr id="129" name="组合 128"/>
          <p:cNvGrpSpPr/>
          <p:nvPr/>
        </p:nvGrpSpPr>
        <p:grpSpPr>
          <a:xfrm>
            <a:off x="11190760" y="1091629"/>
            <a:ext cx="521815" cy="648000"/>
            <a:chOff x="7281325" y="2029438"/>
            <a:chExt cx="521815" cy="430843"/>
          </a:xfrm>
        </p:grpSpPr>
        <p:sp>
          <p:nvSpPr>
            <p:cNvPr id="133" name="直角三角形 13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4" name="直角三角形 13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30" name="组合 129"/>
          <p:cNvGrpSpPr/>
          <p:nvPr/>
        </p:nvGrpSpPr>
        <p:grpSpPr>
          <a:xfrm flipH="1">
            <a:off x="6204533" y="1091629"/>
            <a:ext cx="521815" cy="648000"/>
            <a:chOff x="9555833" y="2029438"/>
            <a:chExt cx="521815" cy="430843"/>
          </a:xfrm>
        </p:grpSpPr>
        <p:sp>
          <p:nvSpPr>
            <p:cNvPr id="131" name="直角三角形 13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2" name="直角三角形 13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41" name="组合 140"/>
          <p:cNvGrpSpPr/>
          <p:nvPr/>
        </p:nvGrpSpPr>
        <p:grpSpPr>
          <a:xfrm>
            <a:off x="550090" y="1846966"/>
            <a:ext cx="5366712" cy="4038841"/>
            <a:chOff x="550090" y="1846966"/>
            <a:chExt cx="5366712" cy="4038841"/>
          </a:xfrm>
        </p:grpSpPr>
        <p:graphicFrame>
          <p:nvGraphicFramePr>
            <p:cNvPr id="136" name="图表 135"/>
            <p:cNvGraphicFramePr/>
            <p:nvPr/>
          </p:nvGraphicFramePr>
          <p:xfrm>
            <a:off x="550090" y="1846966"/>
            <a:ext cx="5366712" cy="4038841"/>
          </p:xfrm>
          <a:graphic>
            <a:graphicData uri="http://schemas.openxmlformats.org/drawingml/2006/chart">
              <c:chart xmlns:c="http://schemas.openxmlformats.org/drawingml/2006/chart" xmlns:r="http://schemas.openxmlformats.org/officeDocument/2006/relationships" r:id="rId1"/>
            </a:graphicData>
          </a:graphic>
        </p:graphicFrame>
        <p:sp>
          <p:nvSpPr>
            <p:cNvPr id="137" name="文本框 136"/>
            <p:cNvSpPr txBox="1"/>
            <p:nvPr/>
          </p:nvSpPr>
          <p:spPr>
            <a:xfrm>
              <a:off x="1336791" y="2737611"/>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38" name="文本框 137"/>
            <p:cNvSpPr txBox="1"/>
            <p:nvPr/>
          </p:nvSpPr>
          <p:spPr>
            <a:xfrm>
              <a:off x="2529130" y="2258373"/>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39" name="文本框 138"/>
            <p:cNvSpPr txBox="1"/>
            <p:nvPr/>
          </p:nvSpPr>
          <p:spPr>
            <a:xfrm>
              <a:off x="3721469" y="3298195"/>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40" name="文本框 139"/>
            <p:cNvSpPr txBox="1"/>
            <p:nvPr/>
          </p:nvSpPr>
          <p:spPr>
            <a:xfrm>
              <a:off x="4913807" y="2737611"/>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grpSp>
      <p:sp>
        <p:nvSpPr>
          <p:cNvPr id="142" name="矩形: 圆角 141"/>
          <p:cNvSpPr/>
          <p:nvPr/>
        </p:nvSpPr>
        <p:spPr>
          <a:xfrm>
            <a:off x="6422322" y="5286898"/>
            <a:ext cx="2485934" cy="432000"/>
          </a:xfrm>
          <a:prstGeom prst="roundRect">
            <a:avLst>
              <a:gd name="adj" fmla="val 50000"/>
            </a:avLst>
          </a:prstGeom>
          <a:solidFill>
            <a:schemeClr val="accent2">
              <a:lumMod val="50000"/>
              <a:lumOff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tx1"/>
                </a:solidFill>
              </a:rPr>
              <a:t>感染</a:t>
            </a:r>
            <a:r>
              <a:rPr lang="en-US" altLang="zh-CN" sz="1200" b="1">
                <a:solidFill>
                  <a:schemeClr val="tx1"/>
                </a:solidFill>
              </a:rPr>
              <a:t>SMA</a:t>
            </a:r>
            <a:r>
              <a:rPr lang="zh-CN" altLang="en-US" sz="1200" b="1">
                <a:solidFill>
                  <a:schemeClr val="tx1"/>
                </a:solidFill>
              </a:rPr>
              <a:t>的 </a:t>
            </a:r>
            <a:r>
              <a:rPr lang="en-US" altLang="zh-CN" sz="1200" b="1">
                <a:solidFill>
                  <a:schemeClr val="tx1"/>
                </a:solidFill>
              </a:rPr>
              <a:t>ICU VAP</a:t>
            </a:r>
            <a:r>
              <a:rPr lang="zh-CN" altLang="en-US" sz="1200" b="1">
                <a:solidFill>
                  <a:schemeClr val="tx1"/>
                </a:solidFill>
              </a:rPr>
              <a:t>患者</a:t>
            </a:r>
            <a:endParaRPr lang="zh-CN" altLang="en-US" sz="1200" b="1">
              <a:solidFill>
                <a:schemeClr val="tx1"/>
              </a:solidFill>
            </a:endParaRPr>
          </a:p>
          <a:p>
            <a:pPr algn="ctr"/>
            <a:r>
              <a:rPr lang="zh-CN" altLang="en-US" sz="1200" b="1">
                <a:solidFill>
                  <a:schemeClr val="tx1"/>
                </a:solidFill>
              </a:rPr>
              <a:t>住院死亡率</a:t>
            </a:r>
            <a:r>
              <a:rPr lang="en-US" altLang="zh-CN" sz="1200" b="1" baseline="30000">
                <a:solidFill>
                  <a:schemeClr val="tx1"/>
                </a:solidFill>
              </a:rPr>
              <a:t>3</a:t>
            </a:r>
            <a:endParaRPr lang="en-US" altLang="zh-CN" sz="1200" b="1" baseline="30000">
              <a:solidFill>
                <a:schemeClr val="tx1"/>
              </a:solidFill>
            </a:endParaRPr>
          </a:p>
        </p:txBody>
      </p:sp>
      <p:sp>
        <p:nvSpPr>
          <p:cNvPr id="143" name="矩形: 圆角 142"/>
          <p:cNvSpPr/>
          <p:nvPr/>
        </p:nvSpPr>
        <p:spPr>
          <a:xfrm>
            <a:off x="9008852" y="5286898"/>
            <a:ext cx="2485934"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tx1"/>
                </a:solidFill>
              </a:rPr>
              <a:t>感染</a:t>
            </a:r>
            <a:r>
              <a:rPr lang="zh-CN" altLang="en-US" sz="1200" b="1">
                <a:solidFill>
                  <a:schemeClr val="accent1"/>
                </a:solidFill>
              </a:rPr>
              <a:t>其他菌株</a:t>
            </a:r>
            <a:r>
              <a:rPr lang="zh-CN" altLang="en-US" sz="1200" b="1">
                <a:solidFill>
                  <a:schemeClr val="tx1"/>
                </a:solidFill>
              </a:rPr>
              <a:t>的</a:t>
            </a:r>
            <a:r>
              <a:rPr lang="en-US" altLang="zh-CN" sz="1200" b="1">
                <a:solidFill>
                  <a:schemeClr val="tx1"/>
                </a:solidFill>
              </a:rPr>
              <a:t>ICU VAP</a:t>
            </a:r>
            <a:r>
              <a:rPr lang="zh-CN" altLang="en-US" sz="1200" b="1">
                <a:solidFill>
                  <a:schemeClr val="tx1"/>
                </a:solidFill>
              </a:rPr>
              <a:t>患者</a:t>
            </a:r>
            <a:endParaRPr lang="zh-CN" altLang="en-US" sz="1200" b="1">
              <a:solidFill>
                <a:schemeClr val="tx1"/>
              </a:solidFill>
            </a:endParaRPr>
          </a:p>
          <a:p>
            <a:pPr algn="ctr"/>
            <a:r>
              <a:rPr lang="zh-CN" altLang="en-US" sz="1200" b="1">
                <a:solidFill>
                  <a:schemeClr val="tx1"/>
                </a:solidFill>
              </a:rPr>
              <a:t>住院死亡率</a:t>
            </a:r>
            <a:r>
              <a:rPr lang="en-US" altLang="zh-CN" sz="1200" b="1" baseline="30000">
                <a:solidFill>
                  <a:schemeClr val="tx1"/>
                </a:solidFill>
              </a:rPr>
              <a:t>3</a:t>
            </a:r>
            <a:endParaRPr lang="en-US" altLang="zh-CN" sz="1200" b="1" baseline="30000">
              <a:solidFill>
                <a:schemeClr val="tx1"/>
              </a:solidFill>
            </a:endParaRPr>
          </a:p>
        </p:txBody>
      </p:sp>
      <p:graphicFrame>
        <p:nvGraphicFramePr>
          <p:cNvPr id="154" name="图表 153"/>
          <p:cNvGraphicFramePr/>
          <p:nvPr/>
        </p:nvGraphicFramePr>
        <p:xfrm>
          <a:off x="6340851" y="2642578"/>
          <a:ext cx="2648876" cy="2517373"/>
        </p:xfrm>
        <a:graphic>
          <a:graphicData uri="http://schemas.openxmlformats.org/drawingml/2006/chart">
            <c:chart xmlns:c="http://schemas.openxmlformats.org/drawingml/2006/chart" xmlns:r="http://schemas.openxmlformats.org/officeDocument/2006/relationships" r:id="rId2"/>
          </a:graphicData>
        </a:graphic>
      </p:graphicFrame>
      <p:sp>
        <p:nvSpPr>
          <p:cNvPr id="146" name="文本框 145"/>
          <p:cNvSpPr txBox="1"/>
          <p:nvPr/>
        </p:nvSpPr>
        <p:spPr>
          <a:xfrm>
            <a:off x="7052290" y="3701209"/>
            <a:ext cx="1225998" cy="400110"/>
          </a:xfrm>
          <a:prstGeom prst="rect">
            <a:avLst/>
          </a:prstGeom>
          <a:noFill/>
        </p:spPr>
        <p:txBody>
          <a:bodyPr wrap="square" rtlCol="0" anchor="ctr">
            <a:spAutoFit/>
          </a:bodyPr>
          <a:lstStyle/>
          <a:p>
            <a:pPr algn="ctr"/>
            <a:r>
              <a:rPr lang="en-US" altLang="zh-CN" sz="2000" b="1"/>
              <a:t>52.90%</a:t>
            </a:r>
            <a:endParaRPr lang="en-US" altLang="zh-CN" sz="2000" b="1"/>
          </a:p>
        </p:txBody>
      </p:sp>
      <p:graphicFrame>
        <p:nvGraphicFramePr>
          <p:cNvPr id="153" name="图表 152"/>
          <p:cNvGraphicFramePr/>
          <p:nvPr/>
        </p:nvGraphicFramePr>
        <p:xfrm>
          <a:off x="8927380" y="2642579"/>
          <a:ext cx="2648876" cy="2517373"/>
        </p:xfrm>
        <a:graphic>
          <a:graphicData uri="http://schemas.openxmlformats.org/drawingml/2006/chart">
            <c:chart xmlns:c="http://schemas.openxmlformats.org/drawingml/2006/chart" xmlns:r="http://schemas.openxmlformats.org/officeDocument/2006/relationships" r:id="rId3"/>
          </a:graphicData>
        </a:graphic>
      </p:graphicFrame>
      <p:sp>
        <p:nvSpPr>
          <p:cNvPr id="149" name="文本框 148"/>
          <p:cNvSpPr txBox="1"/>
          <p:nvPr/>
        </p:nvSpPr>
        <p:spPr>
          <a:xfrm>
            <a:off x="9638820" y="3701209"/>
            <a:ext cx="1225998" cy="400110"/>
          </a:xfrm>
          <a:prstGeom prst="rect">
            <a:avLst/>
          </a:prstGeom>
          <a:noFill/>
        </p:spPr>
        <p:txBody>
          <a:bodyPr wrap="square" rtlCol="0" anchor="ctr">
            <a:spAutoFit/>
          </a:bodyPr>
          <a:lstStyle/>
          <a:p>
            <a:pPr algn="ctr"/>
            <a:r>
              <a:rPr lang="en-US" altLang="zh-CN" sz="2000" b="1"/>
              <a:t>42.60%</a:t>
            </a:r>
            <a:endParaRPr lang="en-US" altLang="zh-CN" sz="2000" b="1"/>
          </a:p>
        </p:txBody>
      </p:sp>
      <p:sp>
        <p:nvSpPr>
          <p:cNvPr id="150" name="矩形: 圆角 149"/>
          <p:cNvSpPr/>
          <p:nvPr/>
        </p:nvSpPr>
        <p:spPr>
          <a:xfrm>
            <a:off x="6366554" y="1928349"/>
            <a:ext cx="5184000"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多个研究在</a:t>
            </a:r>
            <a:r>
              <a:rPr lang="en-US" altLang="zh-CN" sz="1400">
                <a:solidFill>
                  <a:schemeClr val="tx1"/>
                </a:solidFill>
              </a:rPr>
              <a:t>SMA</a:t>
            </a:r>
            <a:r>
              <a:rPr lang="zh-CN" altLang="en-US" sz="1400">
                <a:solidFill>
                  <a:schemeClr val="tx1"/>
                </a:solidFill>
              </a:rPr>
              <a:t>感染的</a:t>
            </a:r>
            <a:r>
              <a:rPr lang="en-US" altLang="zh-CN" sz="1400">
                <a:solidFill>
                  <a:schemeClr val="tx1"/>
                </a:solidFill>
              </a:rPr>
              <a:t>ICU</a:t>
            </a:r>
            <a:r>
              <a:rPr lang="zh-CN" altLang="en-US" sz="1400">
                <a:solidFill>
                  <a:schemeClr val="tx1"/>
                </a:solidFill>
              </a:rPr>
              <a:t>患者中观察到</a:t>
            </a:r>
            <a:endParaRPr lang="en-US" altLang="zh-CN" sz="1400">
              <a:solidFill>
                <a:schemeClr val="tx1"/>
              </a:solidFill>
            </a:endParaRPr>
          </a:p>
          <a:p>
            <a:pPr algn="ctr"/>
            <a:r>
              <a:rPr lang="zh-CN" altLang="en-US" sz="1400" b="1">
                <a:solidFill>
                  <a:schemeClr val="accent1"/>
                </a:solidFill>
              </a:rPr>
              <a:t>较高全因死亡率（＞</a:t>
            </a:r>
            <a:r>
              <a:rPr lang="en-US" altLang="zh-CN" sz="1400" b="1">
                <a:solidFill>
                  <a:schemeClr val="accent1"/>
                </a:solidFill>
              </a:rPr>
              <a:t>50%</a:t>
            </a:r>
            <a:r>
              <a:rPr lang="zh-CN" altLang="en-US" sz="1400" b="1">
                <a:solidFill>
                  <a:schemeClr val="accent1"/>
                </a:solidFill>
              </a:rPr>
              <a:t>）</a:t>
            </a:r>
            <a:r>
              <a:rPr lang="en-US" altLang="zh-CN" sz="1400" baseline="30000">
                <a:solidFill>
                  <a:schemeClr val="tx1"/>
                </a:solidFill>
              </a:rPr>
              <a:t>2,3</a:t>
            </a:r>
            <a:endParaRPr lang="en-US" altLang="zh-CN" sz="1400" baseline="30000">
              <a:solidFill>
                <a:schemeClr val="tx1"/>
              </a:solidFill>
            </a:endParaRPr>
          </a:p>
        </p:txBody>
      </p:sp>
      <p:graphicFrame>
        <p:nvGraphicFramePr>
          <p:cNvPr id="152" name="图表 151"/>
          <p:cNvGraphicFramePr/>
          <p:nvPr/>
        </p:nvGraphicFramePr>
        <p:xfrm>
          <a:off x="12974665" y="481848"/>
          <a:ext cx="2648876" cy="2517373"/>
        </p:xfrm>
        <a:graphic>
          <a:graphicData uri="http://schemas.openxmlformats.org/drawingml/2006/chart">
            <c:chart xmlns:c="http://schemas.openxmlformats.org/drawingml/2006/chart" xmlns:r="http://schemas.openxmlformats.org/officeDocument/2006/relationships" r:id="rId4"/>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145548" y="1675159"/>
            <a:ext cx="9900904" cy="3043525"/>
          </a:xfrm>
          <a:prstGeom prst="rect">
            <a:avLst/>
          </a:prstGeom>
          <a:noFill/>
        </p:spPr>
        <p:txBody>
          <a:bodyPr wrap="square">
            <a:spAutoFit/>
          </a:bodyPr>
          <a:lstStyle/>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辉瑞公司对资料内容已经进行审查确保符合辉瑞内部相关政策的标准与要求，但并不负责确认参考资料是否正确引用</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本讲稿由讲者撰写，不代表辉瑞观点，内容不针对辉瑞产品</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辉瑞不对讲稿内容的真实性、合法性、有效性负责</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本材料由我本人自行准备，仅用于本次会议供学术交流和讨论使用。材料中涉及的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照片由我在日常诊疗活动</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科研活动中自行收集</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总结。 我确认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1</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真实、准确；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2</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对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的援引和使用全面、客观 、不误导；</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3</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的使用和披露符 合相关法律法规要求。我对材料的合法合规性自行承担责任。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CRE</a:t>
            </a:r>
            <a:r>
              <a:rPr lang="zh-CN" altLang="en-US"/>
              <a:t>感染显著加重</a:t>
            </a:r>
            <a:r>
              <a:rPr lang="en-US" altLang="zh-CN"/>
              <a:t>ICU</a:t>
            </a:r>
            <a:r>
              <a:rPr lang="zh-CN" altLang="en-US"/>
              <a:t>患者的疾病负担，</a:t>
            </a:r>
            <a:r>
              <a:rPr lang="en-US" altLang="zh-CN"/>
              <a:t>MBL</a:t>
            </a:r>
            <a:r>
              <a:rPr lang="zh-CN" altLang="en-US"/>
              <a:t>亚型住院时间风险突出</a:t>
            </a:r>
            <a:endParaRPr lang="zh-CN" altLang="en-US"/>
          </a:p>
        </p:txBody>
      </p:sp>
      <p:sp>
        <p:nvSpPr>
          <p:cNvPr id="6" name="文本占位符 5"/>
          <p:cNvSpPr>
            <a:spLocks noGrp="1"/>
          </p:cNvSpPr>
          <p:nvPr>
            <p:ph type="body" sz="quarter" idx="10"/>
          </p:nvPr>
        </p:nvSpPr>
        <p:spPr/>
        <p:txBody>
          <a:bodyPr/>
          <a:lstStyle/>
          <a:p>
            <a:r>
              <a:rPr lang="zh-CN" altLang="en-US"/>
              <a:t>孙沛</a:t>
            </a:r>
            <a:r>
              <a:rPr lang="en-US" altLang="zh-CN"/>
              <a:t>,</a:t>
            </a:r>
            <a:r>
              <a:rPr lang="zh-CN" altLang="en-US"/>
              <a:t>等</a:t>
            </a:r>
            <a:r>
              <a:rPr lang="en-US" altLang="zh-CN"/>
              <a:t>. </a:t>
            </a:r>
            <a:r>
              <a:rPr lang="zh-CN" altLang="en-US"/>
              <a:t>中国感染控制杂志</a:t>
            </a:r>
            <a:r>
              <a:rPr lang="en-US" altLang="zh-CN"/>
              <a:t>,2024,23(5):621-627.</a:t>
            </a:r>
            <a:endParaRPr lang="en-US" altLang="zh-CN"/>
          </a:p>
          <a:p>
            <a:r>
              <a:rPr lang="en-US" altLang="zh-CN"/>
              <a:t>de Jager P, et al. </a:t>
            </a:r>
            <a:r>
              <a:rPr lang="en-US" altLang="zh-CN" err="1"/>
              <a:t>PLoS</a:t>
            </a:r>
            <a:r>
              <a:rPr lang="en-US" altLang="zh-CN"/>
              <a:t> One. 2015;10(4):e0123337. </a:t>
            </a:r>
            <a:endParaRPr lang="en-US" altLang="zh-CN"/>
          </a:p>
          <a:p>
            <a:r>
              <a:rPr lang="en-US" altLang="zh-CN"/>
              <a:t>Kanj SS, et al. Int J </a:t>
            </a:r>
            <a:r>
              <a:rPr lang="en-US" altLang="zh-CN" err="1"/>
              <a:t>Antimicrob</a:t>
            </a:r>
            <a:r>
              <a:rPr lang="en-US" altLang="zh-CN"/>
              <a:t> Agents. 2025;65(4):107449.</a:t>
            </a:r>
            <a:endParaRPr lang="en-US" altLang="zh-CN"/>
          </a:p>
        </p:txBody>
      </p:sp>
      <p:grpSp>
        <p:nvGrpSpPr>
          <p:cNvPr id="68" name="组合 67"/>
          <p:cNvGrpSpPr/>
          <p:nvPr/>
        </p:nvGrpSpPr>
        <p:grpSpPr>
          <a:xfrm>
            <a:off x="479425" y="1089025"/>
            <a:ext cx="11233150" cy="720000"/>
            <a:chOff x="479425" y="1089025"/>
            <a:chExt cx="11233150" cy="720000"/>
          </a:xfrm>
        </p:grpSpPr>
        <p:sp>
          <p:nvSpPr>
            <p:cNvPr id="69" name="矩形 68"/>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与</a:t>
              </a:r>
              <a:r>
                <a:rPr lang="en-US" altLang="zh-CN" sz="1200">
                  <a:solidFill>
                    <a:schemeClr val="tx1"/>
                  </a:solidFill>
                </a:rPr>
                <a:t>ICU</a:t>
              </a:r>
              <a:r>
                <a:rPr lang="zh-CN" altLang="en-US" sz="1200">
                  <a:solidFill>
                    <a:schemeClr val="tx1"/>
                  </a:solidFill>
                </a:rPr>
                <a:t>中未发生</a:t>
              </a:r>
              <a:r>
                <a:rPr lang="en-US" altLang="zh-CN" sz="1200">
                  <a:solidFill>
                    <a:schemeClr val="tx1"/>
                  </a:solidFill>
                </a:rPr>
                <a:t>CRE</a:t>
              </a:r>
              <a:r>
                <a:rPr lang="zh-CN" altLang="en-US" sz="1200">
                  <a:solidFill>
                    <a:schemeClr val="tx1"/>
                  </a:solidFill>
                </a:rPr>
                <a:t>感染患者相比，</a:t>
              </a:r>
              <a:r>
                <a:rPr lang="en-US" altLang="zh-CN" sz="1200">
                  <a:solidFill>
                    <a:schemeClr val="tx1"/>
                  </a:solidFill>
                </a:rPr>
                <a:t>CRE</a:t>
              </a:r>
              <a:r>
                <a:rPr lang="zh-CN" altLang="en-US" sz="1200">
                  <a:solidFill>
                    <a:schemeClr val="tx1"/>
                  </a:solidFill>
                </a:rPr>
                <a:t>感染患者</a:t>
              </a:r>
              <a:r>
                <a:rPr lang="zh-CN" altLang="en-US" sz="1200" b="1">
                  <a:solidFill>
                    <a:schemeClr val="accent1"/>
                  </a:solidFill>
                </a:rPr>
                <a:t>住院费用显著增加</a:t>
              </a:r>
              <a:r>
                <a:rPr lang="en-US" altLang="zh-CN" sz="1200" b="1" baseline="30000">
                  <a:solidFill>
                    <a:schemeClr val="accent1"/>
                  </a:solidFill>
                </a:rPr>
                <a:t>1</a:t>
              </a:r>
              <a:endParaRPr lang="en-US" altLang="zh-CN" sz="1200" b="1" baseline="30000">
                <a:solidFill>
                  <a:schemeClr val="accent1"/>
                </a:solidFill>
              </a:endParaRPr>
            </a:p>
            <a:p>
              <a:pPr algn="just">
                <a:lnSpc>
                  <a:spcPct val="120000"/>
                </a:lnSpc>
                <a:spcAft>
                  <a:spcPts val="600"/>
                </a:spcAft>
              </a:pPr>
              <a:r>
                <a:rPr lang="zh-CN" altLang="en-US" sz="1200">
                  <a:solidFill>
                    <a:schemeClr val="tx1"/>
                  </a:solidFill>
                </a:rPr>
                <a:t>与其他感染相比，由 </a:t>
              </a:r>
              <a:r>
                <a:rPr lang="en-US" altLang="zh-CN" sz="1200">
                  <a:solidFill>
                    <a:schemeClr val="tx1"/>
                  </a:solidFill>
                </a:rPr>
                <a:t>CRE-MBL</a:t>
              </a:r>
              <a:r>
                <a:rPr lang="zh-CN" altLang="en-US" sz="1200">
                  <a:solidFill>
                    <a:schemeClr val="tx1"/>
                  </a:solidFill>
                </a:rPr>
                <a:t>引起的感染明显</a:t>
              </a:r>
              <a:r>
                <a:rPr lang="zh-CN" altLang="en-US" sz="1200" b="1">
                  <a:solidFill>
                    <a:schemeClr val="accent1"/>
                  </a:solidFill>
                </a:rPr>
                <a:t>延长患者住院和</a:t>
              </a:r>
              <a:r>
                <a:rPr lang="en-US" altLang="zh-CN" sz="1200" b="1">
                  <a:solidFill>
                    <a:schemeClr val="accent1"/>
                  </a:solidFill>
                </a:rPr>
                <a:t>/</a:t>
              </a:r>
              <a:r>
                <a:rPr lang="zh-CN" altLang="en-US" sz="1200" b="1">
                  <a:solidFill>
                    <a:schemeClr val="accent1"/>
                  </a:solidFill>
                </a:rPr>
                <a:t>或 </a:t>
              </a:r>
              <a:r>
                <a:rPr lang="en-US" altLang="zh-CN" sz="1200" b="1">
                  <a:solidFill>
                    <a:schemeClr val="accent1"/>
                  </a:solidFill>
                </a:rPr>
                <a:t>ICU </a:t>
              </a:r>
              <a:r>
                <a:rPr lang="zh-CN" altLang="en-US" sz="1200" b="1">
                  <a:solidFill>
                    <a:schemeClr val="accent1"/>
                  </a:solidFill>
                </a:rPr>
                <a:t>住院时间</a:t>
              </a:r>
              <a:r>
                <a:rPr lang="en-US" altLang="zh-CN" sz="1200" baseline="30000">
                  <a:solidFill>
                    <a:schemeClr val="tx1"/>
                  </a:solidFill>
                </a:rPr>
                <a:t>2,3</a:t>
              </a:r>
              <a:endParaRPr lang="en-US" altLang="zh-CN" sz="1200" baseline="30000">
                <a:solidFill>
                  <a:schemeClr val="tx1"/>
                </a:solidFill>
              </a:endParaRPr>
            </a:p>
          </p:txBody>
        </p:sp>
        <p:sp>
          <p:nvSpPr>
            <p:cNvPr id="70" name="任意多边形: 形状 69"/>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71" name="任意多边形: 形状 70"/>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72" name="组合 71"/>
          <p:cNvGrpSpPr/>
          <p:nvPr/>
        </p:nvGrpSpPr>
        <p:grpSpPr>
          <a:xfrm>
            <a:off x="479425" y="1988829"/>
            <a:ext cx="5508042" cy="4319896"/>
            <a:chOff x="5067300" y="1988829"/>
            <a:chExt cx="5508042" cy="4319896"/>
          </a:xfrm>
        </p:grpSpPr>
        <p:sp>
          <p:nvSpPr>
            <p:cNvPr id="73" name="矩形 72"/>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4" name="组合 73"/>
            <p:cNvGrpSpPr/>
            <p:nvPr/>
          </p:nvGrpSpPr>
          <p:grpSpPr>
            <a:xfrm>
              <a:off x="5067300" y="1988829"/>
              <a:ext cx="5508042" cy="432000"/>
              <a:chOff x="5067300" y="1988829"/>
              <a:chExt cx="5508042" cy="432000"/>
            </a:xfrm>
          </p:grpSpPr>
          <p:sp>
            <p:nvSpPr>
              <p:cNvPr id="75" name="矩形 74"/>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effectLst>
                      <a:outerShdw blurRad="38100" dist="38100" dir="2700000" algn="tl">
                        <a:srgbClr val="000000">
                          <a:alpha val="43137"/>
                        </a:srgbClr>
                      </a:outerShdw>
                    </a:effectLst>
                  </a:rPr>
                  <a:t>CRE</a:t>
                </a:r>
                <a:r>
                  <a:rPr lang="zh-CN" altLang="en-US" b="1">
                    <a:effectLst>
                      <a:outerShdw blurRad="38100" dist="38100" dir="2700000" algn="tl">
                        <a:srgbClr val="000000">
                          <a:alpha val="43137"/>
                        </a:srgbClr>
                      </a:outerShdw>
                    </a:effectLst>
                  </a:rPr>
                  <a:t>感染显著增加患者经济负担</a:t>
                </a:r>
                <a:r>
                  <a:rPr lang="en-US" altLang="zh-CN" b="1" baseline="30000">
                    <a:effectLst>
                      <a:outerShdw blurRad="38100" dist="38100" dir="2700000" algn="tl">
                        <a:srgbClr val="000000">
                          <a:alpha val="43137"/>
                        </a:srgbClr>
                      </a:outerShdw>
                    </a:effectLst>
                  </a:rPr>
                  <a:t>1</a:t>
                </a:r>
                <a:endParaRPr lang="en-US" altLang="zh-CN" b="1" baseline="30000">
                  <a:effectLst>
                    <a:outerShdw blurRad="38100" dist="38100" dir="2700000" algn="tl">
                      <a:srgbClr val="000000">
                        <a:alpha val="43137"/>
                      </a:srgbClr>
                    </a:outerShdw>
                  </a:effectLst>
                </a:endParaRPr>
              </a:p>
            </p:txBody>
          </p:sp>
          <p:grpSp>
            <p:nvGrpSpPr>
              <p:cNvPr id="76" name="组合 75"/>
              <p:cNvGrpSpPr/>
              <p:nvPr/>
            </p:nvGrpSpPr>
            <p:grpSpPr>
              <a:xfrm>
                <a:off x="10053527" y="1988829"/>
                <a:ext cx="521815" cy="432000"/>
                <a:chOff x="7281325" y="2029438"/>
                <a:chExt cx="521815" cy="430843"/>
              </a:xfrm>
            </p:grpSpPr>
            <p:sp>
              <p:nvSpPr>
                <p:cNvPr id="80" name="直角三角形 79"/>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1" name="直角三角形 80"/>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77" name="组合 76"/>
              <p:cNvGrpSpPr/>
              <p:nvPr/>
            </p:nvGrpSpPr>
            <p:grpSpPr>
              <a:xfrm flipH="1">
                <a:off x="5067300" y="1988829"/>
                <a:ext cx="521815" cy="432000"/>
                <a:chOff x="9555833" y="2029438"/>
                <a:chExt cx="521815" cy="430843"/>
              </a:xfrm>
            </p:grpSpPr>
            <p:sp>
              <p:nvSpPr>
                <p:cNvPr id="78" name="直角三角形 77"/>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9" name="直角三角形 78"/>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82" name="组合 81"/>
          <p:cNvGrpSpPr/>
          <p:nvPr/>
        </p:nvGrpSpPr>
        <p:grpSpPr>
          <a:xfrm>
            <a:off x="6204533" y="1988829"/>
            <a:ext cx="5508042" cy="4319896"/>
            <a:chOff x="5067300" y="1988829"/>
            <a:chExt cx="5508042" cy="4319896"/>
          </a:xfrm>
        </p:grpSpPr>
        <p:sp>
          <p:nvSpPr>
            <p:cNvPr id="83" name="矩形 82"/>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4" name="组合 83"/>
            <p:cNvGrpSpPr/>
            <p:nvPr/>
          </p:nvGrpSpPr>
          <p:grpSpPr>
            <a:xfrm>
              <a:off x="5067300" y="1988829"/>
              <a:ext cx="5508042" cy="432000"/>
              <a:chOff x="5067300" y="1988829"/>
              <a:chExt cx="5508042" cy="432000"/>
            </a:xfrm>
          </p:grpSpPr>
          <p:sp>
            <p:nvSpPr>
              <p:cNvPr id="85" name="矩形 84"/>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effectLst>
                      <a:outerShdw blurRad="38100" dist="38100" dir="2700000" algn="tl">
                        <a:srgbClr val="000000">
                          <a:alpha val="43137"/>
                        </a:srgbClr>
                      </a:outerShdw>
                    </a:effectLst>
                  </a:rPr>
                  <a:t>CRE-MBL</a:t>
                </a:r>
                <a:r>
                  <a:rPr lang="zh-CN" altLang="en-US" b="1">
                    <a:effectLst>
                      <a:outerShdw blurRad="38100" dist="38100" dir="2700000" algn="tl">
                        <a:srgbClr val="000000">
                          <a:alpha val="43137"/>
                        </a:srgbClr>
                      </a:outerShdw>
                    </a:effectLst>
                  </a:rPr>
                  <a:t>显著延长患者住院时间</a:t>
                </a:r>
                <a:r>
                  <a:rPr lang="en-US" altLang="zh-CN" b="1" baseline="30000">
                    <a:effectLst>
                      <a:outerShdw blurRad="38100" dist="38100" dir="2700000" algn="tl">
                        <a:srgbClr val="000000">
                          <a:alpha val="43137"/>
                        </a:srgbClr>
                      </a:outerShdw>
                    </a:effectLst>
                  </a:rPr>
                  <a:t>2</a:t>
                </a:r>
                <a:endParaRPr lang="en-US" altLang="zh-CN" b="1" baseline="30000">
                  <a:effectLst>
                    <a:outerShdw blurRad="38100" dist="38100" dir="2700000" algn="tl">
                      <a:srgbClr val="000000">
                        <a:alpha val="43137"/>
                      </a:srgbClr>
                    </a:outerShdw>
                  </a:effectLst>
                </a:endParaRPr>
              </a:p>
            </p:txBody>
          </p:sp>
          <p:grpSp>
            <p:nvGrpSpPr>
              <p:cNvPr id="86" name="组合 85"/>
              <p:cNvGrpSpPr/>
              <p:nvPr/>
            </p:nvGrpSpPr>
            <p:grpSpPr>
              <a:xfrm>
                <a:off x="10053527" y="1988829"/>
                <a:ext cx="521815" cy="432000"/>
                <a:chOff x="7281325" y="2029438"/>
                <a:chExt cx="521815" cy="430843"/>
              </a:xfrm>
            </p:grpSpPr>
            <p:sp>
              <p:nvSpPr>
                <p:cNvPr id="90" name="直角三角形 89"/>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1" name="直角三角形 90"/>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87" name="组合 86"/>
              <p:cNvGrpSpPr/>
              <p:nvPr/>
            </p:nvGrpSpPr>
            <p:grpSpPr>
              <a:xfrm flipH="1">
                <a:off x="5067300" y="1988829"/>
                <a:ext cx="521815" cy="432000"/>
                <a:chOff x="9555833" y="2029438"/>
                <a:chExt cx="521815" cy="430843"/>
              </a:xfrm>
            </p:grpSpPr>
            <p:sp>
              <p:nvSpPr>
                <p:cNvPr id="88" name="直角三角形 87"/>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9" name="直角三角形 88"/>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sp>
        <p:nvSpPr>
          <p:cNvPr id="93" name="矩形 92"/>
          <p:cNvSpPr/>
          <p:nvPr/>
        </p:nvSpPr>
        <p:spPr>
          <a:xfrm>
            <a:off x="620457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一项病例对照研究，共计纳入</a:t>
            </a:r>
            <a:r>
              <a:rPr lang="en-US" altLang="zh-CN" sz="900">
                <a:solidFill>
                  <a:schemeClr val="tx1"/>
                </a:solidFill>
              </a:rPr>
              <a:t>106</a:t>
            </a:r>
            <a:r>
              <a:rPr lang="zh-CN" altLang="en-US" sz="900">
                <a:solidFill>
                  <a:schemeClr val="tx1"/>
                </a:solidFill>
              </a:rPr>
              <a:t>例研究对象，病例组为在</a:t>
            </a:r>
            <a:r>
              <a:rPr lang="en-US" altLang="zh-CN" sz="900">
                <a:solidFill>
                  <a:schemeClr val="tx1"/>
                </a:solidFill>
              </a:rPr>
              <a:t>ICU</a:t>
            </a:r>
            <a:r>
              <a:rPr lang="zh-CN" altLang="en-US" sz="900">
                <a:solidFill>
                  <a:schemeClr val="tx1"/>
                </a:solidFill>
              </a:rPr>
              <a:t>中，入院</a:t>
            </a:r>
            <a:r>
              <a:rPr lang="en-US" altLang="zh-CN" sz="900">
                <a:solidFill>
                  <a:schemeClr val="tx1"/>
                </a:solidFill>
              </a:rPr>
              <a:t>48</a:t>
            </a:r>
            <a:r>
              <a:rPr lang="zh-CN" altLang="en-US" sz="900">
                <a:solidFill>
                  <a:schemeClr val="tx1"/>
                </a:solidFill>
              </a:rPr>
              <a:t>小时后从临床标本中分离出产</a:t>
            </a:r>
            <a:r>
              <a:rPr lang="en-US" altLang="zh-CN" sz="900">
                <a:solidFill>
                  <a:schemeClr val="tx1"/>
                </a:solidFill>
              </a:rPr>
              <a:t>NDM-1</a:t>
            </a:r>
            <a:r>
              <a:rPr lang="zh-CN" altLang="en-US" sz="900">
                <a:solidFill>
                  <a:schemeClr val="tx1"/>
                </a:solidFill>
              </a:rPr>
              <a:t>革兰阴性菌且符合医疗相关感染定义的患者，对照组则为对应匹配病例</a:t>
            </a:r>
            <a:endParaRPr lang="zh-CN" altLang="en-US" sz="900">
              <a:solidFill>
                <a:schemeClr val="tx1"/>
              </a:solidFill>
            </a:endParaRPr>
          </a:p>
        </p:txBody>
      </p:sp>
      <p:sp>
        <p:nvSpPr>
          <p:cNvPr id="94" name="矩形 93"/>
          <p:cNvSpPr/>
          <p:nvPr/>
        </p:nvSpPr>
        <p:spPr>
          <a:xfrm>
            <a:off x="47942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中国的一项回顾性、多中心研究，共计纳入</a:t>
            </a:r>
            <a:r>
              <a:rPr lang="en-US" altLang="zh-CN" sz="900">
                <a:solidFill>
                  <a:schemeClr val="tx1"/>
                </a:solidFill>
              </a:rPr>
              <a:t>1049</a:t>
            </a:r>
            <a:r>
              <a:rPr lang="zh-CN" altLang="en-US" sz="900">
                <a:solidFill>
                  <a:schemeClr val="tx1"/>
                </a:solidFill>
              </a:rPr>
              <a:t>例</a:t>
            </a:r>
            <a:r>
              <a:rPr lang="en-US" altLang="zh-CN" sz="900">
                <a:solidFill>
                  <a:schemeClr val="tx1"/>
                </a:solidFill>
              </a:rPr>
              <a:t>ICU</a:t>
            </a:r>
            <a:r>
              <a:rPr lang="zh-CN" altLang="en-US" sz="900">
                <a:solidFill>
                  <a:schemeClr val="tx1"/>
                </a:solidFill>
              </a:rPr>
              <a:t>住院患者，按</a:t>
            </a:r>
            <a:r>
              <a:rPr lang="en-US" altLang="zh-CN" sz="900">
                <a:solidFill>
                  <a:schemeClr val="tx1"/>
                </a:solidFill>
              </a:rPr>
              <a:t>1:1</a:t>
            </a:r>
            <a:r>
              <a:rPr lang="zh-CN" altLang="en-US" sz="900">
                <a:solidFill>
                  <a:schemeClr val="tx1"/>
                </a:solidFill>
              </a:rPr>
              <a:t>比例进行倾向性评分匹配后分为耐碳青霉烯类肠杆菌科细菌（</a:t>
            </a:r>
            <a:r>
              <a:rPr lang="en-US" altLang="zh-CN" sz="900">
                <a:solidFill>
                  <a:schemeClr val="tx1"/>
                </a:solidFill>
              </a:rPr>
              <a:t>CRE</a:t>
            </a:r>
            <a:r>
              <a:rPr lang="zh-CN" altLang="en-US" sz="900">
                <a:solidFill>
                  <a:schemeClr val="tx1"/>
                </a:solidFill>
              </a:rPr>
              <a:t>）感染组（</a:t>
            </a:r>
            <a:r>
              <a:rPr lang="en-US" altLang="zh-CN" sz="900">
                <a:solidFill>
                  <a:schemeClr val="tx1"/>
                </a:solidFill>
              </a:rPr>
              <a:t>179</a:t>
            </a:r>
            <a:r>
              <a:rPr lang="zh-CN" altLang="en-US" sz="900">
                <a:solidFill>
                  <a:schemeClr val="tx1"/>
                </a:solidFill>
              </a:rPr>
              <a:t>例）和非感染组（</a:t>
            </a:r>
            <a:r>
              <a:rPr lang="en-US" altLang="zh-CN" sz="900">
                <a:solidFill>
                  <a:schemeClr val="tx1"/>
                </a:solidFill>
              </a:rPr>
              <a:t>870</a:t>
            </a:r>
            <a:r>
              <a:rPr lang="zh-CN" altLang="en-US" sz="900">
                <a:solidFill>
                  <a:schemeClr val="tx1"/>
                </a:solidFill>
              </a:rPr>
              <a:t>例）</a:t>
            </a:r>
            <a:endParaRPr lang="zh-CN" altLang="en-US" sz="900">
              <a:solidFill>
                <a:schemeClr val="tx1"/>
              </a:solidFill>
            </a:endParaRPr>
          </a:p>
        </p:txBody>
      </p:sp>
      <p:graphicFrame>
        <p:nvGraphicFramePr>
          <p:cNvPr id="95" name="图表 94"/>
          <p:cNvGraphicFramePr/>
          <p:nvPr/>
        </p:nvGraphicFramePr>
        <p:xfrm>
          <a:off x="593988" y="2648223"/>
          <a:ext cx="5278916" cy="309119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97" name="图表 96"/>
          <p:cNvGraphicFramePr/>
          <p:nvPr/>
        </p:nvGraphicFramePr>
        <p:xfrm>
          <a:off x="6319096" y="2648223"/>
          <a:ext cx="5278916" cy="3091198"/>
        </p:xfrm>
        <a:graphic>
          <a:graphicData uri="http://schemas.openxmlformats.org/drawingml/2006/chart">
            <c:chart xmlns:c="http://schemas.openxmlformats.org/drawingml/2006/chart" xmlns:r="http://schemas.openxmlformats.org/officeDocument/2006/relationships" r:id="rId2"/>
          </a:graphicData>
        </a:graphic>
      </p:graphicFrame>
      <p:sp>
        <p:nvSpPr>
          <p:cNvPr id="98" name="文本框 97"/>
          <p:cNvSpPr txBox="1"/>
          <p:nvPr/>
        </p:nvSpPr>
        <p:spPr>
          <a:xfrm>
            <a:off x="8258609" y="3313337"/>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99" name="文本框 98"/>
          <p:cNvSpPr txBox="1"/>
          <p:nvPr/>
        </p:nvSpPr>
        <p:spPr>
          <a:xfrm>
            <a:off x="10321517" y="3313337"/>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100" name="文本框 99"/>
          <p:cNvSpPr txBox="1"/>
          <p:nvPr/>
        </p:nvSpPr>
        <p:spPr>
          <a:xfrm>
            <a:off x="3170846" y="2648223"/>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a:spLocks noGrp="1"/>
          </p:cNvSpPr>
          <p:nvPr>
            <p:ph type="title"/>
          </p:nvPr>
        </p:nvSpPr>
        <p:spPr/>
        <p:txBody>
          <a:bodyPr/>
          <a:lstStyle/>
          <a:p>
            <a:r>
              <a:rPr lang="zh-CN" altLang="en-US"/>
              <a:t>诊疗挑战：</a:t>
            </a:r>
            <a:r>
              <a:rPr lang="en-US" altLang="zh-CN"/>
              <a:t>CRE</a:t>
            </a:r>
            <a:r>
              <a:rPr lang="zh-CN" altLang="en-US"/>
              <a:t>及</a:t>
            </a:r>
            <a:r>
              <a:rPr lang="en-US" altLang="zh-CN"/>
              <a:t>SMA</a:t>
            </a:r>
            <a:r>
              <a:rPr lang="zh-CN" altLang="en-US"/>
              <a:t>检出率逐年上升，但治疗选择相当有限</a:t>
            </a:r>
            <a:endParaRPr lang="zh-CN" altLang="en-US"/>
          </a:p>
        </p:txBody>
      </p:sp>
      <p:sp>
        <p:nvSpPr>
          <p:cNvPr id="15" name="文本占位符 3"/>
          <p:cNvSpPr>
            <a:spLocks noGrp="1"/>
          </p:cNvSpPr>
          <p:nvPr>
            <p:ph type="body" sz="quarter" idx="10"/>
          </p:nvPr>
        </p:nvSpPr>
        <p:spPr/>
        <p:txBody>
          <a:bodyPr/>
          <a:lstStyle/>
          <a:p>
            <a:r>
              <a:rPr lang="en-US" altLang="zh-CN"/>
              <a:t>Zhao J, et al. Infect Drug Resist. 2025;18:1071-1081.</a:t>
            </a:r>
            <a:endParaRPr lang="en-US" altLang="zh-CN"/>
          </a:p>
          <a:p>
            <a:r>
              <a:rPr lang="en-US" altLang="zh-CN"/>
              <a:t>Timsit JF, et al. Antibiotics (Basel). 2022;11(2):144. </a:t>
            </a:r>
            <a:endParaRPr lang="en-US" altLang="zh-CN"/>
          </a:p>
          <a:p>
            <a:r>
              <a:rPr lang="zh-CN" altLang="en-US"/>
              <a:t>朱青</a:t>
            </a:r>
            <a:r>
              <a:rPr lang="en-US" altLang="zh-CN"/>
              <a:t>,</a:t>
            </a:r>
            <a:r>
              <a:rPr lang="zh-CN" altLang="en-US"/>
              <a:t>等</a:t>
            </a:r>
            <a:r>
              <a:rPr lang="en-US" altLang="zh-CN"/>
              <a:t>. </a:t>
            </a:r>
            <a:r>
              <a:rPr lang="zh-CN" altLang="en-US"/>
              <a:t>实验室检测</a:t>
            </a:r>
            <a:r>
              <a:rPr lang="en-US" altLang="zh-CN"/>
              <a:t>,2025,3(5):128-130.</a:t>
            </a:r>
            <a:endParaRPr lang="en-US" altLang="zh-CN"/>
          </a:p>
        </p:txBody>
      </p:sp>
      <p:grpSp>
        <p:nvGrpSpPr>
          <p:cNvPr id="3" name="组合 2"/>
          <p:cNvGrpSpPr/>
          <p:nvPr/>
        </p:nvGrpSpPr>
        <p:grpSpPr>
          <a:xfrm>
            <a:off x="479425" y="1089024"/>
            <a:ext cx="6067679" cy="1177925"/>
            <a:chOff x="479425" y="1089024"/>
            <a:chExt cx="6067679" cy="1177925"/>
          </a:xfrm>
        </p:grpSpPr>
        <p:sp>
          <p:nvSpPr>
            <p:cNvPr id="18" name="矩形 17"/>
            <p:cNvSpPr/>
            <p:nvPr/>
          </p:nvSpPr>
          <p:spPr>
            <a:xfrm>
              <a:off x="479425" y="1089024"/>
              <a:ext cx="6067679" cy="1177925"/>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a:solidFill>
                    <a:schemeClr val="tx1"/>
                  </a:solidFill>
                </a:rPr>
                <a:t>CRE-MBL</a:t>
              </a:r>
              <a:r>
                <a:rPr lang="zh-CN" altLang="en-US" sz="1200">
                  <a:solidFill>
                    <a:schemeClr val="tx1"/>
                  </a:solidFill>
                </a:rPr>
                <a:t>对多数抗菌药物耐药率高，治疗选择十分有限</a:t>
              </a:r>
              <a:endParaRPr lang="zh-CN" altLang="en-US" sz="1200">
                <a:solidFill>
                  <a:schemeClr val="tx1"/>
                </a:solidFill>
              </a:endParaRPr>
            </a:p>
            <a:p>
              <a:pPr algn="just">
                <a:lnSpc>
                  <a:spcPct val="120000"/>
                </a:lnSpc>
                <a:spcAft>
                  <a:spcPts val="600"/>
                </a:spcAft>
              </a:pPr>
              <a:r>
                <a:rPr lang="zh-CN" altLang="en-US" sz="1200">
                  <a:solidFill>
                    <a:schemeClr val="tx1"/>
                  </a:solidFill>
                </a:rPr>
                <a:t>研究显示，</a:t>
              </a:r>
              <a:r>
                <a:rPr lang="en-US" altLang="zh-CN" sz="1200">
                  <a:solidFill>
                    <a:schemeClr val="tx1"/>
                  </a:solidFill>
                </a:rPr>
                <a:t>CRE</a:t>
              </a:r>
              <a:r>
                <a:rPr lang="zh-CN" altLang="en-US" sz="1200">
                  <a:solidFill>
                    <a:schemeClr val="tx1"/>
                  </a:solidFill>
                </a:rPr>
                <a:t>检出率持续增长，且增幅显著</a:t>
              </a:r>
              <a:r>
                <a:rPr lang="en-US" altLang="zh-CN" sz="1200" baseline="30000">
                  <a:solidFill>
                    <a:schemeClr val="tx1"/>
                  </a:solidFill>
                </a:rPr>
                <a:t>1</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全球流行病学调查显示，</a:t>
              </a:r>
              <a:r>
                <a:rPr lang="en-US" altLang="zh-CN" sz="1200">
                  <a:solidFill>
                    <a:schemeClr val="tx1"/>
                  </a:solidFill>
                </a:rPr>
                <a:t>CRE-MBL</a:t>
              </a:r>
              <a:r>
                <a:rPr lang="zh-CN" altLang="en-US" sz="1200">
                  <a:solidFill>
                    <a:schemeClr val="tx1"/>
                  </a:solidFill>
                </a:rPr>
                <a:t>约占临床分离样本中</a:t>
              </a:r>
              <a:r>
                <a:rPr lang="en-US" altLang="zh-CN" sz="1200">
                  <a:solidFill>
                    <a:schemeClr val="tx1"/>
                  </a:solidFill>
                </a:rPr>
                <a:t>CRE</a:t>
              </a:r>
              <a:r>
                <a:rPr lang="zh-CN" altLang="en-US" sz="1200">
                  <a:solidFill>
                    <a:schemeClr val="tx1"/>
                  </a:solidFill>
                </a:rPr>
                <a:t>分离株的五分之一</a:t>
              </a:r>
              <a:r>
                <a:rPr lang="en-US" altLang="zh-CN" sz="1200" baseline="30000">
                  <a:solidFill>
                    <a:schemeClr val="tx1"/>
                  </a:solidFill>
                </a:rPr>
                <a:t>2</a:t>
              </a:r>
              <a:endParaRPr lang="en-US" altLang="zh-CN" sz="1200" baseline="30000">
                <a:solidFill>
                  <a:schemeClr val="tx1"/>
                </a:solidFill>
              </a:endParaRPr>
            </a:p>
          </p:txBody>
        </p:sp>
        <p:sp>
          <p:nvSpPr>
            <p:cNvPr id="21" name="任意多边形: 形状 20"/>
            <p:cNvSpPr/>
            <p:nvPr/>
          </p:nvSpPr>
          <p:spPr>
            <a:xfrm>
              <a:off x="584548" y="133760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2" name="任意多边形: 形状 21"/>
            <p:cNvSpPr/>
            <p:nvPr/>
          </p:nvSpPr>
          <p:spPr>
            <a:xfrm>
              <a:off x="584548" y="163683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5" name="任意多边形: 形状 24"/>
            <p:cNvSpPr/>
            <p:nvPr/>
          </p:nvSpPr>
          <p:spPr>
            <a:xfrm>
              <a:off x="584548" y="193605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27" name="矩形 26"/>
          <p:cNvSpPr/>
          <p:nvPr/>
        </p:nvSpPr>
        <p:spPr>
          <a:xfrm>
            <a:off x="479425" y="2409636"/>
            <a:ext cx="6067678" cy="3652229"/>
          </a:xfrm>
          <a:prstGeom prst="rect">
            <a:avLst/>
          </a:prstGeom>
          <a:solidFill>
            <a:schemeClr val="bg1"/>
          </a:solidFill>
          <a:ln w="12700">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圆角 27"/>
          <p:cNvSpPr/>
          <p:nvPr/>
        </p:nvSpPr>
        <p:spPr>
          <a:xfrm>
            <a:off x="586851" y="2521250"/>
            <a:ext cx="3594260"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圆角 28"/>
          <p:cNvSpPr/>
          <p:nvPr/>
        </p:nvSpPr>
        <p:spPr>
          <a:xfrm>
            <a:off x="4286233" y="2521250"/>
            <a:ext cx="2153445"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p:cNvSpPr txBox="1"/>
          <p:nvPr/>
        </p:nvSpPr>
        <p:spPr>
          <a:xfrm>
            <a:off x="893604" y="2542305"/>
            <a:ext cx="2980754" cy="613694"/>
          </a:xfrm>
          <a:prstGeom prst="rect">
            <a:avLst/>
          </a:prstGeom>
          <a:noFill/>
        </p:spPr>
        <p:txBody>
          <a:bodyPr wrap="square" rtlCol="0">
            <a:spAutoFit/>
          </a:bodyPr>
          <a:lstStyle/>
          <a:p>
            <a:pPr algn="ctr">
              <a:lnSpc>
                <a:spcPct val="150000"/>
              </a:lnSpc>
            </a:pPr>
            <a:r>
              <a:rPr lang="en-US" altLang="zh-CN" sz="1200" b="1"/>
              <a:t>2020-2022 </a:t>
            </a:r>
            <a:endParaRPr lang="en-US" altLang="zh-CN" sz="1200" b="1"/>
          </a:p>
          <a:p>
            <a:pPr algn="ctr">
              <a:lnSpc>
                <a:spcPct val="150000"/>
              </a:lnSpc>
            </a:pPr>
            <a:r>
              <a:rPr lang="zh-CN" altLang="en-US" sz="1200" b="1"/>
              <a:t>我国一三甲医院</a:t>
            </a:r>
            <a:r>
              <a:rPr lang="en-US" altLang="zh-CN" sz="1200" b="1"/>
              <a:t>CRE</a:t>
            </a:r>
            <a:r>
              <a:rPr lang="zh-CN" altLang="en-US" sz="1200" b="1"/>
              <a:t>检出率变化</a:t>
            </a:r>
            <a:r>
              <a:rPr lang="en-US" altLang="zh-CN" sz="1200" b="1" baseline="30000"/>
              <a:t>1</a:t>
            </a:r>
            <a:endParaRPr lang="en-US" altLang="zh-CN" sz="1200" b="1" baseline="30000"/>
          </a:p>
        </p:txBody>
      </p:sp>
      <p:sp>
        <p:nvSpPr>
          <p:cNvPr id="31" name="文本框 30"/>
          <p:cNvSpPr txBox="1"/>
          <p:nvPr/>
        </p:nvSpPr>
        <p:spPr>
          <a:xfrm>
            <a:off x="4389549" y="2542305"/>
            <a:ext cx="1946812" cy="613694"/>
          </a:xfrm>
          <a:prstGeom prst="rect">
            <a:avLst/>
          </a:prstGeom>
          <a:noFill/>
        </p:spPr>
        <p:txBody>
          <a:bodyPr wrap="square" rtlCol="0">
            <a:spAutoFit/>
          </a:bodyPr>
          <a:lstStyle/>
          <a:p>
            <a:pPr algn="ctr">
              <a:lnSpc>
                <a:spcPct val="150000"/>
              </a:lnSpc>
            </a:pPr>
            <a:r>
              <a:rPr lang="en-US" altLang="zh-CN" sz="1200" b="1"/>
              <a:t>CRE-MBL</a:t>
            </a:r>
            <a:r>
              <a:rPr lang="zh-CN" altLang="en-US" sz="1200" b="1"/>
              <a:t>占临床分离</a:t>
            </a:r>
            <a:endParaRPr lang="en-US" altLang="zh-CN" sz="1200" b="1"/>
          </a:p>
          <a:p>
            <a:pPr algn="ctr">
              <a:lnSpc>
                <a:spcPct val="150000"/>
              </a:lnSpc>
            </a:pPr>
            <a:r>
              <a:rPr lang="zh-CN" altLang="en-US" sz="1200" b="1"/>
              <a:t>样本中</a:t>
            </a:r>
            <a:r>
              <a:rPr lang="en-US" altLang="zh-CN" sz="1200" b="1"/>
              <a:t>CRE</a:t>
            </a:r>
            <a:r>
              <a:rPr lang="zh-CN" altLang="en-US" sz="1200" b="1"/>
              <a:t>分离株的比例</a:t>
            </a:r>
            <a:r>
              <a:rPr lang="en-US" altLang="zh-CN" sz="1200" b="1" baseline="30000"/>
              <a:t>2</a:t>
            </a:r>
            <a:endParaRPr lang="en-US" altLang="zh-CN" sz="1200" b="1" baseline="30000"/>
          </a:p>
        </p:txBody>
      </p:sp>
      <p:grpSp>
        <p:nvGrpSpPr>
          <p:cNvPr id="32" name="组合 31"/>
          <p:cNvGrpSpPr/>
          <p:nvPr/>
        </p:nvGrpSpPr>
        <p:grpSpPr>
          <a:xfrm>
            <a:off x="754575" y="3161660"/>
            <a:ext cx="3258812" cy="146169"/>
            <a:chOff x="695324" y="5468317"/>
            <a:chExt cx="10945813" cy="486190"/>
          </a:xfrm>
        </p:grpSpPr>
        <p:sp>
          <p:nvSpPr>
            <p:cNvPr id="33" name="梯形 32"/>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4" name="梯形 33"/>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pSp>
        <p:nvGrpSpPr>
          <p:cNvPr id="35" name="组合 34"/>
          <p:cNvGrpSpPr/>
          <p:nvPr/>
        </p:nvGrpSpPr>
        <p:grpSpPr>
          <a:xfrm>
            <a:off x="4389549" y="3161660"/>
            <a:ext cx="1946812" cy="146169"/>
            <a:chOff x="695324" y="5468317"/>
            <a:chExt cx="10945813" cy="486190"/>
          </a:xfrm>
        </p:grpSpPr>
        <p:sp>
          <p:nvSpPr>
            <p:cNvPr id="36" name="梯形 35"/>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7" name="梯形 36"/>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aphicFrame>
        <p:nvGraphicFramePr>
          <p:cNvPr id="38" name="图表 37"/>
          <p:cNvGraphicFramePr/>
          <p:nvPr/>
        </p:nvGraphicFramePr>
        <p:xfrm>
          <a:off x="754575" y="3466313"/>
          <a:ext cx="3258812" cy="2378013"/>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9" name="图表 38"/>
          <p:cNvGraphicFramePr/>
          <p:nvPr/>
        </p:nvGraphicFramePr>
        <p:xfrm>
          <a:off x="4408355" y="3621023"/>
          <a:ext cx="1909200" cy="1961629"/>
        </p:xfrm>
        <a:graphic>
          <a:graphicData uri="http://schemas.openxmlformats.org/drawingml/2006/chart">
            <c:chart xmlns:c="http://schemas.openxmlformats.org/drawingml/2006/chart" xmlns:r="http://schemas.openxmlformats.org/officeDocument/2006/relationships" r:id="rId2"/>
          </a:graphicData>
        </a:graphic>
      </p:graphicFrame>
      <p:sp>
        <p:nvSpPr>
          <p:cNvPr id="40" name="文本框 39"/>
          <p:cNvSpPr txBox="1"/>
          <p:nvPr/>
        </p:nvSpPr>
        <p:spPr>
          <a:xfrm>
            <a:off x="4695443" y="4309450"/>
            <a:ext cx="1335024" cy="584775"/>
          </a:xfrm>
          <a:prstGeom prst="rect">
            <a:avLst/>
          </a:prstGeom>
          <a:noFill/>
        </p:spPr>
        <p:txBody>
          <a:bodyPr wrap="square">
            <a:spAutoFit/>
          </a:bodyPr>
          <a:lstStyle/>
          <a:p>
            <a:pPr algn="ctr"/>
            <a:r>
              <a:rPr lang="zh-CN" altLang="en-US" sz="1600" b="1">
                <a:latin typeface="+mn-ea"/>
              </a:rPr>
              <a:t>约</a:t>
            </a:r>
            <a:endParaRPr lang="en-US" altLang="zh-CN" sz="1600" b="1">
              <a:latin typeface="+mn-ea"/>
            </a:endParaRPr>
          </a:p>
          <a:p>
            <a:pPr algn="ctr"/>
            <a:r>
              <a:rPr lang="zh-CN" altLang="en-US" sz="1600" b="1">
                <a:latin typeface="+mn-ea"/>
              </a:rPr>
              <a:t>五分之一</a:t>
            </a:r>
            <a:endParaRPr lang="zh-CN" altLang="en-US" sz="1600" b="1">
              <a:latin typeface="+mn-ea"/>
            </a:endParaRPr>
          </a:p>
        </p:txBody>
      </p:sp>
      <p:grpSp>
        <p:nvGrpSpPr>
          <p:cNvPr id="2" name="组合 1"/>
          <p:cNvGrpSpPr/>
          <p:nvPr/>
        </p:nvGrpSpPr>
        <p:grpSpPr>
          <a:xfrm>
            <a:off x="6853857" y="1089024"/>
            <a:ext cx="4858720" cy="1177925"/>
            <a:chOff x="6853857" y="1089024"/>
            <a:chExt cx="4858720" cy="1177925"/>
          </a:xfrm>
        </p:grpSpPr>
        <p:sp>
          <p:nvSpPr>
            <p:cNvPr id="41" name="矩形 40"/>
            <p:cNvSpPr/>
            <p:nvPr/>
          </p:nvSpPr>
          <p:spPr>
            <a:xfrm>
              <a:off x="6853857" y="1089024"/>
              <a:ext cx="4858720" cy="1177925"/>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a:solidFill>
                    <a:schemeClr val="tx1"/>
                  </a:solidFill>
                </a:rPr>
                <a:t>SMA</a:t>
              </a:r>
              <a:r>
                <a:rPr lang="zh-CN" altLang="en-US" sz="1200">
                  <a:solidFill>
                    <a:schemeClr val="tx1"/>
                  </a:solidFill>
                </a:rPr>
                <a:t>的耐药机制复杂，对常用抗生素如</a:t>
              </a:r>
              <a:r>
                <a:rPr lang="en-US" altLang="zh-CN" sz="1200">
                  <a:solidFill>
                    <a:schemeClr val="tx1"/>
                  </a:solidFill>
                </a:rPr>
                <a:t>β–</a:t>
              </a:r>
              <a:r>
                <a:rPr lang="zh-CN" altLang="en-US" sz="1200">
                  <a:solidFill>
                    <a:schemeClr val="tx1"/>
                  </a:solidFill>
                </a:rPr>
                <a:t>内酰胺类、喹诺酮类和氨基糖苷类等均表现出较高的耐药性</a:t>
              </a:r>
              <a:r>
                <a:rPr lang="en-US" altLang="zh-CN" sz="1200" baseline="30000">
                  <a:solidFill>
                    <a:schemeClr val="tx1"/>
                  </a:solidFill>
                </a:rPr>
                <a:t>3</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研究显示，</a:t>
              </a:r>
              <a:r>
                <a:rPr lang="en-US" altLang="zh-CN" sz="1200">
                  <a:solidFill>
                    <a:schemeClr val="tx1"/>
                  </a:solidFill>
                </a:rPr>
                <a:t>ICU</a:t>
              </a:r>
              <a:r>
                <a:rPr lang="zh-CN" altLang="en-US" sz="1200">
                  <a:solidFill>
                    <a:schemeClr val="tx1"/>
                  </a:solidFill>
                </a:rPr>
                <a:t>送检标本中，</a:t>
              </a:r>
              <a:r>
                <a:rPr lang="en-US" altLang="zh-CN" sz="1200">
                  <a:solidFill>
                    <a:schemeClr val="tx1"/>
                  </a:solidFill>
                </a:rPr>
                <a:t>SMA</a:t>
              </a:r>
              <a:r>
                <a:rPr lang="zh-CN" altLang="en-US" sz="1200">
                  <a:solidFill>
                    <a:schemeClr val="tx1"/>
                  </a:solidFill>
                </a:rPr>
                <a:t>检出率逐年上升</a:t>
              </a:r>
              <a:r>
                <a:rPr lang="en-US" altLang="zh-CN" sz="1200" baseline="30000">
                  <a:solidFill>
                    <a:schemeClr val="tx1"/>
                  </a:solidFill>
                </a:rPr>
                <a:t>3</a:t>
              </a:r>
              <a:endParaRPr lang="en-US" altLang="zh-CN" sz="1200" baseline="30000">
                <a:solidFill>
                  <a:schemeClr val="tx1"/>
                </a:solidFill>
              </a:endParaRPr>
            </a:p>
          </p:txBody>
        </p:sp>
        <p:sp>
          <p:nvSpPr>
            <p:cNvPr id="42" name="任意多边形: 形状 41"/>
            <p:cNvSpPr/>
            <p:nvPr/>
          </p:nvSpPr>
          <p:spPr>
            <a:xfrm>
              <a:off x="6958979" y="1368461"/>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43" name="任意多边形: 形状 42"/>
            <p:cNvSpPr/>
            <p:nvPr/>
          </p:nvSpPr>
          <p:spPr>
            <a:xfrm>
              <a:off x="6958979" y="1898701"/>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44" name="矩形 43"/>
          <p:cNvSpPr/>
          <p:nvPr/>
        </p:nvSpPr>
        <p:spPr>
          <a:xfrm>
            <a:off x="6853856" y="2409636"/>
            <a:ext cx="4858719" cy="3652229"/>
          </a:xfrm>
          <a:prstGeom prst="rect">
            <a:avLst/>
          </a:prstGeom>
          <a:solidFill>
            <a:schemeClr val="bg1"/>
          </a:solidFill>
          <a:ln w="12700">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圆角 44"/>
          <p:cNvSpPr/>
          <p:nvPr/>
        </p:nvSpPr>
        <p:spPr>
          <a:xfrm>
            <a:off x="6982982" y="2521250"/>
            <a:ext cx="4622167"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p:cNvSpPr txBox="1"/>
          <p:nvPr/>
        </p:nvSpPr>
        <p:spPr>
          <a:xfrm>
            <a:off x="7400820" y="2542305"/>
            <a:ext cx="3786490" cy="613694"/>
          </a:xfrm>
          <a:prstGeom prst="rect">
            <a:avLst/>
          </a:prstGeom>
          <a:noFill/>
        </p:spPr>
        <p:txBody>
          <a:bodyPr wrap="square" rtlCol="0">
            <a:spAutoFit/>
          </a:bodyPr>
          <a:lstStyle/>
          <a:p>
            <a:pPr algn="ctr">
              <a:lnSpc>
                <a:spcPct val="150000"/>
              </a:lnSpc>
            </a:pPr>
            <a:r>
              <a:rPr lang="en-US" altLang="zh-CN" sz="1200" b="1"/>
              <a:t>2020-2023</a:t>
            </a:r>
            <a:endParaRPr lang="en-US" altLang="zh-CN" sz="1200" b="1"/>
          </a:p>
          <a:p>
            <a:pPr algn="ctr">
              <a:lnSpc>
                <a:spcPct val="150000"/>
              </a:lnSpc>
            </a:pPr>
            <a:r>
              <a:rPr lang="en-US" altLang="zh-CN" sz="1200" b="1"/>
              <a:t> </a:t>
            </a:r>
            <a:r>
              <a:rPr lang="zh-CN" altLang="en-US" sz="1200" b="1"/>
              <a:t>我国某医院</a:t>
            </a:r>
            <a:r>
              <a:rPr lang="en-US" altLang="zh-CN" sz="1200" b="1"/>
              <a:t>SMA</a:t>
            </a:r>
            <a:r>
              <a:rPr lang="zh-CN" altLang="en-US" sz="1200" b="1"/>
              <a:t>检出率变化</a:t>
            </a:r>
            <a:r>
              <a:rPr lang="en-US" altLang="zh-CN" sz="1200" b="1" baseline="30000"/>
              <a:t>3</a:t>
            </a:r>
            <a:endParaRPr lang="en-US" altLang="zh-CN" sz="1200" b="1" baseline="30000"/>
          </a:p>
        </p:txBody>
      </p:sp>
      <p:grpSp>
        <p:nvGrpSpPr>
          <p:cNvPr id="47" name="组合 46"/>
          <p:cNvGrpSpPr/>
          <p:nvPr/>
        </p:nvGrpSpPr>
        <p:grpSpPr>
          <a:xfrm>
            <a:off x="7118501" y="3161660"/>
            <a:ext cx="4351128" cy="146169"/>
            <a:chOff x="695324" y="5468317"/>
            <a:chExt cx="10945813" cy="486190"/>
          </a:xfrm>
        </p:grpSpPr>
        <p:sp>
          <p:nvSpPr>
            <p:cNvPr id="48" name="梯形 47"/>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9" name="梯形 48"/>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aphicFrame>
        <p:nvGraphicFramePr>
          <p:cNvPr id="50" name="图表 49"/>
          <p:cNvGraphicFramePr/>
          <p:nvPr/>
        </p:nvGraphicFramePr>
        <p:xfrm>
          <a:off x="7148518" y="3477075"/>
          <a:ext cx="4291094" cy="2367251"/>
        </p:xfrm>
        <a:graphic>
          <a:graphicData uri="http://schemas.openxmlformats.org/drawingml/2006/chart">
            <c:chart xmlns:c="http://schemas.openxmlformats.org/drawingml/2006/chart" xmlns:r="http://schemas.openxmlformats.org/officeDocument/2006/relationships" r:id="rId3"/>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诊疗挑战：多粘菌素等药物存在安全问题及有效性不足等局限</a:t>
            </a:r>
            <a:endParaRPr lang="zh-CN" altLang="en-US"/>
          </a:p>
        </p:txBody>
      </p:sp>
      <p:sp>
        <p:nvSpPr>
          <p:cNvPr id="8" name="文本占位符 7"/>
          <p:cNvSpPr>
            <a:spLocks noGrp="1"/>
          </p:cNvSpPr>
          <p:nvPr>
            <p:ph type="body" sz="quarter" idx="10"/>
          </p:nvPr>
        </p:nvSpPr>
        <p:spPr>
          <a:xfrm>
            <a:off x="479108" y="6289596"/>
            <a:ext cx="9164085" cy="432000"/>
          </a:xfrm>
        </p:spPr>
        <p:txBody>
          <a:bodyPr numCol="3"/>
          <a:lstStyle/>
          <a:p>
            <a:r>
              <a:rPr lang="zh-CN" altLang="en-US" sz="700"/>
              <a:t>肖婷婷</a:t>
            </a:r>
            <a:r>
              <a:rPr lang="en-US" altLang="zh-CN" sz="700"/>
              <a:t>,</a:t>
            </a:r>
            <a:r>
              <a:rPr lang="zh-CN" altLang="en-US" sz="700"/>
              <a:t>等</a:t>
            </a:r>
            <a:r>
              <a:rPr lang="en-US" altLang="zh-CN" sz="700"/>
              <a:t>.</a:t>
            </a:r>
            <a:r>
              <a:rPr lang="zh-CN" altLang="en-US" sz="700"/>
              <a:t>医药导报</a:t>
            </a:r>
            <a:r>
              <a:rPr lang="en-US" altLang="zh-CN" sz="700"/>
              <a:t>,2018,37(01):1-5.</a:t>
            </a:r>
            <a:endParaRPr lang="en-US" altLang="zh-CN" sz="700"/>
          </a:p>
          <a:p>
            <a:r>
              <a:rPr lang="zh-CN" altLang="en-US" sz="700"/>
              <a:t>注射用多黏菌素</a:t>
            </a:r>
            <a:r>
              <a:rPr lang="en-US" altLang="zh-CN" sz="700"/>
              <a:t>E</a:t>
            </a:r>
            <a:r>
              <a:rPr lang="zh-CN" altLang="en-US" sz="700"/>
              <a:t>甲磺酸钠说明书</a:t>
            </a:r>
            <a:r>
              <a:rPr lang="en-US" altLang="zh-CN" sz="700"/>
              <a:t>. 2022.03.28.</a:t>
            </a:r>
            <a:endParaRPr lang="en-US" altLang="zh-CN" sz="700"/>
          </a:p>
          <a:p>
            <a:r>
              <a:rPr lang="zh-CN" altLang="en-US" sz="700"/>
              <a:t>中华医学会血液学分会</a:t>
            </a:r>
            <a:r>
              <a:rPr lang="en-US" altLang="zh-CN" sz="700"/>
              <a:t>, </a:t>
            </a:r>
            <a:r>
              <a:rPr lang="zh-CN" altLang="en-US" sz="700"/>
              <a:t>等</a:t>
            </a:r>
            <a:r>
              <a:rPr lang="en-US" altLang="zh-CN" sz="700"/>
              <a:t>. </a:t>
            </a:r>
            <a:r>
              <a:rPr lang="zh-CN" altLang="en-US" sz="700"/>
              <a:t>中华血液学杂志</a:t>
            </a:r>
            <a:r>
              <a:rPr lang="en-US" altLang="zh-CN" sz="700"/>
              <a:t>, 2025, 46(6)</a:t>
            </a:r>
            <a:r>
              <a:rPr lang="zh-CN" altLang="en-US" sz="700"/>
              <a:t>：</a:t>
            </a:r>
            <a:r>
              <a:rPr lang="en-US" altLang="zh-CN" sz="700"/>
              <a:t>390-402.</a:t>
            </a:r>
            <a:endParaRPr lang="en-US" altLang="zh-CN" sz="700"/>
          </a:p>
          <a:p>
            <a:r>
              <a:rPr lang="en-US" altLang="zh-CN" sz="700"/>
              <a:t>Hidalgo-Tenorio </a:t>
            </a:r>
            <a:r>
              <a:rPr lang="en-US" altLang="zh-CN" sz="700" err="1"/>
              <a:t>C,et</a:t>
            </a:r>
            <a:r>
              <a:rPr lang="en-US" altLang="zh-CN" sz="700"/>
              <a:t> al. Drugs. 2024;84(12):1519-1539.</a:t>
            </a:r>
            <a:endParaRPr lang="en-US" altLang="zh-CN" sz="700"/>
          </a:p>
          <a:p>
            <a:r>
              <a:rPr lang="en-US" altLang="zh-CN" sz="700"/>
              <a:t>Yu Y, et al. Front Cell Infect </a:t>
            </a:r>
            <a:r>
              <a:rPr lang="en-US" altLang="zh-CN" sz="700" err="1"/>
              <a:t>Microbiol</a:t>
            </a:r>
            <a:r>
              <a:rPr lang="en-US" altLang="zh-CN" sz="700"/>
              <a:t>. 2025;15:1533177. </a:t>
            </a:r>
            <a:endParaRPr lang="en-US" altLang="zh-CN" sz="700"/>
          </a:p>
          <a:p>
            <a:r>
              <a:rPr lang="zh-CN" altLang="en-US" sz="700"/>
              <a:t>全国细菌耐药监测网</a:t>
            </a:r>
            <a:r>
              <a:rPr lang="en-US" altLang="zh-CN" sz="700"/>
              <a:t>. </a:t>
            </a:r>
            <a:r>
              <a:rPr lang="zh-CN" altLang="en-US" sz="700"/>
              <a:t>中国感染与化疗杂志</a:t>
            </a:r>
            <a:r>
              <a:rPr lang="en-US" altLang="zh-CN" sz="700"/>
              <a:t>,2024,24(5):537-544. </a:t>
            </a:r>
            <a:endParaRPr lang="en-US" altLang="zh-CN" sz="700"/>
          </a:p>
          <a:p>
            <a:r>
              <a:rPr lang="en-US" altLang="zh-CN" sz="700"/>
              <a:t>https://www.nmpa.gov.cn/xxgk/ggtg/ypggtg/ypshmshxdgg/20230817170108101.html</a:t>
            </a:r>
            <a:r>
              <a:rPr lang="zh-CN" altLang="en-US" sz="700"/>
              <a:t>附件</a:t>
            </a:r>
            <a:endParaRPr lang="zh-CN" altLang="en-US" sz="700"/>
          </a:p>
          <a:p>
            <a:r>
              <a:rPr lang="en-US" altLang="zh-CN" sz="700"/>
              <a:t>Pogue JM, et al. Clin Infect Dis. 2014 Dec 1;59 Suppl 6:S388-93; </a:t>
            </a:r>
            <a:endParaRPr lang="en-US" altLang="zh-CN" sz="700"/>
          </a:p>
          <a:p>
            <a:r>
              <a:rPr lang="zh-CN" altLang="en-US" sz="700"/>
              <a:t>注射用替加环素说明书</a:t>
            </a:r>
            <a:r>
              <a:rPr lang="en-US" altLang="zh-CN" sz="700"/>
              <a:t>.2025.07.01.</a:t>
            </a:r>
            <a:endParaRPr lang="en-US" altLang="zh-CN" sz="700"/>
          </a:p>
          <a:p>
            <a:r>
              <a:rPr lang="zh-CN" altLang="en-US" sz="700"/>
              <a:t>注射用头孢他啶阿维巴坦钠说明书</a:t>
            </a:r>
            <a:r>
              <a:rPr lang="en-US" altLang="zh-CN" sz="700"/>
              <a:t>.2025. 06.17.</a:t>
            </a:r>
            <a:endParaRPr lang="en-US" altLang="zh-CN" sz="700"/>
          </a:p>
          <a:p>
            <a:r>
              <a:rPr lang="en-US" altLang="zh-CN" sz="700"/>
              <a:t>Spiliopoulou I, et al. J </a:t>
            </a:r>
            <a:r>
              <a:rPr lang="en-US" altLang="zh-CN" sz="700" err="1"/>
              <a:t>Antimicrob</a:t>
            </a:r>
            <a:r>
              <a:rPr lang="en-US" altLang="zh-CN" sz="700"/>
              <a:t> </a:t>
            </a:r>
            <a:r>
              <a:rPr lang="en-US" altLang="zh-CN" sz="700" err="1"/>
              <a:t>Chemother</a:t>
            </a:r>
            <a:r>
              <a:rPr lang="en-US" altLang="zh-CN" sz="700"/>
              <a:t>. 2020 Feb 1;75(2):384-391.</a:t>
            </a:r>
            <a:endParaRPr lang="en-US" altLang="zh-CN" sz="700"/>
          </a:p>
          <a:p>
            <a:r>
              <a:rPr lang="en-US" altLang="zh-CN" sz="700"/>
              <a:t>Tamma PD, et al. Clin Infect Dis. Published online August 7, 2024.</a:t>
            </a:r>
            <a:endParaRPr lang="en-US" altLang="zh-CN" sz="700"/>
          </a:p>
        </p:txBody>
      </p:sp>
      <p:graphicFrame>
        <p:nvGraphicFramePr>
          <p:cNvPr id="10" name="表格 9"/>
          <p:cNvGraphicFramePr>
            <a:graphicFrameLocks noGrp="1"/>
          </p:cNvGraphicFramePr>
          <p:nvPr/>
        </p:nvGraphicFramePr>
        <p:xfrm>
          <a:off x="479426" y="1069735"/>
          <a:ext cx="11233149" cy="4643998"/>
        </p:xfrm>
        <a:graphic>
          <a:graphicData uri="http://schemas.openxmlformats.org/drawingml/2006/table">
            <a:tbl>
              <a:tblPr firstRow="1" bandRow="1">
                <a:effectLst>
                  <a:outerShdw blurRad="63500" algn="ctr" rotWithShape="0">
                    <a:schemeClr val="accent1">
                      <a:alpha val="20000"/>
                    </a:schemeClr>
                  </a:outerShdw>
                </a:effectLst>
                <a:tableStyleId>{5C22544A-7EE6-4342-B048-85BDC9FD1C3A}</a:tableStyleId>
              </a:tblPr>
              <a:tblGrid>
                <a:gridCol w="1154165"/>
                <a:gridCol w="2219218"/>
                <a:gridCol w="2645863"/>
                <a:gridCol w="2257222"/>
                <a:gridCol w="2956681"/>
              </a:tblGrid>
              <a:tr h="445792">
                <a:tc>
                  <a:txBody>
                    <a:bodyPr/>
                    <a:lstStyle/>
                    <a:p>
                      <a:pPr algn="ctr">
                        <a:lnSpc>
                          <a:spcPct val="100000"/>
                        </a:lnSpc>
                      </a:pPr>
                      <a:r>
                        <a:rPr lang="zh-CN" altLang="en-US" sz="1800" b="1">
                          <a:solidFill>
                            <a:srgbClr val="FFFFFF"/>
                          </a:solidFill>
                          <a:latin typeface="+mj-ea"/>
                          <a:ea typeface="+mj-ea"/>
                        </a:rPr>
                        <a:t>特征</a:t>
                      </a:r>
                      <a:endParaRPr lang="zh-CN" altLang="en-US" sz="1800" b="1">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多黏菌素</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磷霉素</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替加环素</a:t>
                      </a:r>
                      <a:r>
                        <a:rPr lang="en-US" altLang="zh-CN" sz="1800" b="1">
                          <a:solidFill>
                            <a:srgbClr val="FFFFFF"/>
                          </a:solidFill>
                          <a:latin typeface="+mj-ea"/>
                          <a:ea typeface="+mj-ea"/>
                        </a:rPr>
                        <a:t>*</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头孢他啶</a:t>
                      </a:r>
                      <a:r>
                        <a:rPr lang="en-US" altLang="zh-CN" sz="1800" b="1">
                          <a:solidFill>
                            <a:srgbClr val="FFFFFF"/>
                          </a:solidFill>
                          <a:latin typeface="+mj-ea"/>
                          <a:ea typeface="+mj-ea"/>
                        </a:rPr>
                        <a:t>-</a:t>
                      </a:r>
                      <a:r>
                        <a:rPr lang="zh-CN" altLang="en-US" sz="1800" b="1">
                          <a:solidFill>
                            <a:srgbClr val="FFFFFF"/>
                          </a:solidFill>
                          <a:latin typeface="+mj-ea"/>
                          <a:ea typeface="+mj-ea"/>
                        </a:rPr>
                        <a:t>阿维巴坦</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r>
              <a:tr h="643192">
                <a:tc>
                  <a:txBody>
                    <a:bodyPr/>
                    <a:lstStyle/>
                    <a:p>
                      <a:pPr algn="ctr">
                        <a:lnSpc>
                          <a:spcPct val="100000"/>
                        </a:lnSpc>
                      </a:pPr>
                      <a:r>
                        <a:rPr lang="en-US" altLang="zh-CN" sz="1200">
                          <a:solidFill>
                            <a:srgbClr val="000000"/>
                          </a:solidFill>
                          <a:latin typeface="+mj-ea"/>
                          <a:ea typeface="+mj-ea"/>
                        </a:rPr>
                        <a:t>PK/PD</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治疗窗窄</a:t>
                      </a:r>
                      <a:r>
                        <a:rPr lang="en-US" altLang="zh-CN" sz="1200" baseline="30000">
                          <a:solidFill>
                            <a:srgbClr val="000000"/>
                          </a:solidFill>
                          <a:latin typeface="+mj-ea"/>
                          <a:ea typeface="+mj-ea"/>
                        </a:rPr>
                        <a:t>1</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en-US" altLang="zh-CN" sz="1200">
                          <a:solidFill>
                            <a:srgbClr val="000000"/>
                          </a:solidFill>
                          <a:latin typeface="+mj-ea"/>
                          <a:ea typeface="+mj-ea"/>
                        </a:rPr>
                        <a:t>-</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高度亲脂性，血药浓度不理想</a:t>
                      </a:r>
                      <a:r>
                        <a:rPr lang="en-US" altLang="zh-CN" sz="1200" baseline="30000">
                          <a:solidFill>
                            <a:srgbClr val="000000"/>
                          </a:solidFill>
                          <a:latin typeface="+mj-ea"/>
                          <a:ea typeface="+mj-ea"/>
                        </a:rPr>
                        <a:t>8</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en-US" altLang="zh-CN" sz="1200">
                          <a:solidFill>
                            <a:srgbClr val="000000"/>
                          </a:solidFill>
                          <a:latin typeface="+mj-ea"/>
                          <a:ea typeface="+mj-ea"/>
                        </a:rPr>
                        <a:t>-</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34315">
                <a:tc>
                  <a:txBody>
                    <a:bodyPr/>
                    <a:lstStyle/>
                    <a:p>
                      <a:pPr algn="ctr">
                        <a:lnSpc>
                          <a:spcPct val="100000"/>
                        </a:lnSpc>
                      </a:pPr>
                      <a:r>
                        <a:rPr lang="zh-CN" altLang="en-US" sz="1200">
                          <a:solidFill>
                            <a:srgbClr val="000000"/>
                          </a:solidFill>
                          <a:latin typeface="+mj-ea"/>
                          <a:ea typeface="+mj-ea"/>
                        </a:rPr>
                        <a:t>安全性</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b="1">
                          <a:solidFill>
                            <a:srgbClr val="000000"/>
                          </a:solidFill>
                          <a:latin typeface="+mj-ea"/>
                          <a:ea typeface="+mj-ea"/>
                        </a:rPr>
                        <a:t>神经毒性，肾毒性</a:t>
                      </a:r>
                      <a:r>
                        <a:rPr lang="zh-CN" altLang="en-US" sz="1200">
                          <a:solidFill>
                            <a:srgbClr val="000000"/>
                          </a:solidFill>
                          <a:latin typeface="+mj-ea"/>
                          <a:ea typeface="+mj-ea"/>
                        </a:rPr>
                        <a:t>，肾功能不全者用药后加重呼吸暂停和神经肌肉阻滞的可能</a:t>
                      </a:r>
                      <a:r>
                        <a:rPr lang="en-US" altLang="zh-CN" sz="1200" baseline="30000">
                          <a:solidFill>
                            <a:srgbClr val="000000"/>
                          </a:solidFill>
                          <a:latin typeface="+mj-ea"/>
                          <a:ea typeface="+mj-ea"/>
                        </a:rPr>
                        <a:t>2,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肝、肾功能减退者慎用；治疗期间可能会发生严重的过敏反应，严重者可导致死亡；长期使用需定期监测其血钠和血钾水平</a:t>
                      </a:r>
                      <a:r>
                        <a:rPr lang="en-US" altLang="zh-CN" sz="1200" baseline="30000">
                          <a:solidFill>
                            <a:srgbClr val="000000"/>
                          </a:solidFill>
                          <a:latin typeface="+mj-ea"/>
                          <a:ea typeface="+mj-ea"/>
                        </a:rPr>
                        <a:t>7</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急性胰腺炎，胎儿损害，肝功能障碍和肝衰竭，</a:t>
                      </a:r>
                      <a:r>
                        <a:rPr lang="zh-CN" altLang="en-US" sz="1200" b="1">
                          <a:solidFill>
                            <a:srgbClr val="000000"/>
                          </a:solidFill>
                          <a:latin typeface="+mj-ea"/>
                          <a:ea typeface="+mj-ea"/>
                        </a:rPr>
                        <a:t>全因死亡率增加（黑框警告），</a:t>
                      </a:r>
                      <a:r>
                        <a:rPr lang="zh-CN" altLang="en-US" sz="1200">
                          <a:solidFill>
                            <a:srgbClr val="000000"/>
                          </a:solidFill>
                          <a:latin typeface="+mj-ea"/>
                          <a:ea typeface="+mj-ea"/>
                        </a:rPr>
                        <a:t>恶心呕吐</a:t>
                      </a:r>
                      <a:r>
                        <a:rPr lang="en-US" altLang="zh-CN" sz="1200" baseline="30000">
                          <a:solidFill>
                            <a:srgbClr val="000000"/>
                          </a:solidFill>
                          <a:latin typeface="+mj-ea"/>
                          <a:ea typeface="+mj-ea"/>
                        </a:rPr>
                        <a:t>9</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肾功能减退患者不良反应风险更高</a:t>
                      </a:r>
                      <a:r>
                        <a:rPr lang="en-US" altLang="zh-CN" sz="1200" baseline="30000">
                          <a:solidFill>
                            <a:srgbClr val="000000"/>
                          </a:solidFill>
                          <a:latin typeface="+mj-ea"/>
                          <a:ea typeface="+mj-ea"/>
                        </a:rPr>
                        <a:t>10</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643192">
                <a:tc>
                  <a:txBody>
                    <a:bodyPr/>
                    <a:lstStyle/>
                    <a:p>
                      <a:pPr algn="ctr">
                        <a:lnSpc>
                          <a:spcPct val="100000"/>
                        </a:lnSpc>
                      </a:pPr>
                      <a:r>
                        <a:rPr lang="zh-CN" altLang="en-US" sz="1200">
                          <a:solidFill>
                            <a:srgbClr val="000000"/>
                          </a:solidFill>
                          <a:latin typeface="+mj-ea"/>
                          <a:ea typeface="+mj-ea"/>
                        </a:rPr>
                        <a:t>疗效</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b="1">
                          <a:solidFill>
                            <a:srgbClr val="000000"/>
                          </a:solidFill>
                          <a:latin typeface="+mj-ea"/>
                          <a:ea typeface="+mj-ea"/>
                        </a:rPr>
                        <a:t>异质性耐药较常见</a:t>
                      </a:r>
                      <a:r>
                        <a:rPr lang="en-US" altLang="zh-CN" sz="1200" b="1" baseline="30000">
                          <a:solidFill>
                            <a:srgbClr val="000000"/>
                          </a:solidFill>
                          <a:latin typeface="+mj-ea"/>
                          <a:ea typeface="+mj-ea"/>
                        </a:rPr>
                        <a:t>3</a:t>
                      </a:r>
                      <a:r>
                        <a:rPr lang="zh-CN" altLang="en-US" sz="1200" b="1">
                          <a:solidFill>
                            <a:srgbClr val="000000"/>
                          </a:solidFill>
                          <a:latin typeface="+mj-ea"/>
                          <a:ea typeface="+mj-ea"/>
                        </a:rPr>
                        <a:t>，</a:t>
                      </a:r>
                      <a:r>
                        <a:rPr lang="zh-CN" altLang="en-US" sz="1200" b="0">
                          <a:solidFill>
                            <a:srgbClr val="000000"/>
                          </a:solidFill>
                          <a:latin typeface="+mj-ea"/>
                          <a:ea typeface="+mj-ea"/>
                        </a:rPr>
                        <a:t>全身给药疗效有限</a:t>
                      </a:r>
                      <a:r>
                        <a:rPr lang="en-US" altLang="zh-CN" sz="1200" b="0" baseline="30000">
                          <a:solidFill>
                            <a:srgbClr val="000000"/>
                          </a:solidFill>
                          <a:latin typeface="+mj-ea"/>
                          <a:ea typeface="+mj-ea"/>
                        </a:rPr>
                        <a:t>4</a:t>
                      </a:r>
                      <a:endParaRPr lang="zh-CN" altLang="en-US" sz="1200" b="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单独静脉给予磷霉素与选择性耐药有关</a:t>
                      </a:r>
                      <a:r>
                        <a:rPr lang="en-US" altLang="zh-CN" sz="1200" baseline="30000">
                          <a:solidFill>
                            <a:srgbClr val="000000"/>
                          </a:solidFill>
                          <a:latin typeface="+mj-ea"/>
                          <a:ea typeface="+mj-ea"/>
                        </a:rPr>
                        <a:t>7</a:t>
                      </a:r>
                      <a:r>
                        <a:rPr lang="zh-CN" altLang="en-US" sz="1200">
                          <a:solidFill>
                            <a:srgbClr val="000000"/>
                          </a:solidFill>
                          <a:latin typeface="+mj-ea"/>
                          <a:ea typeface="+mj-ea"/>
                        </a:rPr>
                        <a:t>；治疗</a:t>
                      </a:r>
                      <a:r>
                        <a:rPr lang="en-US" altLang="zh-CN" sz="1200">
                          <a:solidFill>
                            <a:srgbClr val="000000"/>
                          </a:solidFill>
                          <a:latin typeface="+mj-ea"/>
                          <a:ea typeface="+mj-ea"/>
                        </a:rPr>
                        <a:t>CRE</a:t>
                      </a:r>
                      <a:r>
                        <a:rPr lang="zh-CN" altLang="en-US" sz="1200">
                          <a:solidFill>
                            <a:srgbClr val="000000"/>
                          </a:solidFill>
                          <a:latin typeface="+mj-ea"/>
                          <a:ea typeface="+mj-ea"/>
                        </a:rPr>
                        <a:t>感染需联合用药</a:t>
                      </a:r>
                      <a:r>
                        <a:rPr lang="en-US" altLang="zh-CN" sz="1200" baseline="30000">
                          <a:solidFill>
                            <a:srgbClr val="000000"/>
                          </a:solidFill>
                          <a:latin typeface="+mj-ea"/>
                          <a:ea typeface="+mj-ea"/>
                        </a:rPr>
                        <a:t>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血药浓度较低</a:t>
                      </a:r>
                      <a:r>
                        <a:rPr lang="en-US" altLang="zh-CN" sz="1200" kern="1200" baseline="30000">
                          <a:solidFill>
                            <a:srgbClr val="000000"/>
                          </a:solidFill>
                          <a:latin typeface="+mj-ea"/>
                          <a:ea typeface="+mn-ea"/>
                          <a:cs typeface="+mn-cs"/>
                        </a:rPr>
                        <a:t>8</a:t>
                      </a:r>
                      <a:r>
                        <a:rPr lang="zh-CN" altLang="en-US" sz="1200">
                          <a:solidFill>
                            <a:srgbClr val="000000"/>
                          </a:solidFill>
                          <a:latin typeface="+mj-ea"/>
                          <a:ea typeface="+mj-ea"/>
                        </a:rPr>
                        <a:t>，需联合应用</a:t>
                      </a:r>
                      <a:r>
                        <a:rPr lang="en-US" altLang="zh-CN" sz="1200" baseline="30000">
                          <a:solidFill>
                            <a:srgbClr val="000000"/>
                          </a:solidFill>
                          <a:latin typeface="+mj-ea"/>
                          <a:ea typeface="+mj-ea"/>
                        </a:rPr>
                        <a:t>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对</a:t>
                      </a:r>
                      <a:r>
                        <a:rPr lang="en-US" altLang="zh-CN" sz="1200">
                          <a:solidFill>
                            <a:srgbClr val="000000"/>
                          </a:solidFill>
                          <a:latin typeface="+mj-ea"/>
                          <a:ea typeface="+mj-ea"/>
                        </a:rPr>
                        <a:t>MBL</a:t>
                      </a:r>
                      <a:r>
                        <a:rPr lang="zh-CN" altLang="en-US" sz="1200">
                          <a:solidFill>
                            <a:srgbClr val="000000"/>
                          </a:solidFill>
                          <a:latin typeface="+mj-ea"/>
                          <a:ea typeface="+mj-ea"/>
                        </a:rPr>
                        <a:t>菌株感染无效</a:t>
                      </a:r>
                      <a:r>
                        <a:rPr lang="en-US" altLang="zh-CN" sz="1200" baseline="30000">
                          <a:solidFill>
                            <a:srgbClr val="000000"/>
                          </a:solidFill>
                          <a:latin typeface="+mj-ea"/>
                          <a:ea typeface="+mj-ea"/>
                        </a:rPr>
                        <a:t>11</a:t>
                      </a:r>
                      <a:r>
                        <a:rPr lang="zh-CN" altLang="en-US" sz="1200">
                          <a:solidFill>
                            <a:srgbClr val="000000"/>
                          </a:solidFill>
                          <a:latin typeface="+mj-ea"/>
                          <a:ea typeface="+mj-ea"/>
                        </a:rPr>
                        <a:t>，</a:t>
                      </a:r>
                      <a:r>
                        <a:rPr lang="en-US" altLang="zh-CN" sz="1200">
                          <a:solidFill>
                            <a:srgbClr val="000000"/>
                          </a:solidFill>
                          <a:latin typeface="+mj-ea"/>
                          <a:ea typeface="+mj-ea"/>
                        </a:rPr>
                        <a:t>CRE</a:t>
                      </a:r>
                      <a:r>
                        <a:rPr lang="zh-CN" altLang="en-US" sz="1200">
                          <a:solidFill>
                            <a:srgbClr val="000000"/>
                          </a:solidFill>
                          <a:latin typeface="+mj-ea"/>
                          <a:ea typeface="+mj-ea"/>
                        </a:rPr>
                        <a:t>耐药发生率高于其他新型</a:t>
                      </a:r>
                      <a:r>
                        <a:rPr lang="en-US" altLang="zh-CN" sz="1200">
                          <a:solidFill>
                            <a:srgbClr val="000000"/>
                          </a:solidFill>
                          <a:latin typeface="+mj-ea"/>
                          <a:ea typeface="+mj-ea"/>
                        </a:rPr>
                        <a:t>β-</a:t>
                      </a:r>
                      <a:r>
                        <a:rPr lang="zh-CN" altLang="en-US" sz="1200">
                          <a:solidFill>
                            <a:srgbClr val="000000"/>
                          </a:solidFill>
                          <a:latin typeface="+mj-ea"/>
                          <a:ea typeface="+mj-ea"/>
                        </a:rPr>
                        <a:t>内酰胺类药物</a:t>
                      </a:r>
                      <a:r>
                        <a:rPr lang="en-US" altLang="zh-CN" sz="1200" baseline="30000">
                          <a:solidFill>
                            <a:srgbClr val="000000"/>
                          </a:solidFill>
                          <a:latin typeface="+mj-ea"/>
                          <a:ea typeface="+mj-ea"/>
                        </a:rPr>
                        <a:t>12</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34315">
                <a:tc>
                  <a:txBody>
                    <a:bodyPr/>
                    <a:lstStyle/>
                    <a:p>
                      <a:pPr algn="ctr">
                        <a:lnSpc>
                          <a:spcPct val="100000"/>
                        </a:lnSpc>
                      </a:pPr>
                      <a:r>
                        <a:rPr lang="en-US" altLang="zh-CN" sz="1200">
                          <a:solidFill>
                            <a:srgbClr val="000000"/>
                          </a:solidFill>
                          <a:latin typeface="+mj-ea"/>
                          <a:ea typeface="+mj-ea"/>
                        </a:rPr>
                        <a:t>KPC</a:t>
                      </a:r>
                      <a:r>
                        <a:rPr lang="zh-CN" altLang="en-US" sz="1200">
                          <a:solidFill>
                            <a:srgbClr val="000000"/>
                          </a:solidFill>
                          <a:latin typeface="+mj-ea"/>
                          <a:ea typeface="+mj-ea"/>
                        </a:rPr>
                        <a:t>耐药情况</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受黏菌素耐药基因影响，易发生耐药</a:t>
                      </a:r>
                      <a:r>
                        <a:rPr lang="en-US" altLang="zh-CN" sz="1200" baseline="30000">
                          <a:solidFill>
                            <a:srgbClr val="000000"/>
                          </a:solidFill>
                          <a:latin typeface="+mj-ea"/>
                          <a:ea typeface="+mj-ea"/>
                        </a:rPr>
                        <a:t>5</a:t>
                      </a: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a:t>
                      </a:r>
                      <a:r>
                        <a:rPr lang="zh-CN" altLang="en-US" sz="1200" b="1">
                          <a:solidFill>
                            <a:srgbClr val="000000"/>
                          </a:solidFill>
                          <a:latin typeface="+mj-ea"/>
                          <a:ea typeface="+mj-ea"/>
                        </a:rPr>
                        <a:t>耐药率为</a:t>
                      </a:r>
                      <a:r>
                        <a:rPr lang="en-US" altLang="zh-CN" sz="1200" b="1">
                          <a:solidFill>
                            <a:srgbClr val="000000"/>
                          </a:solidFill>
                          <a:latin typeface="+mj-ea"/>
                          <a:ea typeface="+mj-ea"/>
                        </a:rPr>
                        <a:t>30.4%</a:t>
                      </a:r>
                      <a:r>
                        <a:rPr lang="en-US" altLang="zh-CN" sz="1200" b="1" baseline="30000">
                          <a:solidFill>
                            <a:srgbClr val="000000"/>
                          </a:solidFill>
                          <a:latin typeface="+mj-ea"/>
                          <a:ea typeface="+mj-ea"/>
                        </a:rPr>
                        <a:t>6</a:t>
                      </a:r>
                      <a:endParaRPr lang="zh-CN" altLang="en-US" sz="1200" b="1"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对磷霉素</a:t>
                      </a:r>
                      <a:r>
                        <a:rPr lang="zh-CN" altLang="en-US" sz="1200" b="1">
                          <a:solidFill>
                            <a:srgbClr val="000000"/>
                          </a:solidFill>
                          <a:latin typeface="+mj-ea"/>
                          <a:ea typeface="+mj-ea"/>
                        </a:rPr>
                        <a:t>耐药率为</a:t>
                      </a:r>
                      <a:r>
                        <a:rPr lang="en-US" altLang="zh-CN" sz="1200" b="1">
                          <a:solidFill>
                            <a:srgbClr val="000000"/>
                          </a:solidFill>
                          <a:latin typeface="+mj-ea"/>
                          <a:ea typeface="+mj-ea"/>
                        </a:rPr>
                        <a:t>79.6%</a:t>
                      </a:r>
                      <a:r>
                        <a:rPr lang="en-US" altLang="zh-CN" sz="1200" b="1" baseline="30000">
                          <a:solidFill>
                            <a:srgbClr val="000000"/>
                          </a:solidFill>
                          <a:latin typeface="+mj-ea"/>
                          <a:ea typeface="+mj-ea"/>
                        </a:rPr>
                        <a:t>6</a:t>
                      </a:r>
                      <a:endParaRPr lang="zh-CN" altLang="en-US" sz="1200" b="1"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kern="1200">
                          <a:solidFill>
                            <a:srgbClr val="000000"/>
                          </a:solidFill>
                          <a:latin typeface="+mj-ea"/>
                          <a:ea typeface="+mn-ea"/>
                          <a:cs typeface="+mn-cs"/>
                        </a:rPr>
                        <a:t>产</a:t>
                      </a:r>
                      <a:r>
                        <a:rPr lang="en-US" altLang="zh-CN" sz="1200" kern="1200">
                          <a:solidFill>
                            <a:srgbClr val="000000"/>
                          </a:solidFill>
                          <a:latin typeface="+mj-ea"/>
                          <a:ea typeface="+mn-ea"/>
                          <a:cs typeface="+mn-cs"/>
                        </a:rPr>
                        <a:t>KPC</a:t>
                      </a:r>
                      <a:r>
                        <a:rPr lang="zh-CN" altLang="en-US" sz="1200" kern="1200">
                          <a:solidFill>
                            <a:srgbClr val="000000"/>
                          </a:solidFill>
                          <a:latin typeface="+mj-ea"/>
                          <a:ea typeface="+mn-ea"/>
                          <a:cs typeface="+mn-cs"/>
                        </a:rPr>
                        <a:t>酶菌株敏感率为</a:t>
                      </a:r>
                      <a:r>
                        <a:rPr lang="en-US" altLang="zh-CN" sz="1200" kern="1200">
                          <a:solidFill>
                            <a:srgbClr val="000000"/>
                          </a:solidFill>
                          <a:latin typeface="+mj-ea"/>
                          <a:ea typeface="+mn-ea"/>
                          <a:cs typeface="+mn-cs"/>
                        </a:rPr>
                        <a:t>95.5%</a:t>
                      </a:r>
                      <a:r>
                        <a:rPr lang="en-US" altLang="zh-CN" sz="1200" b="1" kern="1200" baseline="30000">
                          <a:solidFill>
                            <a:srgbClr val="000000"/>
                          </a:solidFill>
                          <a:latin typeface="+mj-ea"/>
                          <a:ea typeface="+mn-ea"/>
                          <a:cs typeface="+mn-cs"/>
                        </a:rPr>
                        <a:t>6</a:t>
                      </a:r>
                      <a:endParaRPr lang="zh-CN" altLang="en-US" sz="1200" kern="1200">
                        <a:solidFill>
                          <a:srgbClr val="000000"/>
                        </a:solidFill>
                        <a:latin typeface="+mj-ea"/>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敏感率为</a:t>
                      </a:r>
                      <a:r>
                        <a:rPr lang="en-US" altLang="zh-CN" sz="1200">
                          <a:solidFill>
                            <a:srgbClr val="000000"/>
                          </a:solidFill>
                          <a:latin typeface="+mj-ea"/>
                          <a:ea typeface="+mj-ea"/>
                        </a:rPr>
                        <a:t>97.1%</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643192">
                <a:tc>
                  <a:txBody>
                    <a:bodyPr/>
                    <a:lstStyle/>
                    <a:p>
                      <a:pPr algn="ctr">
                        <a:lnSpc>
                          <a:spcPct val="100000"/>
                        </a:lnSpc>
                      </a:pPr>
                      <a:r>
                        <a:rPr lang="en-US" altLang="zh-CN" sz="1200">
                          <a:solidFill>
                            <a:srgbClr val="000000"/>
                          </a:solidFill>
                          <a:latin typeface="+mj-ea"/>
                          <a:ea typeface="+mj-ea"/>
                        </a:rPr>
                        <a:t>MBL</a:t>
                      </a:r>
                      <a:r>
                        <a:rPr lang="zh-CN" altLang="en-US" sz="1200">
                          <a:solidFill>
                            <a:srgbClr val="000000"/>
                          </a:solidFill>
                          <a:latin typeface="+mj-ea"/>
                          <a:ea typeface="+mj-ea"/>
                        </a:rPr>
                        <a:t>耐药情况</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敏感率为</a:t>
                      </a:r>
                      <a:r>
                        <a:rPr lang="en-US" altLang="zh-CN" sz="1200">
                          <a:solidFill>
                            <a:srgbClr val="000000"/>
                          </a:solidFill>
                          <a:latin typeface="+mj-ea"/>
                          <a:ea typeface="+mj-ea"/>
                        </a:rPr>
                        <a:t>94.8%</a:t>
                      </a:r>
                      <a:r>
                        <a:rPr lang="en-US" altLang="zh-CN" sz="1200" baseline="30000">
                          <a:solidFill>
                            <a:srgbClr val="000000"/>
                          </a:solidFill>
                          <a:latin typeface="+mj-ea"/>
                          <a:ea typeface="+mj-ea"/>
                        </a:rPr>
                        <a:t>6</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对磷霉素</a:t>
                      </a:r>
                      <a:r>
                        <a:rPr lang="zh-CN" altLang="en-US" sz="1200" b="1">
                          <a:solidFill>
                            <a:srgbClr val="000000"/>
                          </a:solidFill>
                          <a:latin typeface="+mj-ea"/>
                          <a:ea typeface="+mj-ea"/>
                        </a:rPr>
                        <a:t>耐药率为</a:t>
                      </a:r>
                      <a:r>
                        <a:rPr lang="en-US" altLang="zh-CN" sz="1200" b="1">
                          <a:solidFill>
                            <a:srgbClr val="000000"/>
                          </a:solidFill>
                          <a:latin typeface="+mj-ea"/>
                          <a:ea typeface="+mj-ea"/>
                        </a:rPr>
                        <a:t>52.5%</a:t>
                      </a:r>
                      <a:r>
                        <a:rPr lang="en-US" altLang="zh-CN" sz="1200" b="1" kern="1200" baseline="30000">
                          <a:solidFill>
                            <a:srgbClr val="000000"/>
                          </a:solidFill>
                          <a:latin typeface="+mj-ea"/>
                          <a:ea typeface="+mn-ea"/>
                          <a:cs typeface="+mn-cs"/>
                        </a:rPr>
                        <a:t>6</a:t>
                      </a:r>
                      <a:endParaRPr lang="zh-CN" altLang="en-US" sz="1200" b="1">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敏感率为</a:t>
                      </a:r>
                      <a:r>
                        <a:rPr lang="en-US" altLang="zh-CN" sz="1200">
                          <a:solidFill>
                            <a:srgbClr val="000000"/>
                          </a:solidFill>
                          <a:latin typeface="+mj-ea"/>
                          <a:ea typeface="+mj-ea"/>
                        </a:rPr>
                        <a:t>94.6%</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a:t>
                      </a:r>
                      <a:r>
                        <a:rPr lang="zh-CN" altLang="en-US" sz="1200" b="1">
                          <a:solidFill>
                            <a:srgbClr val="000000"/>
                          </a:solidFill>
                          <a:latin typeface="+mj-ea"/>
                          <a:ea typeface="+mj-ea"/>
                        </a:rPr>
                        <a:t>高度耐药</a:t>
                      </a:r>
                      <a:r>
                        <a:rPr lang="zh-CN" altLang="en-US" sz="1200">
                          <a:solidFill>
                            <a:srgbClr val="000000"/>
                          </a:solidFill>
                          <a:latin typeface="+mj-ea"/>
                          <a:ea typeface="+mj-ea"/>
                        </a:rPr>
                        <a:t>，耐药率为</a:t>
                      </a:r>
                      <a:r>
                        <a:rPr lang="en-US" altLang="zh-CN" sz="1200">
                          <a:solidFill>
                            <a:srgbClr val="000000"/>
                          </a:solidFill>
                          <a:latin typeface="+mj-ea"/>
                          <a:ea typeface="+mj-ea"/>
                        </a:rPr>
                        <a:t>98.6%</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sp>
        <p:nvSpPr>
          <p:cNvPr id="15" name="文本框 14"/>
          <p:cNvSpPr txBox="1"/>
          <p:nvPr/>
        </p:nvSpPr>
        <p:spPr>
          <a:xfrm>
            <a:off x="479425" y="5971698"/>
            <a:ext cx="11233150" cy="246221"/>
          </a:xfrm>
          <a:prstGeom prst="rect">
            <a:avLst/>
          </a:prstGeom>
          <a:noFill/>
        </p:spPr>
        <p:txBody>
          <a:bodyPr wrap="square" lIns="0" rIns="0" rtlCol="0" anchor="b">
            <a:spAutoFit/>
          </a:bodyPr>
          <a:lstStyle/>
          <a:p>
            <a:r>
              <a:rPr lang="zh-CN" altLang="en-US" sz="1000"/>
              <a:t>*替加环素可用于部分</a:t>
            </a:r>
            <a:r>
              <a:rPr lang="en-US" altLang="zh-CN" sz="1000"/>
              <a:t>CRE</a:t>
            </a:r>
            <a:r>
              <a:rPr lang="zh-CN" altLang="en-US" sz="1000"/>
              <a:t>所致的复杂性腹腔内感染、复杂性皮肤和皮肤软组织感染，临床使用请参考</a:t>
            </a:r>
            <a:r>
              <a:rPr lang="en-US" altLang="zh-CN" sz="1000"/>
              <a:t>NMPA</a:t>
            </a:r>
            <a:r>
              <a:rPr lang="zh-CN" altLang="en-US" sz="1000"/>
              <a:t>批准说明书 </a:t>
            </a:r>
            <a:endParaRPr lang="zh-CN" altLang="en-US" sz="1000"/>
          </a:p>
        </p:txBody>
      </p:sp>
      <p:sp>
        <p:nvSpPr>
          <p:cNvPr id="16" name="文本框 15"/>
          <p:cNvSpPr txBox="1"/>
          <p:nvPr/>
        </p:nvSpPr>
        <p:spPr>
          <a:xfrm>
            <a:off x="479425" y="5762124"/>
            <a:ext cx="11233150" cy="246221"/>
          </a:xfrm>
          <a:prstGeom prst="rect">
            <a:avLst/>
          </a:prstGeom>
          <a:noFill/>
        </p:spPr>
        <p:txBody>
          <a:bodyPr wrap="square" lIns="0" rIns="0" rtlCol="0" anchor="b">
            <a:spAutoFit/>
          </a:bodyPr>
          <a:lstStyle/>
          <a:p>
            <a:r>
              <a:rPr lang="en-US" altLang="zh-CN" sz="1000"/>
              <a:t>MBL</a:t>
            </a:r>
            <a:r>
              <a:rPr lang="zh-CN" altLang="en-US" sz="1000"/>
              <a:t>，金属</a:t>
            </a:r>
            <a:r>
              <a:rPr lang="en-US" altLang="zh-CN" sz="1000"/>
              <a:t>β-</a:t>
            </a:r>
            <a:r>
              <a:rPr lang="zh-CN" altLang="en-US" sz="1000"/>
              <a:t>内酰胺酶 ；</a:t>
            </a:r>
            <a:r>
              <a:rPr lang="en-US" altLang="zh-CN" sz="1000"/>
              <a:t>KPC</a:t>
            </a:r>
            <a:r>
              <a:rPr lang="zh-CN" altLang="en-US" sz="1000"/>
              <a:t>，肺炎克雷伯菌碳青霉烯酶</a:t>
            </a:r>
            <a:endParaRPr lang="zh-CN" altLang="en-US" sz="1000"/>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a:t>多项指南推荐氨曲南联合头孢他啶</a:t>
            </a:r>
            <a:r>
              <a:rPr lang="en-US" altLang="zh-CN"/>
              <a:t>-</a:t>
            </a:r>
            <a:r>
              <a:rPr lang="zh-CN" altLang="en-US"/>
              <a:t>阿维巴坦*治疗</a:t>
            </a:r>
            <a:r>
              <a:rPr lang="en-US" altLang="zh-CN"/>
              <a:t>CRE/MBL</a:t>
            </a:r>
            <a:r>
              <a:rPr lang="zh-CN" altLang="en-US"/>
              <a:t>及</a:t>
            </a:r>
            <a:r>
              <a:rPr lang="en-US" altLang="zh-CN"/>
              <a:t>SMA</a:t>
            </a:r>
            <a:r>
              <a:rPr lang="zh-CN" altLang="en-US"/>
              <a:t>，但临床证据质量低，且可能进一步加剧多重耐药菌株风险</a:t>
            </a:r>
            <a:endParaRPr lang="zh-CN" altLang="en-US"/>
          </a:p>
        </p:txBody>
      </p:sp>
      <p:sp>
        <p:nvSpPr>
          <p:cNvPr id="15" name="文本占位符 7"/>
          <p:cNvSpPr>
            <a:spLocks noGrp="1"/>
          </p:cNvSpPr>
          <p:nvPr>
            <p:ph type="body" sz="quarter" idx="10"/>
          </p:nvPr>
        </p:nvSpPr>
        <p:spPr>
          <a:xfrm>
            <a:off x="479425" y="6039485"/>
            <a:ext cx="9164320" cy="755650"/>
          </a:xfrm>
        </p:spPr>
        <p:txBody>
          <a:bodyPr numCol="3"/>
          <a:lstStyle/>
          <a:p>
            <a:r>
              <a:rPr lang="en-US" altLang="zh-CN" sz="700"/>
              <a:t>Paul M, et al. Clin </a:t>
            </a:r>
            <a:r>
              <a:rPr lang="en-US" altLang="zh-CN" sz="700" err="1"/>
              <a:t>Microbiol</a:t>
            </a:r>
            <a:r>
              <a:rPr lang="en-US" altLang="zh-CN" sz="700"/>
              <a:t> Infect. 2022;28(4):521-547.</a:t>
            </a:r>
            <a:endParaRPr lang="en-US" altLang="zh-CN" sz="700"/>
          </a:p>
          <a:p>
            <a:r>
              <a:rPr lang="en-US" altLang="zh-CN" sz="700"/>
              <a:t>Tamma PD, et al. Clin Infect Dis. Published online August 7, 2024.</a:t>
            </a:r>
            <a:endParaRPr lang="en-US" altLang="zh-CN" sz="700"/>
          </a:p>
          <a:p>
            <a:r>
              <a:rPr lang="zh-CN" altLang="en-US" sz="700"/>
              <a:t>曾玫</a:t>
            </a:r>
            <a:r>
              <a:rPr lang="en-US" altLang="zh-CN" sz="700"/>
              <a:t>,</a:t>
            </a:r>
            <a:r>
              <a:rPr lang="zh-CN" altLang="en-US" sz="700"/>
              <a:t>等</a:t>
            </a:r>
            <a:r>
              <a:rPr lang="en-US" altLang="zh-CN" sz="700"/>
              <a:t>. </a:t>
            </a:r>
            <a:r>
              <a:rPr lang="zh-CN" altLang="en-US" sz="700"/>
              <a:t>中国感染与化疗杂志</a:t>
            </a:r>
            <a:r>
              <a:rPr lang="en-US" altLang="zh-CN" sz="700"/>
              <a:t>,2024,24(02)</a:t>
            </a:r>
            <a:r>
              <a:rPr lang="zh-CN" altLang="en-US" sz="700"/>
              <a:t>：</a:t>
            </a:r>
            <a:r>
              <a:rPr lang="en-US" altLang="zh-CN" sz="700"/>
              <a:t>135-151.</a:t>
            </a:r>
            <a:endParaRPr lang="en-US" altLang="zh-CN" sz="700"/>
          </a:p>
          <a:p>
            <a:r>
              <a:rPr lang="zh-CN" altLang="en-US" sz="700"/>
              <a:t>中华医学会血液学分会</a:t>
            </a:r>
            <a:r>
              <a:rPr lang="en-US" altLang="zh-CN" sz="700"/>
              <a:t>, </a:t>
            </a:r>
            <a:r>
              <a:rPr lang="zh-CN" altLang="en-US" sz="700"/>
              <a:t>等</a:t>
            </a:r>
            <a:r>
              <a:rPr lang="en-US" altLang="zh-CN" sz="700"/>
              <a:t>. </a:t>
            </a:r>
            <a:r>
              <a:rPr lang="zh-CN" altLang="en-US" sz="700"/>
              <a:t>中华血液学杂志</a:t>
            </a:r>
            <a:r>
              <a:rPr lang="en-US" altLang="zh-CN" sz="700"/>
              <a:t>, 2025, 46(6) : 390-402. </a:t>
            </a:r>
            <a:endParaRPr lang="en-US" altLang="zh-CN" sz="700"/>
          </a:p>
          <a:p>
            <a:r>
              <a:rPr lang="en-US" altLang="zh-CN" sz="700"/>
              <a:t>Das S, et al. </a:t>
            </a:r>
            <a:r>
              <a:rPr lang="en-US" altLang="zh-CN" sz="700" err="1"/>
              <a:t>Eur</a:t>
            </a:r>
            <a:r>
              <a:rPr lang="en-US" altLang="zh-CN" sz="700"/>
              <a:t> J Clin </a:t>
            </a:r>
            <a:r>
              <a:rPr lang="en-US" altLang="zh-CN" sz="700" err="1"/>
              <a:t>Pharmacol</a:t>
            </a:r>
            <a:r>
              <a:rPr lang="en-US" altLang="zh-CN" sz="700"/>
              <a:t>. 2024 Apr;80(4):529-543.</a:t>
            </a:r>
            <a:endParaRPr lang="en-US" altLang="zh-CN" sz="700"/>
          </a:p>
          <a:p>
            <a:r>
              <a:rPr lang="en-US" altLang="zh-CN" sz="700"/>
              <a:t>Sempere A, et al. </a:t>
            </a:r>
            <a:r>
              <a:rPr lang="en-US" altLang="zh-CN" sz="700" err="1"/>
              <a:t>Antimicrob</a:t>
            </a:r>
            <a:r>
              <a:rPr lang="en-US" altLang="zh-CN" sz="700"/>
              <a:t> Agents </a:t>
            </a:r>
            <a:r>
              <a:rPr lang="en-US" altLang="zh-CN" sz="700" err="1"/>
              <a:t>Chemother</a:t>
            </a:r>
            <a:r>
              <a:rPr lang="en-US" altLang="zh-CN" sz="700"/>
              <a:t>. 2022 Oct 18;66(10):e0075122.</a:t>
            </a:r>
            <a:endParaRPr lang="en-US" altLang="zh-CN" sz="700"/>
          </a:p>
          <a:p>
            <a:r>
              <a:rPr lang="en-US" altLang="zh-CN" sz="700"/>
              <a:t>https://clinicaltrials.gov/study/NCT03978091 </a:t>
            </a:r>
            <a:r>
              <a:rPr lang="zh-CN" altLang="en-US" sz="700"/>
              <a:t>标题</a:t>
            </a:r>
            <a:r>
              <a:rPr lang="en-US" altLang="zh-CN" sz="700"/>
              <a:t>. Available at: </a:t>
            </a:r>
            <a:r>
              <a:rPr lang="zh-CN" altLang="en-US" sz="700"/>
              <a:t>网址</a:t>
            </a:r>
            <a:r>
              <a:rPr lang="en-US" altLang="zh-CN" sz="700"/>
              <a:t>. Accessed on October 2025</a:t>
            </a:r>
            <a:endParaRPr lang="en-US" altLang="zh-CN" sz="700"/>
          </a:p>
        </p:txBody>
      </p:sp>
      <p:graphicFrame>
        <p:nvGraphicFramePr>
          <p:cNvPr id="18" name="表格 17"/>
          <p:cNvGraphicFramePr>
            <a:graphicFrameLocks noGrp="1"/>
          </p:cNvGraphicFramePr>
          <p:nvPr/>
        </p:nvGraphicFramePr>
        <p:xfrm>
          <a:off x="479424" y="1089025"/>
          <a:ext cx="6232272" cy="4808855"/>
        </p:xfrm>
        <a:graphic>
          <a:graphicData uri="http://schemas.openxmlformats.org/drawingml/2006/table">
            <a:tbl>
              <a:tblPr firstRow="1" bandRow="1">
                <a:effectLst>
                  <a:outerShdw blurRad="63500" algn="ctr" rotWithShape="0">
                    <a:schemeClr val="accent1">
                      <a:alpha val="20000"/>
                    </a:schemeClr>
                  </a:outerShdw>
                </a:effectLst>
                <a:tableStyleId>{00A15C55-8517-42AA-B614-E9B94910E393}</a:tableStyleId>
              </a:tblPr>
              <a:tblGrid>
                <a:gridCol w="2336928"/>
                <a:gridCol w="3895344"/>
              </a:tblGrid>
              <a:tr h="461075">
                <a:tc>
                  <a:txBody>
                    <a:bodyPr/>
                    <a:lstStyle/>
                    <a:p>
                      <a:pPr algn="ctr"/>
                      <a:r>
                        <a:rPr lang="zh-CN" altLang="en-US" sz="1600">
                          <a:solidFill>
                            <a:schemeClr val="bg1"/>
                          </a:solidFill>
                        </a:rPr>
                        <a:t>指南</a:t>
                      </a:r>
                      <a:endParaRPr lang="zh-CN" altLang="en-US" sz="1600">
                        <a:solidFill>
                          <a:schemeClr val="bg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flip="none" rotWithShape="1">
                      <a:gsLst>
                        <a:gs pos="0">
                          <a:schemeClr val="accent1">
                            <a:lumMod val="75000"/>
                          </a:schemeClr>
                        </a:gs>
                        <a:gs pos="100000">
                          <a:schemeClr val="accent1"/>
                        </a:gs>
                      </a:gsLst>
                      <a:lin ang="5400000" scaled="1"/>
                      <a:tileRect/>
                    </a:gradFill>
                  </a:tcPr>
                </a:tc>
                <a:tc>
                  <a:txBody>
                    <a:bodyPr/>
                    <a:lstStyle/>
                    <a:p>
                      <a:pPr algn="ctr"/>
                      <a:r>
                        <a:rPr lang="zh-CN" altLang="en-US" sz="1600">
                          <a:solidFill>
                            <a:schemeClr val="bg1"/>
                          </a:solidFill>
                        </a:rPr>
                        <a:t>推荐内容</a:t>
                      </a:r>
                      <a:endParaRPr lang="zh-CN" altLang="en-US" sz="1600">
                        <a:solidFill>
                          <a:schemeClr val="bg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flip="none" rotWithShape="1">
                      <a:gsLst>
                        <a:gs pos="0">
                          <a:schemeClr val="accent1">
                            <a:lumMod val="75000"/>
                          </a:schemeClr>
                        </a:gs>
                        <a:gs pos="100000">
                          <a:schemeClr val="accent1"/>
                        </a:gs>
                      </a:gsLst>
                      <a:lin ang="5400000" scaled="1"/>
                      <a:tileRect/>
                    </a:gradFill>
                  </a:tcPr>
                </a:tc>
              </a:tr>
              <a:tr h="1105373">
                <a:tc>
                  <a:txBody>
                    <a:bodyPr/>
                    <a:lstStyle/>
                    <a:p>
                      <a:pPr algn="ctr">
                        <a:lnSpc>
                          <a:spcPct val="150000"/>
                        </a:lnSpc>
                      </a:pPr>
                      <a:r>
                        <a:rPr lang="zh-CN" altLang="en-US" sz="1200">
                          <a:latin typeface="+mn-ea"/>
                          <a:ea typeface="+mn-ea"/>
                        </a:rPr>
                        <a:t>欧洲临床微生物学和传染病学会 （</a:t>
                      </a:r>
                      <a:r>
                        <a:rPr lang="en-US" altLang="zh-CN" sz="1200">
                          <a:latin typeface="+mn-ea"/>
                          <a:ea typeface="+mn-ea"/>
                        </a:rPr>
                        <a:t>ESCMID</a:t>
                      </a:r>
                      <a:r>
                        <a:rPr lang="zh-CN" altLang="en-US" sz="1200">
                          <a:latin typeface="+mn-ea"/>
                          <a:ea typeface="+mn-ea"/>
                        </a:rPr>
                        <a:t>） 指南（</a:t>
                      </a:r>
                      <a:r>
                        <a:rPr lang="en-US" altLang="zh-CN" sz="1200">
                          <a:latin typeface="+mn-ea"/>
                          <a:ea typeface="+mn-ea"/>
                        </a:rPr>
                        <a:t>2022</a:t>
                      </a:r>
                      <a:r>
                        <a:rPr lang="zh-CN" altLang="en-US" sz="1200">
                          <a:latin typeface="+mn-ea"/>
                          <a:ea typeface="+mn-ea"/>
                        </a:rPr>
                        <a:t>版）</a:t>
                      </a:r>
                      <a:r>
                        <a:rPr lang="en-US" altLang="zh-CN" sz="1200" baseline="30000">
                          <a:latin typeface="+mn-ea"/>
                          <a:ea typeface="+mn-ea"/>
                        </a:rPr>
                        <a:t>1</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buFont typeface="Arial" panose="020B0604020202090204" pitchFamily="34" charset="0"/>
                        <a:buChar char="•"/>
                      </a:pPr>
                      <a:r>
                        <a:rPr lang="zh-CN" altLang="en-US" sz="1200">
                          <a:latin typeface="+mn-ea"/>
                          <a:ea typeface="+mn-ea"/>
                        </a:rPr>
                        <a:t>对于</a:t>
                      </a:r>
                      <a:r>
                        <a:rPr lang="en-US" altLang="zh-CN" sz="1200">
                          <a:latin typeface="+mn-ea"/>
                          <a:ea typeface="+mn-ea"/>
                        </a:rPr>
                        <a:t>CRE-MBL</a:t>
                      </a:r>
                      <a:r>
                        <a:rPr lang="zh-CN" altLang="en-US" sz="1200">
                          <a:latin typeface="+mn-ea"/>
                          <a:ea typeface="+mn-ea"/>
                        </a:rPr>
                        <a:t>引起的严重感染和</a:t>
                      </a:r>
                      <a:r>
                        <a:rPr lang="en-US" altLang="zh-CN" sz="1200">
                          <a:latin typeface="+mn-ea"/>
                          <a:ea typeface="+mn-ea"/>
                        </a:rPr>
                        <a:t>/</a:t>
                      </a:r>
                      <a:r>
                        <a:rPr lang="zh-CN" altLang="en-US" sz="1200">
                          <a:latin typeface="+mn-ea"/>
                          <a:ea typeface="+mn-ea"/>
                        </a:rPr>
                        <a:t>或对新的抗生素单药治疗耐药的患者，建议</a:t>
                      </a:r>
                      <a:r>
                        <a:rPr lang="zh-CN" altLang="en-US" sz="1200" b="1">
                          <a:latin typeface="+mn-ea"/>
                          <a:ea typeface="+mn-ea"/>
                        </a:rPr>
                        <a:t>氨曲南和头孢他啶</a:t>
                      </a:r>
                      <a:r>
                        <a:rPr lang="en-US" altLang="zh-CN" sz="1200" b="1">
                          <a:latin typeface="+mn-ea"/>
                          <a:ea typeface="+mn-ea"/>
                        </a:rPr>
                        <a:t>-</a:t>
                      </a:r>
                      <a:r>
                        <a:rPr lang="zh-CN" altLang="en-US" sz="1200" b="1">
                          <a:latin typeface="+mn-ea"/>
                          <a:ea typeface="+mn-ea"/>
                        </a:rPr>
                        <a:t>阿维巴坦</a:t>
                      </a:r>
                      <a:r>
                        <a:rPr lang="zh-CN" altLang="en-US" sz="1200">
                          <a:latin typeface="+mn-ea"/>
                          <a:ea typeface="+mn-ea"/>
                        </a:rPr>
                        <a:t>联合治疗</a:t>
                      </a:r>
                      <a:endParaRPr lang="zh-CN" altLang="en-US" sz="12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2137034">
                <a:tc>
                  <a:txBody>
                    <a:bodyPr/>
                    <a:lstStyle/>
                    <a:p>
                      <a:pPr algn="ctr">
                        <a:lnSpc>
                          <a:spcPct val="150000"/>
                        </a:lnSpc>
                      </a:pPr>
                      <a:r>
                        <a:rPr lang="zh-CN" altLang="en-US" sz="1200">
                          <a:latin typeface="+mn-ea"/>
                          <a:ea typeface="+mn-ea"/>
                        </a:rPr>
                        <a:t>美国传染病学会（</a:t>
                      </a:r>
                      <a:r>
                        <a:rPr lang="en-US" altLang="zh-CN" sz="1200">
                          <a:latin typeface="+mn-ea"/>
                          <a:ea typeface="+mn-ea"/>
                        </a:rPr>
                        <a:t>IDSA</a:t>
                      </a:r>
                      <a:r>
                        <a:rPr lang="zh-CN" altLang="en-US" sz="1200">
                          <a:latin typeface="+mn-ea"/>
                          <a:ea typeface="+mn-ea"/>
                        </a:rPr>
                        <a:t>）指南（</a:t>
                      </a:r>
                      <a:r>
                        <a:rPr lang="en-US" altLang="zh-CN" sz="1200">
                          <a:latin typeface="+mn-ea"/>
                          <a:ea typeface="+mn-ea"/>
                        </a:rPr>
                        <a:t>2024</a:t>
                      </a:r>
                      <a:r>
                        <a:rPr lang="zh-CN" altLang="en-US" sz="1200">
                          <a:latin typeface="+mn-ea"/>
                          <a:ea typeface="+mn-ea"/>
                        </a:rPr>
                        <a:t>版）</a:t>
                      </a:r>
                      <a:r>
                        <a:rPr lang="en-US" altLang="zh-CN" sz="1200" baseline="30000">
                          <a:latin typeface="+mn-ea"/>
                          <a:ea typeface="+mn-ea"/>
                        </a:rPr>
                        <a:t>2</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spcAft>
                          <a:spcPts val="600"/>
                        </a:spcAft>
                        <a:buFont typeface="Arial" panose="020B0604020202090204" pitchFamily="34" charset="0"/>
                        <a:buChar char="•"/>
                      </a:pPr>
                      <a:r>
                        <a:rPr lang="zh-CN" altLang="en-US" sz="1200">
                          <a:latin typeface="+mn-ea"/>
                          <a:ea typeface="+mn-ea"/>
                        </a:rPr>
                        <a:t>治疗产新德里金属</a:t>
                      </a:r>
                      <a:r>
                        <a:rPr lang="en-US" altLang="zh-CN" sz="1200">
                          <a:latin typeface="+mn-ea"/>
                          <a:ea typeface="+mn-ea"/>
                        </a:rPr>
                        <a:t>-β-</a:t>
                      </a:r>
                      <a:r>
                        <a:rPr lang="zh-CN" altLang="en-US" sz="1200">
                          <a:latin typeface="+mn-ea"/>
                          <a:ea typeface="+mn-ea"/>
                        </a:rPr>
                        <a:t>内酰胺酶（</a:t>
                      </a:r>
                      <a:r>
                        <a:rPr lang="en-US" altLang="zh-CN" sz="1200">
                          <a:latin typeface="+mn-ea"/>
                          <a:ea typeface="+mn-ea"/>
                        </a:rPr>
                        <a:t>NDM</a:t>
                      </a:r>
                      <a:r>
                        <a:rPr lang="zh-CN" altLang="en-US" sz="1200">
                          <a:latin typeface="+mn-ea"/>
                          <a:ea typeface="+mn-ea"/>
                        </a:rPr>
                        <a:t>）或其他金属</a:t>
                      </a:r>
                      <a:r>
                        <a:rPr lang="en-US" altLang="zh-CN" sz="1200">
                          <a:latin typeface="+mn-ea"/>
                          <a:ea typeface="+mn-ea"/>
                        </a:rPr>
                        <a:t>-β-</a:t>
                      </a:r>
                      <a:r>
                        <a:rPr lang="zh-CN" altLang="en-US" sz="1200">
                          <a:latin typeface="+mn-ea"/>
                          <a:ea typeface="+mn-ea"/>
                        </a:rPr>
                        <a:t>内酰胺酶（</a:t>
                      </a:r>
                      <a:r>
                        <a:rPr lang="en-US" altLang="zh-CN" sz="1200">
                          <a:latin typeface="+mn-ea"/>
                          <a:ea typeface="+mn-ea"/>
                        </a:rPr>
                        <a:t>MBL</a:t>
                      </a:r>
                      <a:r>
                        <a:rPr lang="zh-CN" altLang="en-US" sz="1200">
                          <a:latin typeface="+mn-ea"/>
                          <a:ea typeface="+mn-ea"/>
                        </a:rPr>
                        <a:t>）</a:t>
                      </a:r>
                      <a:r>
                        <a:rPr lang="en-US" altLang="zh-CN" sz="1200">
                          <a:latin typeface="+mn-ea"/>
                          <a:ea typeface="+mn-ea"/>
                        </a:rPr>
                        <a:t>CRE</a:t>
                      </a:r>
                      <a:r>
                        <a:rPr lang="zh-CN" altLang="en-US" sz="1200">
                          <a:latin typeface="+mn-ea"/>
                          <a:ea typeface="+mn-ea"/>
                        </a:rPr>
                        <a:t>非尿路感染：首选</a:t>
                      </a: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联合氨曲南</a:t>
                      </a:r>
                      <a:r>
                        <a:rPr lang="zh-CN" altLang="en-US" sz="1200">
                          <a:latin typeface="+mn-ea"/>
                          <a:ea typeface="+mn-ea"/>
                        </a:rPr>
                        <a:t>，或头孢德罗单药治疗</a:t>
                      </a:r>
                      <a:endParaRPr lang="zh-CN" altLang="en-US" sz="1200">
                        <a:latin typeface="+mn-ea"/>
                        <a:ea typeface="+mn-ea"/>
                      </a:endParaRPr>
                    </a:p>
                    <a:p>
                      <a:pPr marL="285750" indent="-285750" algn="l">
                        <a:lnSpc>
                          <a:spcPct val="150000"/>
                        </a:lnSpc>
                        <a:spcAft>
                          <a:spcPts val="600"/>
                        </a:spcAft>
                        <a:buFont typeface="Arial" panose="020B0604020202090204" pitchFamily="34" charset="0"/>
                        <a:buChar char="•"/>
                      </a:pP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和氨曲南</a:t>
                      </a:r>
                      <a:r>
                        <a:rPr lang="zh-CN" altLang="en-US" sz="1200">
                          <a:latin typeface="+mn-ea"/>
                          <a:ea typeface="+mn-ea"/>
                        </a:rPr>
                        <a:t>是嗜麦芽窄食单胞菌感染的首选治疗组合</a:t>
                      </a:r>
                      <a:endParaRPr lang="zh-CN" altLang="en-US" sz="12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05373">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1200">
                          <a:latin typeface="+mn-ea"/>
                          <a:ea typeface="+mn-ea"/>
                        </a:rPr>
                        <a:t>碳青霉烯类耐药革兰阴性菌感染的诊断、治疗及防控指南（</a:t>
                      </a:r>
                      <a:r>
                        <a:rPr lang="en-US" altLang="zh-CN" sz="1200">
                          <a:latin typeface="+mn-ea"/>
                          <a:ea typeface="+mn-ea"/>
                        </a:rPr>
                        <a:t>2024</a:t>
                      </a:r>
                      <a:r>
                        <a:rPr lang="zh-CN" altLang="en-US" sz="1200">
                          <a:latin typeface="+mn-ea"/>
                          <a:ea typeface="+mn-ea"/>
                        </a:rPr>
                        <a:t>版）</a:t>
                      </a:r>
                      <a:r>
                        <a:rPr lang="en-US" altLang="zh-CN" sz="1200" baseline="30000">
                          <a:latin typeface="+mn-ea"/>
                          <a:ea typeface="+mn-ea"/>
                        </a:rPr>
                        <a:t>3</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buFont typeface="Arial" panose="020B0604020202090204" pitchFamily="34" charset="0"/>
                        <a:buChar char="•"/>
                      </a:pPr>
                      <a:r>
                        <a:rPr lang="zh-CN" altLang="en-US" sz="1200">
                          <a:latin typeface="+mn-ea"/>
                          <a:ea typeface="+mn-ea"/>
                        </a:rPr>
                        <a:t>建议优先使用</a:t>
                      </a: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联合氨曲南</a:t>
                      </a:r>
                      <a:r>
                        <a:rPr lang="zh-CN" altLang="en-US" sz="1200">
                          <a:latin typeface="+mn-ea"/>
                          <a:ea typeface="+mn-ea"/>
                        </a:rPr>
                        <a:t>治疗产金属酶的</a:t>
                      </a:r>
                      <a:r>
                        <a:rPr lang="en-US" altLang="zh-CN" sz="1200">
                          <a:latin typeface="+mn-ea"/>
                          <a:ea typeface="+mn-ea"/>
                        </a:rPr>
                        <a:t>CRE</a:t>
                      </a:r>
                      <a:r>
                        <a:rPr lang="zh-CN" altLang="en-US" sz="1200">
                          <a:latin typeface="+mn-ea"/>
                          <a:ea typeface="+mn-ea"/>
                        </a:rPr>
                        <a:t>感染</a:t>
                      </a:r>
                      <a:r>
                        <a:rPr lang="zh-CN" altLang="en-US" sz="1200" b="1">
                          <a:solidFill>
                            <a:schemeClr val="accent1"/>
                          </a:solidFill>
                          <a:latin typeface="+mn-ea"/>
                          <a:ea typeface="+mn-ea"/>
                        </a:rPr>
                        <a:t>（弱推荐，极低质量证据）</a:t>
                      </a:r>
                      <a:endParaRPr lang="zh-CN" altLang="en-US" sz="1200" b="1">
                        <a:solidFill>
                          <a:schemeClr val="accent1"/>
                        </a:solidFill>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pSp>
        <p:nvGrpSpPr>
          <p:cNvPr id="49" name="组合 48"/>
          <p:cNvGrpSpPr/>
          <p:nvPr/>
        </p:nvGrpSpPr>
        <p:grpSpPr>
          <a:xfrm>
            <a:off x="6995159" y="1089024"/>
            <a:ext cx="4717416" cy="1096391"/>
            <a:chOff x="6995159" y="1089024"/>
            <a:chExt cx="4717416" cy="1096391"/>
          </a:xfrm>
        </p:grpSpPr>
        <p:sp>
          <p:nvSpPr>
            <p:cNvPr id="19" name="矩形: 圆角 18"/>
            <p:cNvSpPr/>
            <p:nvPr/>
          </p:nvSpPr>
          <p:spPr>
            <a:xfrm>
              <a:off x="7402068" y="1089024"/>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7909559" y="1157248"/>
              <a:ext cx="3803015" cy="959943"/>
            </a:xfrm>
            <a:prstGeom prst="rect">
              <a:avLst/>
            </a:prstGeom>
            <a:noFill/>
          </p:spPr>
          <p:txBody>
            <a:bodyPr wrap="square">
              <a:spAutoFit/>
            </a:bodyPr>
            <a:lstStyle/>
            <a:p>
              <a:pPr lvl="0">
                <a:lnSpc>
                  <a:spcPct val="120000"/>
                </a:lnSpc>
                <a:defRPr/>
              </a:pPr>
              <a:r>
                <a:rPr lang="zh-CN" altLang="en-US" sz="1200" b="0" i="0">
                  <a:effectLst/>
                  <a:latin typeface="+mn-ea"/>
                </a:rPr>
                <a:t>根据</a:t>
              </a:r>
              <a:r>
                <a:rPr lang="en-US" altLang="zh-CN" sz="1200" b="0" i="0">
                  <a:effectLst/>
                  <a:latin typeface="+mn-ea"/>
                </a:rPr>
                <a:t>IDSA</a:t>
              </a:r>
              <a:r>
                <a:rPr lang="zh-CN" altLang="en-US" sz="1200" b="0" i="0">
                  <a:effectLst/>
                  <a:latin typeface="+mn-ea"/>
                </a:rPr>
                <a:t>的推荐剂量联合使用</a:t>
              </a:r>
              <a:r>
                <a:rPr lang="en-US" altLang="zh-CN" sz="1200" b="0" i="0">
                  <a:effectLst/>
                  <a:latin typeface="+mn-ea"/>
                </a:rPr>
                <a:t>ATM</a:t>
              </a:r>
              <a:r>
                <a:rPr lang="zh-CN" altLang="en-US" sz="1200" b="0" i="0">
                  <a:effectLst/>
                  <a:latin typeface="+mn-ea"/>
                </a:rPr>
                <a:t>与</a:t>
              </a:r>
              <a:r>
                <a:rPr lang="en-US" altLang="zh-CN" sz="1200" b="0" i="0">
                  <a:effectLst/>
                  <a:latin typeface="+mn-ea"/>
                </a:rPr>
                <a:t>CAZ-AVI</a:t>
              </a:r>
              <a:r>
                <a:rPr lang="zh-CN" altLang="en-US" sz="1200" b="0" i="0">
                  <a:effectLst/>
                  <a:latin typeface="+mn-ea"/>
                </a:rPr>
                <a:t>，无法达到足够的</a:t>
              </a:r>
              <a:r>
                <a:rPr lang="en-US" altLang="zh-CN" sz="1200" b="0" i="0">
                  <a:effectLst/>
                  <a:latin typeface="+mn-ea"/>
                </a:rPr>
                <a:t>AVI</a:t>
              </a:r>
              <a:r>
                <a:rPr lang="zh-CN" altLang="en-US" sz="1200" b="0" i="0">
                  <a:effectLst/>
                  <a:latin typeface="+mn-ea"/>
                </a:rPr>
                <a:t>暴露量，联合方案无法确保</a:t>
              </a:r>
              <a:r>
                <a:rPr lang="en-US" altLang="zh-CN" sz="1200" b="0" i="0">
                  <a:effectLst/>
                  <a:latin typeface="+mn-ea"/>
                </a:rPr>
                <a:t>90%</a:t>
              </a:r>
              <a:r>
                <a:rPr lang="zh-CN" altLang="en-US" sz="1200" b="0" i="0">
                  <a:effectLst/>
                  <a:latin typeface="+mn-ea"/>
                </a:rPr>
                <a:t>以上的</a:t>
              </a:r>
              <a:r>
                <a:rPr lang="en-US" altLang="zh-CN" sz="1200" b="0" i="0">
                  <a:effectLst/>
                  <a:latin typeface="+mn-ea"/>
                </a:rPr>
                <a:t>PTA</a:t>
              </a:r>
              <a:r>
                <a:rPr lang="zh-CN" altLang="en-US" sz="1200" b="0" i="0">
                  <a:effectLst/>
                  <a:latin typeface="+mn-ea"/>
                </a:rPr>
                <a:t>，可能导致阿维巴坦剂量不足</a:t>
              </a:r>
              <a:r>
                <a:rPr lang="en-US" altLang="zh-CN" sz="1200" b="0" i="0" baseline="30000">
                  <a:effectLst/>
                  <a:latin typeface="+mn-ea"/>
                </a:rPr>
                <a:t>4,</a:t>
              </a:r>
              <a:r>
                <a:rPr lang="en-US" altLang="zh-CN" sz="1200" baseline="30000">
                  <a:latin typeface="+mn-ea"/>
                </a:rPr>
                <a:t>5</a:t>
              </a:r>
              <a:r>
                <a:rPr lang="zh-CN" altLang="en-US" sz="1200" b="0" i="0">
                  <a:effectLst/>
                  <a:latin typeface="+mn-ea"/>
                </a:rPr>
                <a:t>，对病原体抑制效果不达标</a:t>
              </a:r>
              <a:endParaRPr lang="zh-CN" altLang="en-US" sz="1200" b="0" i="0">
                <a:effectLst/>
                <a:latin typeface="+mn-ea"/>
              </a:endParaRPr>
            </a:p>
          </p:txBody>
        </p:sp>
        <p:sp>
          <p:nvSpPr>
            <p:cNvPr id="22" name="矩形: 圆角 21"/>
            <p:cNvSpPr/>
            <p:nvPr/>
          </p:nvSpPr>
          <p:spPr>
            <a:xfrm>
              <a:off x="6995159" y="1089024"/>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24" name="文本框 23"/>
            <p:cNvSpPr txBox="1"/>
            <p:nvPr/>
          </p:nvSpPr>
          <p:spPr>
            <a:xfrm>
              <a:off x="7018018" y="1267887"/>
              <a:ext cx="594362" cy="738664"/>
            </a:xfrm>
            <a:prstGeom prst="rect">
              <a:avLst/>
            </a:prstGeom>
            <a:noFill/>
          </p:spPr>
          <p:txBody>
            <a:bodyPr wrap="square">
              <a:spAutoFit/>
            </a:bodyPr>
            <a:lstStyle/>
            <a:p>
              <a:pPr algn="ctr"/>
              <a:r>
                <a:rPr kumimoji="1" lang="en-US" altLang="zh-CN" sz="1400" b="1">
                  <a:solidFill>
                    <a:schemeClr val="bg1"/>
                  </a:solidFill>
                  <a:latin typeface="+mn-ea"/>
                </a:rPr>
                <a:t>PK</a:t>
              </a:r>
              <a:endParaRPr kumimoji="1" lang="en-US" altLang="zh-CN" sz="1400" b="1">
                <a:solidFill>
                  <a:schemeClr val="bg1"/>
                </a:solidFill>
                <a:latin typeface="+mn-ea"/>
              </a:endParaRPr>
            </a:p>
            <a:p>
              <a:pPr algn="ctr"/>
              <a:r>
                <a:rPr kumimoji="1" lang="en-US" altLang="zh-CN" sz="1400" b="1">
                  <a:solidFill>
                    <a:schemeClr val="bg1"/>
                  </a:solidFill>
                  <a:latin typeface="+mn-ea"/>
                </a:rPr>
                <a:t>/</a:t>
              </a:r>
              <a:endParaRPr kumimoji="1" lang="en-US" altLang="zh-CN" sz="1400" b="1">
                <a:solidFill>
                  <a:schemeClr val="bg1"/>
                </a:solidFill>
                <a:latin typeface="+mn-ea"/>
              </a:endParaRPr>
            </a:p>
            <a:p>
              <a:pPr algn="ctr"/>
              <a:r>
                <a:rPr kumimoji="1" lang="en-US" altLang="zh-CN" sz="1400" b="1">
                  <a:solidFill>
                    <a:schemeClr val="bg1"/>
                  </a:solidFill>
                  <a:latin typeface="+mn-ea"/>
                </a:rPr>
                <a:t>PD</a:t>
              </a:r>
              <a:endParaRPr kumimoji="1" lang="zh-CN" altLang="en-US" sz="1400" b="1">
                <a:solidFill>
                  <a:schemeClr val="bg1"/>
                </a:solidFill>
                <a:latin typeface="+mn-ea"/>
              </a:endParaRPr>
            </a:p>
          </p:txBody>
        </p:sp>
      </p:grpSp>
      <p:grpSp>
        <p:nvGrpSpPr>
          <p:cNvPr id="50" name="组合 49"/>
          <p:cNvGrpSpPr/>
          <p:nvPr/>
        </p:nvGrpSpPr>
        <p:grpSpPr>
          <a:xfrm>
            <a:off x="6995159" y="2326512"/>
            <a:ext cx="4717416" cy="1096391"/>
            <a:chOff x="6995159" y="2326512"/>
            <a:chExt cx="4717416" cy="1096391"/>
          </a:xfrm>
        </p:grpSpPr>
        <p:sp>
          <p:nvSpPr>
            <p:cNvPr id="25" name="矩形: 圆角 24"/>
            <p:cNvSpPr/>
            <p:nvPr/>
          </p:nvSpPr>
          <p:spPr>
            <a:xfrm>
              <a:off x="7402068" y="2326512"/>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a:off x="7909559" y="2727135"/>
              <a:ext cx="3803015" cy="295145"/>
            </a:xfrm>
            <a:prstGeom prst="rect">
              <a:avLst/>
            </a:prstGeom>
            <a:noFill/>
          </p:spPr>
          <p:txBody>
            <a:bodyPr wrap="square">
              <a:spAutoFit/>
            </a:bodyPr>
            <a:lstStyle/>
            <a:p>
              <a:pPr lvl="0">
                <a:lnSpc>
                  <a:spcPct val="120000"/>
                </a:lnSpc>
                <a:defRPr/>
              </a:pPr>
              <a:r>
                <a:rPr lang="zh-CN" altLang="en-US" sz="1200" b="0" i="0">
                  <a:effectLst/>
                  <a:latin typeface="+mn-ea"/>
                </a:rPr>
                <a:t>安全性尚不明确，有研究报道其会导致转氨酶升高</a:t>
              </a:r>
              <a:r>
                <a:rPr lang="en-US" altLang="zh-CN" sz="1200" b="0" i="0" baseline="30000">
                  <a:effectLst/>
                  <a:latin typeface="+mn-ea"/>
                </a:rPr>
                <a:t>5</a:t>
              </a:r>
              <a:endParaRPr lang="en-US" altLang="zh-CN" sz="1200" b="0" i="0" baseline="30000">
                <a:effectLst/>
                <a:latin typeface="+mn-ea"/>
              </a:endParaRPr>
            </a:p>
          </p:txBody>
        </p:sp>
        <p:sp>
          <p:nvSpPr>
            <p:cNvPr id="28" name="矩形: 圆角 27"/>
            <p:cNvSpPr/>
            <p:nvPr/>
          </p:nvSpPr>
          <p:spPr>
            <a:xfrm>
              <a:off x="6995159" y="2326512"/>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0" name="文本框 39"/>
            <p:cNvSpPr txBox="1"/>
            <p:nvPr/>
          </p:nvSpPr>
          <p:spPr>
            <a:xfrm>
              <a:off x="7086598" y="2505375"/>
              <a:ext cx="457202" cy="738664"/>
            </a:xfrm>
            <a:prstGeom prst="rect">
              <a:avLst/>
            </a:prstGeom>
            <a:noFill/>
          </p:spPr>
          <p:txBody>
            <a:bodyPr wrap="square">
              <a:spAutoFit/>
            </a:bodyPr>
            <a:lstStyle/>
            <a:p>
              <a:pPr algn="ctr"/>
              <a:r>
                <a:rPr kumimoji="1" lang="zh-CN" altLang="en-US" sz="1400" b="1">
                  <a:solidFill>
                    <a:schemeClr val="bg1"/>
                  </a:solidFill>
                  <a:latin typeface="+mn-ea"/>
                </a:rPr>
                <a:t>安全性</a:t>
              </a:r>
              <a:endParaRPr kumimoji="1" lang="zh-CN" altLang="en-US" sz="1400" b="1">
                <a:solidFill>
                  <a:schemeClr val="bg1"/>
                </a:solidFill>
                <a:latin typeface="+mn-ea"/>
              </a:endParaRPr>
            </a:p>
          </p:txBody>
        </p:sp>
      </p:grpSp>
      <p:grpSp>
        <p:nvGrpSpPr>
          <p:cNvPr id="51" name="组合 50"/>
          <p:cNvGrpSpPr/>
          <p:nvPr/>
        </p:nvGrpSpPr>
        <p:grpSpPr>
          <a:xfrm>
            <a:off x="6995159" y="3564000"/>
            <a:ext cx="4717416" cy="1096391"/>
            <a:chOff x="6995159" y="3564000"/>
            <a:chExt cx="4717416" cy="1096391"/>
          </a:xfrm>
        </p:grpSpPr>
        <p:sp>
          <p:nvSpPr>
            <p:cNvPr id="41" name="矩形: 圆角 40"/>
            <p:cNvSpPr/>
            <p:nvPr/>
          </p:nvSpPr>
          <p:spPr>
            <a:xfrm>
              <a:off x="7402068" y="3564000"/>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p:cNvSpPr txBox="1"/>
            <p:nvPr/>
          </p:nvSpPr>
          <p:spPr>
            <a:xfrm>
              <a:off x="7909559" y="3853823"/>
              <a:ext cx="3803015" cy="516745"/>
            </a:xfrm>
            <a:prstGeom prst="rect">
              <a:avLst/>
            </a:prstGeom>
            <a:noFill/>
          </p:spPr>
          <p:txBody>
            <a:bodyPr wrap="square">
              <a:spAutoFit/>
            </a:bodyPr>
            <a:lstStyle/>
            <a:p>
              <a:pPr lvl="0">
                <a:lnSpc>
                  <a:spcPct val="120000"/>
                </a:lnSpc>
                <a:defRPr/>
              </a:pPr>
              <a:r>
                <a:rPr lang="zh-CN" altLang="en-US" sz="1200" b="0" i="0">
                  <a:effectLst/>
                  <a:latin typeface="+mn-ea"/>
                </a:rPr>
                <a:t>缺乏大规模临床试验，当前研究样本量较小，证据缺乏代表性</a:t>
              </a:r>
              <a:r>
                <a:rPr lang="en-US" altLang="zh-CN" sz="1200" b="0" i="0" baseline="30000">
                  <a:effectLst/>
                  <a:latin typeface="+mn-ea"/>
                </a:rPr>
                <a:t>6,7</a:t>
              </a:r>
              <a:endParaRPr lang="en-US" altLang="zh-CN" sz="1200" b="0" i="0" baseline="30000">
                <a:effectLst/>
                <a:latin typeface="+mn-ea"/>
              </a:endParaRPr>
            </a:p>
          </p:txBody>
        </p:sp>
        <p:sp>
          <p:nvSpPr>
            <p:cNvPr id="43" name="矩形: 圆角 42"/>
            <p:cNvSpPr/>
            <p:nvPr/>
          </p:nvSpPr>
          <p:spPr>
            <a:xfrm>
              <a:off x="6995159" y="3564000"/>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4" name="文本框 43"/>
            <p:cNvSpPr txBox="1"/>
            <p:nvPr/>
          </p:nvSpPr>
          <p:spPr>
            <a:xfrm>
              <a:off x="7018018" y="3850585"/>
              <a:ext cx="594362" cy="523220"/>
            </a:xfrm>
            <a:prstGeom prst="rect">
              <a:avLst/>
            </a:prstGeom>
            <a:noFill/>
          </p:spPr>
          <p:txBody>
            <a:bodyPr wrap="square">
              <a:spAutoFit/>
            </a:bodyPr>
            <a:lstStyle/>
            <a:p>
              <a:pPr algn="ctr"/>
              <a:r>
                <a:rPr kumimoji="1" lang="zh-CN" altLang="en-US" sz="1400" b="1">
                  <a:solidFill>
                    <a:schemeClr val="bg1"/>
                  </a:solidFill>
                  <a:latin typeface="+mn-ea"/>
                </a:rPr>
                <a:t>证</a:t>
              </a:r>
              <a:endParaRPr kumimoji="1" lang="en-US" altLang="zh-CN" sz="1400" b="1">
                <a:solidFill>
                  <a:schemeClr val="bg1"/>
                </a:solidFill>
                <a:latin typeface="+mn-ea"/>
              </a:endParaRPr>
            </a:p>
            <a:p>
              <a:pPr algn="ctr"/>
              <a:r>
                <a:rPr kumimoji="1" lang="zh-CN" altLang="en-US" sz="1400" b="1">
                  <a:solidFill>
                    <a:schemeClr val="bg1"/>
                  </a:solidFill>
                  <a:latin typeface="+mn-ea"/>
                </a:rPr>
                <a:t>据</a:t>
              </a:r>
              <a:endParaRPr kumimoji="1" lang="zh-CN" altLang="en-US" sz="1400" b="1">
                <a:solidFill>
                  <a:schemeClr val="bg1"/>
                </a:solidFill>
                <a:latin typeface="+mn-ea"/>
              </a:endParaRPr>
            </a:p>
          </p:txBody>
        </p:sp>
      </p:grpSp>
      <p:grpSp>
        <p:nvGrpSpPr>
          <p:cNvPr id="52" name="组合 51"/>
          <p:cNvGrpSpPr/>
          <p:nvPr/>
        </p:nvGrpSpPr>
        <p:grpSpPr>
          <a:xfrm>
            <a:off x="6995159" y="4801489"/>
            <a:ext cx="4717416" cy="1096391"/>
            <a:chOff x="6995159" y="4801489"/>
            <a:chExt cx="4717416" cy="1096391"/>
          </a:xfrm>
        </p:grpSpPr>
        <p:sp>
          <p:nvSpPr>
            <p:cNvPr id="45" name="矩形: 圆角 44"/>
            <p:cNvSpPr/>
            <p:nvPr/>
          </p:nvSpPr>
          <p:spPr>
            <a:xfrm>
              <a:off x="7402068" y="4801489"/>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p:cNvSpPr txBox="1"/>
            <p:nvPr/>
          </p:nvSpPr>
          <p:spPr>
            <a:xfrm>
              <a:off x="7909559" y="5091312"/>
              <a:ext cx="3803015" cy="516745"/>
            </a:xfrm>
            <a:prstGeom prst="rect">
              <a:avLst/>
            </a:prstGeom>
            <a:noFill/>
          </p:spPr>
          <p:txBody>
            <a:bodyPr wrap="square">
              <a:spAutoFit/>
            </a:bodyPr>
            <a:lstStyle/>
            <a:p>
              <a:pPr lvl="0">
                <a:lnSpc>
                  <a:spcPct val="120000"/>
                </a:lnSpc>
                <a:defRPr/>
              </a:pPr>
              <a:r>
                <a:rPr lang="zh-CN" altLang="en-US" sz="1200" b="0" i="0">
                  <a:effectLst/>
                  <a:latin typeface="+mn-ea"/>
                </a:rPr>
                <a:t>过度使用联合抗生素（如联合用药）治疗可能加剧多重耐药风险</a:t>
              </a:r>
              <a:endParaRPr lang="zh-CN" altLang="en-US" sz="1200" b="0" i="0">
                <a:effectLst/>
                <a:latin typeface="+mn-ea"/>
              </a:endParaRPr>
            </a:p>
          </p:txBody>
        </p:sp>
        <p:sp>
          <p:nvSpPr>
            <p:cNvPr id="47" name="矩形: 圆角 46"/>
            <p:cNvSpPr/>
            <p:nvPr/>
          </p:nvSpPr>
          <p:spPr>
            <a:xfrm>
              <a:off x="6995159" y="4801489"/>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8" name="文本框 47"/>
            <p:cNvSpPr txBox="1"/>
            <p:nvPr/>
          </p:nvSpPr>
          <p:spPr>
            <a:xfrm>
              <a:off x="7114030" y="4872631"/>
              <a:ext cx="402338" cy="954107"/>
            </a:xfrm>
            <a:prstGeom prst="rect">
              <a:avLst/>
            </a:prstGeom>
            <a:noFill/>
          </p:spPr>
          <p:txBody>
            <a:bodyPr wrap="square">
              <a:spAutoFit/>
            </a:bodyPr>
            <a:lstStyle/>
            <a:p>
              <a:pPr algn="ctr"/>
              <a:r>
                <a:rPr kumimoji="1" lang="zh-CN" altLang="en-US" sz="1400" b="1">
                  <a:solidFill>
                    <a:schemeClr val="bg1"/>
                  </a:solidFill>
                  <a:latin typeface="+mn-ea"/>
                </a:rPr>
                <a:t>联合风险</a:t>
              </a:r>
              <a:endParaRPr kumimoji="1" lang="zh-CN" altLang="en-US" sz="1400" b="1">
                <a:solidFill>
                  <a:schemeClr val="bg1"/>
                </a:solidFill>
                <a:latin typeface="+mn-ea"/>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
        <p:nvSpPr>
          <p:cNvPr id="2" name="文本框 1"/>
          <p:cNvSpPr txBox="1"/>
          <p:nvPr/>
        </p:nvSpPr>
        <p:spPr>
          <a:xfrm>
            <a:off x="7018020" y="5897880"/>
            <a:ext cx="4694555" cy="229870"/>
          </a:xfrm>
          <a:prstGeom prst="rect">
            <a:avLst/>
          </a:prstGeom>
          <a:noFill/>
        </p:spPr>
        <p:txBody>
          <a:bodyPr wrap="square" rtlCol="0">
            <a:spAutoFit/>
          </a:bodyPr>
          <a:p>
            <a:pPr algn="l"/>
            <a:r>
              <a:rPr lang="zh-CN" altLang="en-US" sz="900"/>
              <a:t>辉瑞公司不建议在治疗由</a:t>
            </a:r>
            <a:r>
              <a:rPr lang="en-US" altLang="zh-CN" sz="900"/>
              <a:t> MBL</a:t>
            </a:r>
            <a:r>
              <a:rPr lang="zh-CN" altLang="en-US" sz="900"/>
              <a:t>引起的感染时，同时使用氨曲南和头孢他啶</a:t>
            </a:r>
            <a:r>
              <a:rPr lang="en-US" altLang="zh-CN" sz="900"/>
              <a:t>/</a:t>
            </a:r>
            <a:r>
              <a:rPr lang="zh-CN" altLang="en-US" sz="900"/>
              <a:t>阿维巴坦</a:t>
            </a:r>
            <a:endParaRPr lang="zh-CN" altLang="en-US" sz="9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14"/>
          <p:cNvCxnSpPr/>
          <p:nvPr>
            <p:custDataLst>
              <p:tags r:id="rId1"/>
            </p:custDataLst>
          </p:nvPr>
        </p:nvCxnSpPr>
        <p:spPr>
          <a:xfrm>
            <a:off x="479425" y="949325"/>
            <a:ext cx="651510" cy="0"/>
          </a:xfrm>
          <a:prstGeom prst="line">
            <a:avLst/>
          </a:prstGeom>
          <a:ln w="88900" cap="flat" cmpd="sng">
            <a:solidFill>
              <a:srgbClr val="112351"/>
            </a:solidFill>
            <a:prstDash val="solid"/>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标题 8"/>
          <p:cNvSpPr>
            <a:spLocks noGrp="1"/>
          </p:cNvSpPr>
          <p:nvPr>
            <p:ph type="title"/>
          </p:nvPr>
        </p:nvSpPr>
        <p:spPr/>
        <p:txBody>
          <a:bodyPr/>
          <a:lstStyle/>
          <a:p>
            <a:r>
              <a:rPr lang="zh-CN" altLang="en-US" sz="3200"/>
              <a:t>目录</a:t>
            </a:r>
            <a:endParaRPr lang="zh-CN" altLang="en-US" sz="3200"/>
          </a:p>
        </p:txBody>
      </p:sp>
      <p:grpSp>
        <p:nvGrpSpPr>
          <p:cNvPr id="6" name="组合 5"/>
          <p:cNvGrpSpPr/>
          <p:nvPr/>
        </p:nvGrpSpPr>
        <p:grpSpPr>
          <a:xfrm>
            <a:off x="691515" y="3586577"/>
            <a:ext cx="10808970" cy="1134648"/>
            <a:chOff x="691497" y="3074115"/>
            <a:chExt cx="10809006" cy="864173"/>
          </a:xfrm>
        </p:grpSpPr>
        <p:grpSp>
          <p:nvGrpSpPr>
            <p:cNvPr id="46" name="组合 45"/>
            <p:cNvGrpSpPr/>
            <p:nvPr/>
          </p:nvGrpSpPr>
          <p:grpSpPr>
            <a:xfrm>
              <a:off x="10842482" y="3275330"/>
              <a:ext cx="395432" cy="461666"/>
              <a:chOff x="12527062" y="2609331"/>
              <a:chExt cx="1397001" cy="1630995"/>
            </a:xfrm>
            <a:solidFill>
              <a:schemeClr val="accent1"/>
            </a:solidFill>
          </p:grpSpPr>
          <p:sp>
            <p:nvSpPr>
              <p:cNvPr id="47" name="任意多边形: 形状 46"/>
              <p:cNvSpPr/>
              <p:nvPr/>
            </p:nvSpPr>
            <p:spPr>
              <a:xfrm>
                <a:off x="12876313" y="3301999"/>
                <a:ext cx="698498" cy="127000"/>
              </a:xfrm>
              <a:custGeom>
                <a:avLst/>
                <a:gdLst>
                  <a:gd name="connsiteX0" fmla="*/ 634999 w 698498"/>
                  <a:gd name="connsiteY0" fmla="*/ 127001 h 127000"/>
                  <a:gd name="connsiteX1" fmla="*/ 63499 w 698498"/>
                  <a:gd name="connsiteY1" fmla="*/ 127001 h 127000"/>
                  <a:gd name="connsiteX2" fmla="*/ 0 w 698498"/>
                  <a:gd name="connsiteY2" fmla="*/ 63501 h 127000"/>
                  <a:gd name="connsiteX3" fmla="*/ 0 w 698498"/>
                  <a:gd name="connsiteY3" fmla="*/ 0 h 127000"/>
                  <a:gd name="connsiteX4" fmla="*/ 698499 w 698498"/>
                  <a:gd name="connsiteY4" fmla="*/ 0 h 127000"/>
                  <a:gd name="connsiteX5" fmla="*/ 698499 w 698498"/>
                  <a:gd name="connsiteY5" fmla="*/ 63501 h 127000"/>
                  <a:gd name="connsiteX6" fmla="*/ 634999 w 698498"/>
                  <a:gd name="connsiteY6" fmla="*/ 127001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498" h="127000">
                    <a:moveTo>
                      <a:pt x="634999" y="127001"/>
                    </a:moveTo>
                    <a:lnTo>
                      <a:pt x="63499" y="127001"/>
                    </a:lnTo>
                    <a:cubicBezTo>
                      <a:pt x="28430" y="127001"/>
                      <a:pt x="0" y="98571"/>
                      <a:pt x="0" y="63501"/>
                    </a:cubicBezTo>
                    <a:lnTo>
                      <a:pt x="0" y="0"/>
                    </a:lnTo>
                    <a:lnTo>
                      <a:pt x="698499" y="0"/>
                    </a:lnTo>
                    <a:lnTo>
                      <a:pt x="698499" y="63501"/>
                    </a:lnTo>
                    <a:cubicBezTo>
                      <a:pt x="698499" y="98571"/>
                      <a:pt x="670069" y="127001"/>
                      <a:pt x="634999" y="127001"/>
                    </a:cubicBezTo>
                    <a:close/>
                  </a:path>
                </a:pathLst>
              </a:custGeom>
              <a:grpFill/>
              <a:ln w="1860" cap="flat">
                <a:noFill/>
                <a:prstDash val="solid"/>
                <a:miter/>
              </a:ln>
            </p:spPr>
            <p:txBody>
              <a:bodyPr rtlCol="0" anchor="ctr"/>
              <a:lstStyle/>
              <a:p>
                <a:endParaRPr lang="zh-CN" altLang="en-US"/>
              </a:p>
            </p:txBody>
          </p:sp>
          <p:sp>
            <p:nvSpPr>
              <p:cNvPr id="48" name="任意多边形: 形状 47"/>
              <p:cNvSpPr/>
              <p:nvPr/>
            </p:nvSpPr>
            <p:spPr>
              <a:xfrm>
                <a:off x="12527062" y="2609331"/>
                <a:ext cx="1397001" cy="1630995"/>
              </a:xfrm>
              <a:custGeom>
                <a:avLst/>
                <a:gdLst>
                  <a:gd name="connsiteX0" fmla="*/ 647384 w 1397001"/>
                  <a:gd name="connsiteY0" fmla="*/ 10773 h 1630995"/>
                  <a:gd name="connsiteX1" fmla="*/ 75884 w 1397001"/>
                  <a:gd name="connsiteY1" fmla="*/ 261916 h 1630995"/>
                  <a:gd name="connsiteX2" fmla="*/ 0 w 1397001"/>
                  <a:gd name="connsiteY2" fmla="*/ 378121 h 1630995"/>
                  <a:gd name="connsiteX3" fmla="*/ 0 w 1397001"/>
                  <a:gd name="connsiteY3" fmla="*/ 771725 h 1630995"/>
                  <a:gd name="connsiteX4" fmla="*/ 297816 w 1397001"/>
                  <a:gd name="connsiteY4" fmla="*/ 1376691 h 1630995"/>
                  <a:gd name="connsiteX5" fmla="*/ 625285 w 1397001"/>
                  <a:gd name="connsiteY5" fmla="*/ 1607767 h 1630995"/>
                  <a:gd name="connsiteX6" fmla="*/ 771717 w 1397001"/>
                  <a:gd name="connsiteY6" fmla="*/ 1607767 h 1630995"/>
                  <a:gd name="connsiteX7" fmla="*/ 1096709 w 1397001"/>
                  <a:gd name="connsiteY7" fmla="*/ 1378531 h 1630995"/>
                  <a:gd name="connsiteX8" fmla="*/ 1397001 w 1397001"/>
                  <a:gd name="connsiteY8" fmla="*/ 771725 h 1630995"/>
                  <a:gd name="connsiteX9" fmla="*/ 1397001 w 1397001"/>
                  <a:gd name="connsiteY9" fmla="*/ 378153 h 1630995"/>
                  <a:gd name="connsiteX10" fmla="*/ 1321118 w 1397001"/>
                  <a:gd name="connsiteY10" fmla="*/ 261885 h 1630995"/>
                  <a:gd name="connsiteX11" fmla="*/ 749618 w 1397001"/>
                  <a:gd name="connsiteY11" fmla="*/ 10742 h 1630995"/>
                  <a:gd name="connsiteX12" fmla="*/ 647384 w 1397001"/>
                  <a:gd name="connsiteY12" fmla="*/ 10742 h 1630995"/>
                  <a:gd name="connsiteX13" fmla="*/ 127001 w 1397001"/>
                  <a:gd name="connsiteY13" fmla="*/ 378153 h 1630995"/>
                  <a:gd name="connsiteX14" fmla="*/ 698501 w 1397001"/>
                  <a:gd name="connsiteY14" fmla="*/ 127011 h 1630995"/>
                  <a:gd name="connsiteX15" fmla="*/ 1270001 w 1397001"/>
                  <a:gd name="connsiteY15" fmla="*/ 378153 h 1630995"/>
                  <a:gd name="connsiteX16" fmla="*/ 1270001 w 1397001"/>
                  <a:gd name="connsiteY16" fmla="*/ 771725 h 1630995"/>
                  <a:gd name="connsiteX17" fmla="*/ 1020985 w 1397001"/>
                  <a:gd name="connsiteY17" fmla="*/ 1276613 h 1630995"/>
                  <a:gd name="connsiteX18" fmla="*/ 698501 w 1397001"/>
                  <a:gd name="connsiteY18" fmla="*/ 1503976 h 1630995"/>
                  <a:gd name="connsiteX19" fmla="*/ 373508 w 1397001"/>
                  <a:gd name="connsiteY19" fmla="*/ 1274742 h 1630995"/>
                  <a:gd name="connsiteX20" fmla="*/ 127001 w 1397001"/>
                  <a:gd name="connsiteY20" fmla="*/ 771662 h 1630995"/>
                  <a:gd name="connsiteX21" fmla="*/ 127001 w 1397001"/>
                  <a:gd name="connsiteY21" fmla="*/ 378153 h 163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7001" h="1630995">
                    <a:moveTo>
                      <a:pt x="647384" y="10773"/>
                    </a:moveTo>
                    <a:lnTo>
                      <a:pt x="75884" y="261916"/>
                    </a:lnTo>
                    <a:cubicBezTo>
                      <a:pt x="29790" y="282183"/>
                      <a:pt x="22" y="327769"/>
                      <a:pt x="0" y="378121"/>
                    </a:cubicBezTo>
                    <a:lnTo>
                      <a:pt x="0" y="771725"/>
                    </a:lnTo>
                    <a:cubicBezTo>
                      <a:pt x="0" y="1012804"/>
                      <a:pt x="107824" y="1228227"/>
                      <a:pt x="297816" y="1376691"/>
                    </a:cubicBezTo>
                    <a:lnTo>
                      <a:pt x="625285" y="1607767"/>
                    </a:lnTo>
                    <a:cubicBezTo>
                      <a:pt x="669181" y="1638738"/>
                      <a:pt x="727820" y="1638738"/>
                      <a:pt x="771717" y="1607767"/>
                    </a:cubicBezTo>
                    <a:lnTo>
                      <a:pt x="1096709" y="1378531"/>
                    </a:lnTo>
                    <a:cubicBezTo>
                      <a:pt x="1289177" y="1228196"/>
                      <a:pt x="1397001" y="1012771"/>
                      <a:pt x="1397001" y="771725"/>
                    </a:cubicBezTo>
                    <a:lnTo>
                      <a:pt x="1397001" y="378153"/>
                    </a:lnTo>
                    <a:cubicBezTo>
                      <a:pt x="1397005" y="327776"/>
                      <a:pt x="1367234" y="282161"/>
                      <a:pt x="1321118" y="261885"/>
                    </a:cubicBezTo>
                    <a:lnTo>
                      <a:pt x="749618" y="10742"/>
                    </a:lnTo>
                    <a:cubicBezTo>
                      <a:pt x="717045" y="-3581"/>
                      <a:pt x="679957" y="-3581"/>
                      <a:pt x="647384" y="10742"/>
                    </a:cubicBezTo>
                    <a:close/>
                    <a:moveTo>
                      <a:pt x="127001" y="378153"/>
                    </a:moveTo>
                    <a:lnTo>
                      <a:pt x="698501" y="127011"/>
                    </a:lnTo>
                    <a:lnTo>
                      <a:pt x="1270001" y="378153"/>
                    </a:lnTo>
                    <a:lnTo>
                      <a:pt x="1270001" y="771725"/>
                    </a:lnTo>
                    <a:cubicBezTo>
                      <a:pt x="1270001" y="973210"/>
                      <a:pt x="1180561" y="1151933"/>
                      <a:pt x="1020985" y="1276613"/>
                    </a:cubicBezTo>
                    <a:lnTo>
                      <a:pt x="698501" y="1503976"/>
                    </a:lnTo>
                    <a:lnTo>
                      <a:pt x="373508" y="1274742"/>
                    </a:lnTo>
                    <a:cubicBezTo>
                      <a:pt x="216441" y="1151836"/>
                      <a:pt x="127001" y="973147"/>
                      <a:pt x="127001" y="771662"/>
                    </a:cubicBezTo>
                    <a:lnTo>
                      <a:pt x="127001" y="378153"/>
                    </a:lnTo>
                    <a:close/>
                  </a:path>
                </a:pathLst>
              </a:custGeom>
              <a:grpFill/>
              <a:ln w="1860" cap="flat">
                <a:noFill/>
                <a:prstDash val="solid"/>
                <a:miter/>
              </a:ln>
            </p:spPr>
            <p:txBody>
              <a:bodyPr rtlCol="0" anchor="ctr"/>
              <a:lstStyle/>
              <a:p>
                <a:endParaRPr lang="zh-CN" altLang="en-US"/>
              </a:p>
            </p:txBody>
          </p:sp>
          <p:sp>
            <p:nvSpPr>
              <p:cNvPr id="49" name="任意多边形: 形状 48"/>
              <p:cNvSpPr/>
              <p:nvPr/>
            </p:nvSpPr>
            <p:spPr>
              <a:xfrm>
                <a:off x="13162063" y="3016249"/>
                <a:ext cx="126999" cy="698784"/>
              </a:xfrm>
              <a:custGeom>
                <a:avLst/>
                <a:gdLst>
                  <a:gd name="connsiteX0" fmla="*/ 63499 w 126999"/>
                  <a:gd name="connsiteY0" fmla="*/ 0 h 698784"/>
                  <a:gd name="connsiteX1" fmla="*/ 126841 w 126999"/>
                  <a:gd name="connsiteY1" fmla="*/ 58739 h 698784"/>
                  <a:gd name="connsiteX2" fmla="*/ 126999 w 126999"/>
                  <a:gd name="connsiteY2" fmla="*/ 63501 h 698784"/>
                  <a:gd name="connsiteX3" fmla="*/ 126999 w 126999"/>
                  <a:gd name="connsiteY3" fmla="*/ 635001 h 698784"/>
                  <a:gd name="connsiteX4" fmla="*/ 63784 w 126999"/>
                  <a:gd name="connsiteY4" fmla="*/ 698783 h 698784"/>
                  <a:gd name="connsiteX5" fmla="*/ 158 w 126999"/>
                  <a:gd name="connsiteY5" fmla="*/ 639764 h 698784"/>
                  <a:gd name="connsiteX6" fmla="*/ 0 w 126999"/>
                  <a:gd name="connsiteY6" fmla="*/ 635001 h 698784"/>
                  <a:gd name="connsiteX7" fmla="*/ 0 w 126999"/>
                  <a:gd name="connsiteY7" fmla="*/ 63501 h 698784"/>
                  <a:gd name="connsiteX8" fmla="*/ 63499 w 126999"/>
                  <a:gd name="connsiteY8" fmla="*/ 0 h 69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99" h="698784">
                    <a:moveTo>
                      <a:pt x="63499" y="0"/>
                    </a:moveTo>
                    <a:cubicBezTo>
                      <a:pt x="96729" y="-9"/>
                      <a:pt x="124348" y="25602"/>
                      <a:pt x="126841" y="58739"/>
                    </a:cubicBezTo>
                    <a:lnTo>
                      <a:pt x="126999" y="63501"/>
                    </a:lnTo>
                    <a:lnTo>
                      <a:pt x="126999" y="635001"/>
                    </a:lnTo>
                    <a:cubicBezTo>
                      <a:pt x="127157" y="670071"/>
                      <a:pt x="98854" y="698627"/>
                      <a:pt x="63784" y="698783"/>
                    </a:cubicBezTo>
                    <a:cubicBezTo>
                      <a:pt x="30342" y="698934"/>
                      <a:pt x="2517" y="673122"/>
                      <a:pt x="158" y="639764"/>
                    </a:cubicBezTo>
                    <a:lnTo>
                      <a:pt x="0" y="635001"/>
                    </a:lnTo>
                    <a:lnTo>
                      <a:pt x="0" y="63501"/>
                    </a:lnTo>
                    <a:cubicBezTo>
                      <a:pt x="0" y="28430"/>
                      <a:pt x="28430" y="0"/>
                      <a:pt x="63499" y="0"/>
                    </a:cubicBezTo>
                    <a:close/>
                  </a:path>
                </a:pathLst>
              </a:custGeom>
              <a:grpFill/>
              <a:ln w="1860" cap="flat">
                <a:noFill/>
                <a:prstDash val="solid"/>
                <a:miter/>
              </a:ln>
            </p:spPr>
            <p:txBody>
              <a:bodyPr rtlCol="0" anchor="ctr"/>
              <a:lstStyle/>
              <a:p>
                <a:endParaRPr lang="zh-CN" altLang="en-US"/>
              </a:p>
            </p:txBody>
          </p:sp>
        </p:grpSp>
        <p:sp>
          <p:nvSpPr>
            <p:cNvPr id="55" name="矩形 54"/>
            <p:cNvSpPr/>
            <p:nvPr/>
          </p:nvSpPr>
          <p:spPr>
            <a:xfrm>
              <a:off x="1802414" y="3074115"/>
              <a:ext cx="9698089" cy="864096"/>
            </a:xfrm>
            <a:prstGeom prst="rect">
              <a:avLst/>
            </a:prstGeom>
            <a:gradFill>
              <a:gsLst>
                <a:gs pos="100000">
                  <a:schemeClr val="accent1">
                    <a:alpha val="0"/>
                  </a:schemeClr>
                </a:gs>
                <a:gs pos="0">
                  <a:schemeClr val="accent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6" name="矩形 55"/>
            <p:cNvSpPr/>
            <p:nvPr/>
          </p:nvSpPr>
          <p:spPr>
            <a:xfrm>
              <a:off x="1797345" y="3074115"/>
              <a:ext cx="204688" cy="864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44" name="Rectangle 23"/>
            <p:cNvSpPr/>
            <p:nvPr/>
          </p:nvSpPr>
          <p:spPr>
            <a:xfrm>
              <a:off x="2094266" y="3118535"/>
              <a:ext cx="8709506" cy="819753"/>
            </a:xfrm>
            <a:prstGeom prst="rect">
              <a:avLst/>
            </a:prstGeom>
          </p:spPr>
          <p:txBody>
            <a:bodyPr wrap="square" anchor="ctr">
              <a:spAutoFit/>
            </a:bodyPr>
            <a:lstStyle/>
            <a:p>
              <a:pPr marL="0" marR="0" lvl="0" indent="0" algn="l" defTabSz="914400" rtl="0" eaLnBrk="1" fontAlgn="auto" latinLnBrk="0" hangingPunct="1">
                <a:spcBef>
                  <a:spcPts val="0"/>
                </a:spcBef>
                <a:spcAft>
                  <a:spcPts val="0"/>
                </a:spcAft>
                <a:buClrTx/>
                <a:buSzTx/>
                <a:buFontTx/>
                <a:buNone/>
                <a:defRPr/>
              </a:pPr>
              <a:r>
                <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CRE</a:t>
              </a:r>
              <a:r>
                <a:rPr kumimoji="0" lang="zh-CN" altLang="en-US"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迎难而上：</a:t>
              </a:r>
              <a:endPar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思福诺</a:t>
              </a:r>
              <a:r>
                <a:rPr kumimoji="0" lang="en-US" altLang="zh-CN" sz="2000" b="1" i="0" u="none" strike="noStrike" kern="1200" cap="none" spc="0" normalizeH="0" baseline="3000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a:t>
              </a: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强强联合，有效针对</a:t>
              </a:r>
              <a:r>
                <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a:t>
              </a: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耐药问题</a:t>
              </a:r>
              <a:r>
                <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a:t>
              </a:r>
              <a:r>
                <a:rPr lang="zh-CN" altLang="en-US" sz="2000" b="1" dirty="0">
                  <a:solidFill>
                    <a:srgbClr val="000D45"/>
                  </a:solidFill>
                  <a:latin typeface="Pfizer Tomorrow" charset="0"/>
                  <a:ea typeface="微软雅黑" panose="020B0503020204020204" charset="-122"/>
                  <a:cs typeface="+mj-cs"/>
                  <a:sym typeface="Pfizer Tomorrow" charset="0"/>
                </a:rPr>
                <a:t>️全面覆盖CRE全酶型，是</a:t>
              </a:r>
              <a:r>
                <a:rPr lang="zh-CN" altLang="en-US" sz="2000" b="1" dirty="0">
                  <a:solidFill>
                    <a:srgbClr val="000D45"/>
                  </a:solidFill>
                  <a:latin typeface="Pfizer Tomorrow" charset="0"/>
                  <a:ea typeface="微软雅黑" panose="020B0503020204020204" charset="-122"/>
                  <a:cs typeface="+mj-cs"/>
                  <a:sym typeface="Arial" panose="020B0604020202090204" pitchFamily="34" charset="0"/>
                </a:rPr>
                <a:t>ICU抗感染的优选药物</a:t>
              </a:r>
              <a:endPar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58" name="组合 57"/>
            <p:cNvGrpSpPr/>
            <p:nvPr/>
          </p:nvGrpSpPr>
          <p:grpSpPr>
            <a:xfrm>
              <a:off x="691497" y="3074115"/>
              <a:ext cx="864239" cy="864096"/>
              <a:chOff x="705418" y="1773516"/>
              <a:chExt cx="864239" cy="864096"/>
            </a:xfrm>
          </p:grpSpPr>
          <p:sp>
            <p:nvSpPr>
              <p:cNvPr id="69" name="弧形 68"/>
              <p:cNvSpPr/>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accent1">
                        <a:alpha val="0"/>
                      </a:schemeClr>
                    </a:gs>
                    <a:gs pos="0">
                      <a:schemeClr val="accent1"/>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0" name="弧形 69"/>
              <p:cNvSpPr/>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accent1">
                        <a:alpha val="0"/>
                      </a:schemeClr>
                    </a:gs>
                    <a:gs pos="0">
                      <a:schemeClr val="accent1"/>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1" name="弧形 70"/>
              <p:cNvSpPr/>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2" name="弧形 71"/>
              <p:cNvSpPr/>
              <p:nvPr/>
            </p:nvSpPr>
            <p:spPr>
              <a:xfrm rot="16200000" flipH="1">
                <a:off x="794402" y="1773520"/>
                <a:ext cx="686271" cy="864238"/>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3" name="išļíde"/>
              <p:cNvSpPr txBox="1">
                <a:spLocks noChangeArrowheads="1"/>
              </p:cNvSpPr>
              <p:nvPr/>
            </p:nvSpPr>
            <p:spPr bwMode="auto">
              <a:xfrm>
                <a:off x="779768" y="2030249"/>
                <a:ext cx="715397" cy="35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02</a:t>
                </a:r>
                <a:endPar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endParaRPr>
              </a:p>
            </p:txBody>
          </p:sp>
        </p:grpSp>
      </p:grpSp>
      <p:grpSp>
        <p:nvGrpSpPr>
          <p:cNvPr id="4" name="组合 3"/>
          <p:cNvGrpSpPr/>
          <p:nvPr/>
        </p:nvGrpSpPr>
        <p:grpSpPr>
          <a:xfrm>
            <a:off x="691497" y="1973288"/>
            <a:ext cx="10809006" cy="864096"/>
            <a:chOff x="691497" y="1769453"/>
            <a:chExt cx="10809006" cy="864096"/>
          </a:xfrm>
        </p:grpSpPr>
        <p:sp>
          <p:nvSpPr>
            <p:cNvPr id="42" name="矩形 41"/>
            <p:cNvSpPr/>
            <p:nvPr/>
          </p:nvSpPr>
          <p:spPr>
            <a:xfrm>
              <a:off x="1802414" y="1769453"/>
              <a:ext cx="9698089" cy="864096"/>
            </a:xfrm>
            <a:prstGeom prst="rect">
              <a:avLst/>
            </a:prstGeom>
            <a:gradFill>
              <a:gsLst>
                <a:gs pos="100000">
                  <a:schemeClr val="bg1">
                    <a:lumMod val="65000"/>
                    <a:alpha val="0"/>
                  </a:schemeClr>
                </a:gs>
                <a:gs pos="0">
                  <a:schemeClr val="bg1">
                    <a:lumMod val="65000"/>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3" name="矩形 42"/>
            <p:cNvSpPr/>
            <p:nvPr/>
          </p:nvSpPr>
          <p:spPr>
            <a:xfrm>
              <a:off x="1797345" y="1769453"/>
              <a:ext cx="204688" cy="86409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57" name="Rectangle 23"/>
            <p:cNvSpPr/>
            <p:nvPr/>
          </p:nvSpPr>
          <p:spPr>
            <a:xfrm>
              <a:off x="2094266" y="1817326"/>
              <a:ext cx="8709506" cy="768350"/>
            </a:xfrm>
            <a:prstGeom prst="rect">
              <a:avLst/>
            </a:prstGeom>
          </p:spPr>
          <p:txBody>
            <a:bodyPr wrap="square" anchor="ctr">
              <a:spAutoFit/>
            </a:bodyPr>
            <a:lstStyle/>
            <a:p>
              <a:pPr marL="0" marR="0" lvl="0" algn="l" defTabSz="914400" rtl="0" eaLnBrk="1" fontAlgn="auto" latinLnBrk="0" hangingPunct="1">
                <a:spcBef>
                  <a:spcPts val="0"/>
                </a:spcBef>
                <a:spcAft>
                  <a:spcPts val="0"/>
                </a:spcAft>
                <a:buClrTx/>
                <a:buSzTx/>
                <a:buFontTx/>
                <a:buNone/>
                <a:defRPr/>
              </a:pPr>
              <a:r>
                <a:rPr lang="zh-CN" altLang="en-US" sz="24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面临耐药难题：</a:t>
              </a:r>
              <a:endParaRPr kumimoji="0" lang="zh-CN" altLang="en-US"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mn-lt"/>
                </a:rPr>
                <a:t>产MBL-CRE/SMA流行病学，分类及当前面临的治疗挑战</a:t>
              </a:r>
              <a:endParaRPr kumimoji="0" lang="zh-CN" altLang="en-US" sz="20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mn-lt"/>
              </a:endParaRPr>
            </a:p>
          </p:txBody>
        </p:sp>
        <p:grpSp>
          <p:nvGrpSpPr>
            <p:cNvPr id="45" name="组合 44"/>
            <p:cNvGrpSpPr/>
            <p:nvPr/>
          </p:nvGrpSpPr>
          <p:grpSpPr>
            <a:xfrm>
              <a:off x="691497" y="1769453"/>
              <a:ext cx="864097" cy="864096"/>
              <a:chOff x="705418" y="1773516"/>
              <a:chExt cx="864097" cy="864096"/>
            </a:xfrm>
          </p:grpSpPr>
          <p:sp>
            <p:nvSpPr>
              <p:cNvPr id="50" name="弧形 49"/>
              <p:cNvSpPr/>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bg1">
                        <a:lumMod val="65000"/>
                        <a:alpha val="0"/>
                      </a:schemeClr>
                    </a:gs>
                    <a:gs pos="0">
                      <a:schemeClr val="bg1">
                        <a:lumMod val="65000"/>
                      </a:schemeClr>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1" name="弧形 50"/>
              <p:cNvSpPr/>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bg1">
                        <a:lumMod val="65000"/>
                        <a:alpha val="0"/>
                      </a:schemeClr>
                    </a:gs>
                    <a:gs pos="0">
                      <a:schemeClr val="bg1">
                        <a:lumMod val="65000"/>
                      </a:schemeClr>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2" name="弧形 51"/>
              <p:cNvSpPr/>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3" name="弧形 52"/>
              <p:cNvSpPr/>
              <p:nvPr/>
            </p:nvSpPr>
            <p:spPr>
              <a:xfrm rot="16200000" flipH="1">
                <a:off x="705419"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4" name="išļíde"/>
              <p:cNvSpPr txBox="1">
                <a:spLocks noChangeArrowheads="1"/>
              </p:cNvSpPr>
              <p:nvPr/>
            </p:nvSpPr>
            <p:spPr bwMode="auto">
              <a:xfrm>
                <a:off x="779768" y="1974732"/>
                <a:ext cx="7153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rPr>
                  <a:t>01</a:t>
                </a:r>
                <a:endPar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grpSp>
        <p:grpSp>
          <p:nvGrpSpPr>
            <p:cNvPr id="59" name="组合 58"/>
            <p:cNvGrpSpPr/>
            <p:nvPr/>
          </p:nvGrpSpPr>
          <p:grpSpPr>
            <a:xfrm>
              <a:off x="10829357" y="1978257"/>
              <a:ext cx="421683" cy="446488"/>
              <a:chOff x="12548053" y="990349"/>
              <a:chExt cx="1781174" cy="1885950"/>
            </a:xfrm>
            <a:solidFill>
              <a:schemeClr val="bg1">
                <a:lumMod val="65000"/>
              </a:schemeClr>
            </a:solidFill>
          </p:grpSpPr>
          <p:sp>
            <p:nvSpPr>
              <p:cNvPr id="60" name="任意多边形: 形状 59"/>
              <p:cNvSpPr/>
              <p:nvPr/>
            </p:nvSpPr>
            <p:spPr>
              <a:xfrm>
                <a:off x="12824278" y="1314199"/>
                <a:ext cx="1489086" cy="1562100"/>
              </a:xfrm>
              <a:custGeom>
                <a:avLst/>
                <a:gdLst>
                  <a:gd name="connsiteX0" fmla="*/ 609600 w 1489086"/>
                  <a:gd name="connsiteY0" fmla="*/ 165101 h 1562100"/>
                  <a:gd name="connsiteX1" fmla="*/ 1057275 w 1489086"/>
                  <a:gd name="connsiteY1" fmla="*/ 612776 h 1562100"/>
                  <a:gd name="connsiteX2" fmla="*/ 822324 w 1489086"/>
                  <a:gd name="connsiteY2" fmla="*/ 1006474 h 1562100"/>
                  <a:gd name="connsiteX3" fmla="*/ 736599 w 1489086"/>
                  <a:gd name="connsiteY3" fmla="*/ 1054099 h 1562100"/>
                  <a:gd name="connsiteX4" fmla="*/ 736599 w 1489086"/>
                  <a:gd name="connsiteY4" fmla="*/ 1120774 h 1562100"/>
                  <a:gd name="connsiteX5" fmla="*/ 482599 w 1489086"/>
                  <a:gd name="connsiteY5" fmla="*/ 1120774 h 1562100"/>
                  <a:gd name="connsiteX6" fmla="*/ 482599 w 1489086"/>
                  <a:gd name="connsiteY6" fmla="*/ 1054099 h 1562100"/>
                  <a:gd name="connsiteX7" fmla="*/ 396874 w 1489086"/>
                  <a:gd name="connsiteY7" fmla="*/ 1006474 h 1562100"/>
                  <a:gd name="connsiteX8" fmla="*/ 161925 w 1489086"/>
                  <a:gd name="connsiteY8" fmla="*/ 612776 h 1562100"/>
                  <a:gd name="connsiteX9" fmla="*/ 609600 w 1489086"/>
                  <a:gd name="connsiteY9" fmla="*/ 165101 h 1562100"/>
                  <a:gd name="connsiteX10" fmla="*/ 609600 w 1489086"/>
                  <a:gd name="connsiteY10" fmla="*/ 0 h 1562100"/>
                  <a:gd name="connsiteX11" fmla="*/ 0 w 1489086"/>
                  <a:gd name="connsiteY11" fmla="*/ 609600 h 1562100"/>
                  <a:gd name="connsiteX12" fmla="*/ 320674 w 1489086"/>
                  <a:gd name="connsiteY12" fmla="*/ 1146176 h 1562100"/>
                  <a:gd name="connsiteX13" fmla="*/ 320674 w 1489086"/>
                  <a:gd name="connsiteY13" fmla="*/ 1222376 h 1562100"/>
                  <a:gd name="connsiteX14" fmla="*/ 377824 w 1489086"/>
                  <a:gd name="connsiteY14" fmla="*/ 1279526 h 1562100"/>
                  <a:gd name="connsiteX15" fmla="*/ 844549 w 1489086"/>
                  <a:gd name="connsiteY15" fmla="*/ 1279526 h 1562100"/>
                  <a:gd name="connsiteX16" fmla="*/ 901699 w 1489086"/>
                  <a:gd name="connsiteY16" fmla="*/ 1222376 h 1562100"/>
                  <a:gd name="connsiteX17" fmla="*/ 901699 w 1489086"/>
                  <a:gd name="connsiteY17" fmla="*/ 1149349 h 1562100"/>
                  <a:gd name="connsiteX18" fmla="*/ 1222374 w 1489086"/>
                  <a:gd name="connsiteY18" fmla="*/ 612776 h 1562100"/>
                  <a:gd name="connsiteX19" fmla="*/ 609600 w 1489086"/>
                  <a:gd name="connsiteY19" fmla="*/ 0 h 1562100"/>
                  <a:gd name="connsiteX20" fmla="*/ 892174 w 1489086"/>
                  <a:gd name="connsiteY20" fmla="*/ 1327151 h 1562100"/>
                  <a:gd name="connsiteX21" fmla="*/ 330199 w 1489086"/>
                  <a:gd name="connsiteY21" fmla="*/ 1327151 h 1562100"/>
                  <a:gd name="connsiteX22" fmla="*/ 282574 w 1489086"/>
                  <a:gd name="connsiteY22" fmla="*/ 1374776 h 1562100"/>
                  <a:gd name="connsiteX23" fmla="*/ 282574 w 1489086"/>
                  <a:gd name="connsiteY23" fmla="*/ 1377949 h 1562100"/>
                  <a:gd name="connsiteX24" fmla="*/ 330199 w 1489086"/>
                  <a:gd name="connsiteY24" fmla="*/ 1425574 h 1562100"/>
                  <a:gd name="connsiteX25" fmla="*/ 892174 w 1489086"/>
                  <a:gd name="connsiteY25" fmla="*/ 1425574 h 1562100"/>
                  <a:gd name="connsiteX26" fmla="*/ 939799 w 1489086"/>
                  <a:gd name="connsiteY26" fmla="*/ 1377949 h 1562100"/>
                  <a:gd name="connsiteX27" fmla="*/ 939799 w 1489086"/>
                  <a:gd name="connsiteY27" fmla="*/ 1374776 h 1562100"/>
                  <a:gd name="connsiteX28" fmla="*/ 892174 w 1489086"/>
                  <a:gd name="connsiteY28" fmla="*/ 1327151 h 1562100"/>
                  <a:gd name="connsiteX29" fmla="*/ 825499 w 1489086"/>
                  <a:gd name="connsiteY29" fmla="*/ 1463674 h 1562100"/>
                  <a:gd name="connsiteX30" fmla="*/ 393699 w 1489086"/>
                  <a:gd name="connsiteY30" fmla="*/ 1463674 h 1562100"/>
                  <a:gd name="connsiteX31" fmla="*/ 346074 w 1489086"/>
                  <a:gd name="connsiteY31" fmla="*/ 1511299 h 1562100"/>
                  <a:gd name="connsiteX32" fmla="*/ 346074 w 1489086"/>
                  <a:gd name="connsiteY32" fmla="*/ 1514475 h 1562100"/>
                  <a:gd name="connsiteX33" fmla="*/ 393699 w 1489086"/>
                  <a:gd name="connsiteY33" fmla="*/ 1562100 h 1562100"/>
                  <a:gd name="connsiteX34" fmla="*/ 825499 w 1489086"/>
                  <a:gd name="connsiteY34" fmla="*/ 1562100 h 1562100"/>
                  <a:gd name="connsiteX35" fmla="*/ 873124 w 1489086"/>
                  <a:gd name="connsiteY35" fmla="*/ 1514475 h 1562100"/>
                  <a:gd name="connsiteX36" fmla="*/ 873124 w 1489086"/>
                  <a:gd name="connsiteY36" fmla="*/ 1511299 h 1562100"/>
                  <a:gd name="connsiteX37" fmla="*/ 825499 w 1489086"/>
                  <a:gd name="connsiteY37" fmla="*/ 1463674 h 1562100"/>
                  <a:gd name="connsiteX38" fmla="*/ 1419225 w 1489086"/>
                  <a:gd name="connsiteY38" fmla="*/ 298451 h 1562100"/>
                  <a:gd name="connsiteX39" fmla="*/ 1400175 w 1489086"/>
                  <a:gd name="connsiteY39" fmla="*/ 339724 h 1562100"/>
                  <a:gd name="connsiteX40" fmla="*/ 1339849 w 1489086"/>
                  <a:gd name="connsiteY40" fmla="*/ 365126 h 1562100"/>
                  <a:gd name="connsiteX41" fmla="*/ 1298574 w 1489086"/>
                  <a:gd name="connsiteY41" fmla="*/ 346076 h 1562100"/>
                  <a:gd name="connsiteX42" fmla="*/ 1317624 w 1489086"/>
                  <a:gd name="connsiteY42" fmla="*/ 304800 h 1562100"/>
                  <a:gd name="connsiteX43" fmla="*/ 1377949 w 1489086"/>
                  <a:gd name="connsiteY43" fmla="*/ 279401 h 1562100"/>
                  <a:gd name="connsiteX44" fmla="*/ 1419225 w 1489086"/>
                  <a:gd name="connsiteY44" fmla="*/ 298451 h 1562100"/>
                  <a:gd name="connsiteX45" fmla="*/ 1482724 w 1489086"/>
                  <a:gd name="connsiteY45" fmla="*/ 276225 h 1562100"/>
                  <a:gd name="connsiteX46" fmla="*/ 1355724 w 1489086"/>
                  <a:gd name="connsiteY46" fmla="*/ 222251 h 1562100"/>
                  <a:gd name="connsiteX47" fmla="*/ 1295400 w 1489086"/>
                  <a:gd name="connsiteY47" fmla="*/ 247650 h 1562100"/>
                  <a:gd name="connsiteX48" fmla="*/ 1241424 w 1489086"/>
                  <a:gd name="connsiteY48" fmla="*/ 374651 h 1562100"/>
                  <a:gd name="connsiteX49" fmla="*/ 1368424 w 1489086"/>
                  <a:gd name="connsiteY49" fmla="*/ 428625 h 1562100"/>
                  <a:gd name="connsiteX50" fmla="*/ 1428750 w 1489086"/>
                  <a:gd name="connsiteY50" fmla="*/ 403226 h 1562100"/>
                  <a:gd name="connsiteX51" fmla="*/ 1482724 w 1489086"/>
                  <a:gd name="connsiteY51" fmla="*/ 276225 h 156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9086" h="1562100">
                    <a:moveTo>
                      <a:pt x="609600" y="165101"/>
                    </a:moveTo>
                    <a:cubicBezTo>
                      <a:pt x="857250" y="165101"/>
                      <a:pt x="1057275" y="365126"/>
                      <a:pt x="1057275" y="612776"/>
                    </a:cubicBezTo>
                    <a:cubicBezTo>
                      <a:pt x="1057275" y="777874"/>
                      <a:pt x="968374" y="927101"/>
                      <a:pt x="822324" y="1006474"/>
                    </a:cubicBezTo>
                    <a:lnTo>
                      <a:pt x="736599" y="1054099"/>
                    </a:lnTo>
                    <a:lnTo>
                      <a:pt x="736599" y="1120774"/>
                    </a:lnTo>
                    <a:lnTo>
                      <a:pt x="482599" y="1120774"/>
                    </a:lnTo>
                    <a:lnTo>
                      <a:pt x="482599" y="1054099"/>
                    </a:lnTo>
                    <a:lnTo>
                      <a:pt x="396874" y="1006474"/>
                    </a:lnTo>
                    <a:cubicBezTo>
                      <a:pt x="253999" y="927101"/>
                      <a:pt x="161925" y="777874"/>
                      <a:pt x="161925" y="612776"/>
                    </a:cubicBezTo>
                    <a:cubicBezTo>
                      <a:pt x="165099" y="365126"/>
                      <a:pt x="365124" y="165101"/>
                      <a:pt x="609600" y="165101"/>
                    </a:cubicBezTo>
                    <a:moveTo>
                      <a:pt x="609600" y="0"/>
                    </a:moveTo>
                    <a:cubicBezTo>
                      <a:pt x="273049" y="0"/>
                      <a:pt x="0" y="273049"/>
                      <a:pt x="0" y="609600"/>
                    </a:cubicBezTo>
                    <a:cubicBezTo>
                      <a:pt x="0" y="841376"/>
                      <a:pt x="130174" y="1044574"/>
                      <a:pt x="320674" y="1146176"/>
                    </a:cubicBezTo>
                    <a:lnTo>
                      <a:pt x="320674" y="1222376"/>
                    </a:lnTo>
                    <a:cubicBezTo>
                      <a:pt x="320674" y="1254124"/>
                      <a:pt x="346074" y="1279526"/>
                      <a:pt x="377824" y="1279526"/>
                    </a:cubicBezTo>
                    <a:lnTo>
                      <a:pt x="844549" y="1279526"/>
                    </a:lnTo>
                    <a:cubicBezTo>
                      <a:pt x="876300" y="1279526"/>
                      <a:pt x="901699" y="1254124"/>
                      <a:pt x="901699" y="1222376"/>
                    </a:cubicBezTo>
                    <a:lnTo>
                      <a:pt x="901699" y="1149349"/>
                    </a:lnTo>
                    <a:cubicBezTo>
                      <a:pt x="1092199" y="1044574"/>
                      <a:pt x="1222374" y="844549"/>
                      <a:pt x="1222374" y="612776"/>
                    </a:cubicBezTo>
                    <a:cubicBezTo>
                      <a:pt x="1222374" y="273049"/>
                      <a:pt x="946149" y="0"/>
                      <a:pt x="609600" y="0"/>
                    </a:cubicBezTo>
                    <a:close/>
                    <a:moveTo>
                      <a:pt x="892174" y="1327151"/>
                    </a:moveTo>
                    <a:lnTo>
                      <a:pt x="330199" y="1327151"/>
                    </a:lnTo>
                    <a:cubicBezTo>
                      <a:pt x="304800" y="1327151"/>
                      <a:pt x="282574" y="1349374"/>
                      <a:pt x="282574" y="1374776"/>
                    </a:cubicBezTo>
                    <a:lnTo>
                      <a:pt x="282574" y="1377949"/>
                    </a:lnTo>
                    <a:cubicBezTo>
                      <a:pt x="282574" y="1403351"/>
                      <a:pt x="304800" y="1425574"/>
                      <a:pt x="330199" y="1425574"/>
                    </a:cubicBezTo>
                    <a:lnTo>
                      <a:pt x="892174" y="1425574"/>
                    </a:lnTo>
                    <a:cubicBezTo>
                      <a:pt x="917574" y="1425574"/>
                      <a:pt x="939799" y="1403351"/>
                      <a:pt x="939799" y="1377949"/>
                    </a:cubicBezTo>
                    <a:lnTo>
                      <a:pt x="939799" y="1374776"/>
                    </a:lnTo>
                    <a:cubicBezTo>
                      <a:pt x="939799" y="1349374"/>
                      <a:pt x="917574" y="1327151"/>
                      <a:pt x="892174" y="1327151"/>
                    </a:cubicBezTo>
                    <a:close/>
                    <a:moveTo>
                      <a:pt x="825499" y="1463674"/>
                    </a:moveTo>
                    <a:lnTo>
                      <a:pt x="393699" y="1463674"/>
                    </a:lnTo>
                    <a:cubicBezTo>
                      <a:pt x="368299" y="1463674"/>
                      <a:pt x="346074" y="1485900"/>
                      <a:pt x="346074" y="1511299"/>
                    </a:cubicBezTo>
                    <a:lnTo>
                      <a:pt x="346074" y="1514475"/>
                    </a:lnTo>
                    <a:cubicBezTo>
                      <a:pt x="346074" y="1539869"/>
                      <a:pt x="368299" y="1562100"/>
                      <a:pt x="393699" y="1562100"/>
                    </a:cubicBezTo>
                    <a:lnTo>
                      <a:pt x="825499" y="1562100"/>
                    </a:lnTo>
                    <a:cubicBezTo>
                      <a:pt x="850899" y="1562100"/>
                      <a:pt x="873124" y="1539869"/>
                      <a:pt x="873124" y="1514475"/>
                    </a:cubicBezTo>
                    <a:lnTo>
                      <a:pt x="873124" y="1511299"/>
                    </a:lnTo>
                    <a:cubicBezTo>
                      <a:pt x="873124" y="1485900"/>
                      <a:pt x="850899" y="1463674"/>
                      <a:pt x="825499" y="1463674"/>
                    </a:cubicBezTo>
                    <a:close/>
                    <a:moveTo>
                      <a:pt x="1419225" y="298451"/>
                    </a:moveTo>
                    <a:cubicBezTo>
                      <a:pt x="1425574" y="314325"/>
                      <a:pt x="1416049" y="333375"/>
                      <a:pt x="1400175" y="339724"/>
                    </a:cubicBezTo>
                    <a:lnTo>
                      <a:pt x="1339849" y="365126"/>
                    </a:lnTo>
                    <a:cubicBezTo>
                      <a:pt x="1323975" y="371475"/>
                      <a:pt x="1304925" y="361950"/>
                      <a:pt x="1298574" y="346076"/>
                    </a:cubicBezTo>
                    <a:cubicBezTo>
                      <a:pt x="1292224" y="330199"/>
                      <a:pt x="1301749" y="311149"/>
                      <a:pt x="1317624" y="304800"/>
                    </a:cubicBezTo>
                    <a:lnTo>
                      <a:pt x="1377949" y="279401"/>
                    </a:lnTo>
                    <a:cubicBezTo>
                      <a:pt x="1393824" y="276225"/>
                      <a:pt x="1412874" y="282574"/>
                      <a:pt x="1419225" y="298451"/>
                    </a:cubicBezTo>
                    <a:moveTo>
                      <a:pt x="1482724" y="276225"/>
                    </a:moveTo>
                    <a:cubicBezTo>
                      <a:pt x="1463674" y="225424"/>
                      <a:pt x="1403349" y="200025"/>
                      <a:pt x="1355724" y="222251"/>
                    </a:cubicBezTo>
                    <a:lnTo>
                      <a:pt x="1295400" y="247650"/>
                    </a:lnTo>
                    <a:cubicBezTo>
                      <a:pt x="1244599" y="266700"/>
                      <a:pt x="1219200" y="327026"/>
                      <a:pt x="1241424" y="374651"/>
                    </a:cubicBezTo>
                    <a:cubicBezTo>
                      <a:pt x="1260474" y="425449"/>
                      <a:pt x="1320799" y="450851"/>
                      <a:pt x="1368424" y="428625"/>
                    </a:cubicBezTo>
                    <a:lnTo>
                      <a:pt x="1428750" y="403226"/>
                    </a:lnTo>
                    <a:cubicBezTo>
                      <a:pt x="1476375" y="384176"/>
                      <a:pt x="1501774" y="323850"/>
                      <a:pt x="1482724" y="276225"/>
                    </a:cubicBezTo>
                    <a:close/>
                  </a:path>
                </a:pathLst>
              </a:custGeom>
              <a:grpFill/>
              <a:ln w="1860" cap="flat">
                <a:noFill/>
                <a:prstDash val="solid"/>
                <a:miter/>
              </a:ln>
            </p:spPr>
            <p:txBody>
              <a:bodyPr rtlCol="0" anchor="ctr"/>
              <a:lstStyle/>
              <a:p>
                <a:endParaRPr lang="zh-CN" altLang="en-US"/>
              </a:p>
            </p:txBody>
          </p:sp>
          <p:sp>
            <p:nvSpPr>
              <p:cNvPr id="61" name="任意多边形: 形状 60"/>
              <p:cNvSpPr/>
              <p:nvPr/>
            </p:nvSpPr>
            <p:spPr>
              <a:xfrm>
                <a:off x="13767870" y="1146542"/>
                <a:ext cx="561357" cy="618508"/>
              </a:xfrm>
              <a:custGeom>
                <a:avLst/>
                <a:gdLst>
                  <a:gd name="connsiteX0" fmla="*/ 386733 w 561357"/>
                  <a:gd name="connsiteY0" fmla="*/ 618508 h 618508"/>
                  <a:gd name="connsiteX1" fmla="*/ 278782 w 561357"/>
                  <a:gd name="connsiteY1" fmla="*/ 545482 h 618508"/>
                  <a:gd name="connsiteX2" fmla="*/ 278782 w 561357"/>
                  <a:gd name="connsiteY2" fmla="*/ 456583 h 618508"/>
                  <a:gd name="connsiteX3" fmla="*/ 342283 w 561357"/>
                  <a:gd name="connsiteY3" fmla="*/ 396258 h 618508"/>
                  <a:gd name="connsiteX4" fmla="*/ 402607 w 561357"/>
                  <a:gd name="connsiteY4" fmla="*/ 374032 h 618508"/>
                  <a:gd name="connsiteX5" fmla="*/ 491508 w 561357"/>
                  <a:gd name="connsiteY5" fmla="*/ 374032 h 618508"/>
                  <a:gd name="connsiteX6" fmla="*/ 551833 w 561357"/>
                  <a:gd name="connsiteY6" fmla="*/ 437533 h 618508"/>
                  <a:gd name="connsiteX7" fmla="*/ 551833 w 561357"/>
                  <a:gd name="connsiteY7" fmla="*/ 526432 h 618508"/>
                  <a:gd name="connsiteX8" fmla="*/ 488332 w 561357"/>
                  <a:gd name="connsiteY8" fmla="*/ 586758 h 618508"/>
                  <a:gd name="connsiteX9" fmla="*/ 428008 w 561357"/>
                  <a:gd name="connsiteY9" fmla="*/ 612157 h 618508"/>
                  <a:gd name="connsiteX10" fmla="*/ 386733 w 561357"/>
                  <a:gd name="connsiteY10" fmla="*/ 618508 h 618508"/>
                  <a:gd name="connsiteX11" fmla="*/ 447058 w 561357"/>
                  <a:gd name="connsiteY11" fmla="*/ 396258 h 618508"/>
                  <a:gd name="connsiteX12" fmla="*/ 415308 w 561357"/>
                  <a:gd name="connsiteY12" fmla="*/ 402607 h 618508"/>
                  <a:gd name="connsiteX13" fmla="*/ 354982 w 561357"/>
                  <a:gd name="connsiteY13" fmla="*/ 428008 h 618508"/>
                  <a:gd name="connsiteX14" fmla="*/ 310533 w 561357"/>
                  <a:gd name="connsiteY14" fmla="*/ 472458 h 618508"/>
                  <a:gd name="connsiteX15" fmla="*/ 310533 w 561357"/>
                  <a:gd name="connsiteY15" fmla="*/ 535957 h 618508"/>
                  <a:gd name="connsiteX16" fmla="*/ 418483 w 561357"/>
                  <a:gd name="connsiteY16" fmla="*/ 580408 h 618508"/>
                  <a:gd name="connsiteX17" fmla="*/ 478807 w 561357"/>
                  <a:gd name="connsiteY17" fmla="*/ 555007 h 618508"/>
                  <a:gd name="connsiteX18" fmla="*/ 523258 w 561357"/>
                  <a:gd name="connsiteY18" fmla="*/ 510558 h 618508"/>
                  <a:gd name="connsiteX19" fmla="*/ 523258 w 561357"/>
                  <a:gd name="connsiteY19" fmla="*/ 447058 h 618508"/>
                  <a:gd name="connsiteX20" fmla="*/ 478807 w 561357"/>
                  <a:gd name="connsiteY20" fmla="*/ 402607 h 618508"/>
                  <a:gd name="connsiteX21" fmla="*/ 447058 w 561357"/>
                  <a:gd name="connsiteY21" fmla="*/ 396258 h 618508"/>
                  <a:gd name="connsiteX22" fmla="*/ 386733 w 561357"/>
                  <a:gd name="connsiteY22" fmla="*/ 551833 h 618508"/>
                  <a:gd name="connsiteX23" fmla="*/ 367683 w 561357"/>
                  <a:gd name="connsiteY23" fmla="*/ 548658 h 618508"/>
                  <a:gd name="connsiteX24" fmla="*/ 342283 w 561357"/>
                  <a:gd name="connsiteY24" fmla="*/ 523258 h 618508"/>
                  <a:gd name="connsiteX25" fmla="*/ 342283 w 561357"/>
                  <a:gd name="connsiteY25" fmla="*/ 485158 h 618508"/>
                  <a:gd name="connsiteX26" fmla="*/ 367683 w 561357"/>
                  <a:gd name="connsiteY26" fmla="*/ 459757 h 618508"/>
                  <a:gd name="connsiteX27" fmla="*/ 428008 w 561357"/>
                  <a:gd name="connsiteY27" fmla="*/ 434358 h 618508"/>
                  <a:gd name="connsiteX28" fmla="*/ 466108 w 561357"/>
                  <a:gd name="connsiteY28" fmla="*/ 434358 h 618508"/>
                  <a:gd name="connsiteX29" fmla="*/ 491508 w 561357"/>
                  <a:gd name="connsiteY29" fmla="*/ 459757 h 618508"/>
                  <a:gd name="connsiteX30" fmla="*/ 462933 w 561357"/>
                  <a:gd name="connsiteY30" fmla="*/ 523258 h 618508"/>
                  <a:gd name="connsiteX31" fmla="*/ 402607 w 561357"/>
                  <a:gd name="connsiteY31" fmla="*/ 548658 h 618508"/>
                  <a:gd name="connsiteX32" fmla="*/ 386733 w 561357"/>
                  <a:gd name="connsiteY32" fmla="*/ 551833 h 618508"/>
                  <a:gd name="connsiteX33" fmla="*/ 447058 w 561357"/>
                  <a:gd name="connsiteY33" fmla="*/ 462933 h 618508"/>
                  <a:gd name="connsiteX34" fmla="*/ 440707 w 561357"/>
                  <a:gd name="connsiteY34" fmla="*/ 462933 h 618508"/>
                  <a:gd name="connsiteX35" fmla="*/ 380383 w 561357"/>
                  <a:gd name="connsiteY35" fmla="*/ 488332 h 618508"/>
                  <a:gd name="connsiteX36" fmla="*/ 370858 w 561357"/>
                  <a:gd name="connsiteY36" fmla="*/ 497857 h 618508"/>
                  <a:gd name="connsiteX37" fmla="*/ 370858 w 561357"/>
                  <a:gd name="connsiteY37" fmla="*/ 510558 h 618508"/>
                  <a:gd name="connsiteX38" fmla="*/ 380383 w 561357"/>
                  <a:gd name="connsiteY38" fmla="*/ 520083 h 618508"/>
                  <a:gd name="connsiteX39" fmla="*/ 393082 w 561357"/>
                  <a:gd name="connsiteY39" fmla="*/ 520083 h 618508"/>
                  <a:gd name="connsiteX40" fmla="*/ 453408 w 561357"/>
                  <a:gd name="connsiteY40" fmla="*/ 494683 h 618508"/>
                  <a:gd name="connsiteX41" fmla="*/ 462933 w 561357"/>
                  <a:gd name="connsiteY41" fmla="*/ 472458 h 618508"/>
                  <a:gd name="connsiteX42" fmla="*/ 453408 w 561357"/>
                  <a:gd name="connsiteY42" fmla="*/ 462933 h 618508"/>
                  <a:gd name="connsiteX43" fmla="*/ 447058 w 561357"/>
                  <a:gd name="connsiteY43" fmla="*/ 462933 h 618508"/>
                  <a:gd name="connsiteX44" fmla="*/ 148608 w 561357"/>
                  <a:gd name="connsiteY44" fmla="*/ 69232 h 618508"/>
                  <a:gd name="connsiteX45" fmla="*/ 158133 w 561357"/>
                  <a:gd name="connsiteY45" fmla="*/ 113683 h 618508"/>
                  <a:gd name="connsiteX46" fmla="*/ 123208 w 561357"/>
                  <a:gd name="connsiteY46" fmla="*/ 167658 h 618508"/>
                  <a:gd name="connsiteX47" fmla="*/ 78757 w 561357"/>
                  <a:gd name="connsiteY47" fmla="*/ 177183 h 618508"/>
                  <a:gd name="connsiteX48" fmla="*/ 69232 w 561357"/>
                  <a:gd name="connsiteY48" fmla="*/ 132733 h 618508"/>
                  <a:gd name="connsiteX49" fmla="*/ 104158 w 561357"/>
                  <a:gd name="connsiteY49" fmla="*/ 78757 h 618508"/>
                  <a:gd name="connsiteX50" fmla="*/ 148608 w 561357"/>
                  <a:gd name="connsiteY50" fmla="*/ 69232 h 618508"/>
                  <a:gd name="connsiteX51" fmla="*/ 186708 w 561357"/>
                  <a:gd name="connsiteY51" fmla="*/ 15258 h 618508"/>
                  <a:gd name="connsiteX52" fmla="*/ 50182 w 561357"/>
                  <a:gd name="connsiteY52" fmla="*/ 43833 h 618508"/>
                  <a:gd name="connsiteX53" fmla="*/ 15258 w 561357"/>
                  <a:gd name="connsiteY53" fmla="*/ 97807 h 618508"/>
                  <a:gd name="connsiteX54" fmla="*/ 43833 w 561357"/>
                  <a:gd name="connsiteY54" fmla="*/ 234333 h 618508"/>
                  <a:gd name="connsiteX55" fmla="*/ 180358 w 561357"/>
                  <a:gd name="connsiteY55" fmla="*/ 205758 h 618508"/>
                  <a:gd name="connsiteX56" fmla="*/ 215283 w 561357"/>
                  <a:gd name="connsiteY56" fmla="*/ 151783 h 618508"/>
                  <a:gd name="connsiteX57" fmla="*/ 186708 w 561357"/>
                  <a:gd name="connsiteY57" fmla="*/ 15258 h 61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1357" h="618508">
                    <a:moveTo>
                      <a:pt x="386733" y="618508"/>
                    </a:moveTo>
                    <a:cubicBezTo>
                      <a:pt x="342283" y="618508"/>
                      <a:pt x="297832" y="589934"/>
                      <a:pt x="278782" y="545482"/>
                    </a:cubicBezTo>
                    <a:cubicBezTo>
                      <a:pt x="266083" y="516907"/>
                      <a:pt x="266083" y="485158"/>
                      <a:pt x="278782" y="456583"/>
                    </a:cubicBezTo>
                    <a:cubicBezTo>
                      <a:pt x="291483" y="428008"/>
                      <a:pt x="313708" y="405783"/>
                      <a:pt x="342283" y="396258"/>
                    </a:cubicBezTo>
                    <a:lnTo>
                      <a:pt x="402607" y="374032"/>
                    </a:lnTo>
                    <a:cubicBezTo>
                      <a:pt x="431182" y="361333"/>
                      <a:pt x="462933" y="361333"/>
                      <a:pt x="491508" y="374032"/>
                    </a:cubicBezTo>
                    <a:cubicBezTo>
                      <a:pt x="520083" y="386733"/>
                      <a:pt x="542308" y="408958"/>
                      <a:pt x="551833" y="437533"/>
                    </a:cubicBezTo>
                    <a:cubicBezTo>
                      <a:pt x="564532" y="466108"/>
                      <a:pt x="564532" y="497857"/>
                      <a:pt x="551833" y="526432"/>
                    </a:cubicBezTo>
                    <a:cubicBezTo>
                      <a:pt x="539133" y="555007"/>
                      <a:pt x="516907" y="577233"/>
                      <a:pt x="488332" y="586758"/>
                    </a:cubicBezTo>
                    <a:lnTo>
                      <a:pt x="428008" y="612157"/>
                    </a:lnTo>
                    <a:cubicBezTo>
                      <a:pt x="415308" y="615333"/>
                      <a:pt x="399433" y="618508"/>
                      <a:pt x="386733" y="618508"/>
                    </a:cubicBezTo>
                    <a:close/>
                    <a:moveTo>
                      <a:pt x="447058" y="396258"/>
                    </a:moveTo>
                    <a:cubicBezTo>
                      <a:pt x="437533" y="396258"/>
                      <a:pt x="424833" y="399433"/>
                      <a:pt x="415308" y="402607"/>
                    </a:cubicBezTo>
                    <a:lnTo>
                      <a:pt x="354982" y="428008"/>
                    </a:lnTo>
                    <a:cubicBezTo>
                      <a:pt x="335932" y="437533"/>
                      <a:pt x="320058" y="453408"/>
                      <a:pt x="310533" y="472458"/>
                    </a:cubicBezTo>
                    <a:cubicBezTo>
                      <a:pt x="301008" y="491508"/>
                      <a:pt x="301008" y="513733"/>
                      <a:pt x="310533" y="535957"/>
                    </a:cubicBezTo>
                    <a:cubicBezTo>
                      <a:pt x="326407" y="577233"/>
                      <a:pt x="374032" y="599458"/>
                      <a:pt x="418483" y="580408"/>
                    </a:cubicBezTo>
                    <a:lnTo>
                      <a:pt x="478807" y="555007"/>
                    </a:lnTo>
                    <a:cubicBezTo>
                      <a:pt x="497857" y="545482"/>
                      <a:pt x="513733" y="529608"/>
                      <a:pt x="523258" y="510558"/>
                    </a:cubicBezTo>
                    <a:cubicBezTo>
                      <a:pt x="532783" y="491508"/>
                      <a:pt x="532783" y="469282"/>
                      <a:pt x="523258" y="447058"/>
                    </a:cubicBezTo>
                    <a:cubicBezTo>
                      <a:pt x="513733" y="428008"/>
                      <a:pt x="497857" y="412132"/>
                      <a:pt x="478807" y="402607"/>
                    </a:cubicBezTo>
                    <a:cubicBezTo>
                      <a:pt x="469282" y="399433"/>
                      <a:pt x="456583" y="396258"/>
                      <a:pt x="447058" y="396258"/>
                    </a:cubicBezTo>
                    <a:close/>
                    <a:moveTo>
                      <a:pt x="386733" y="551833"/>
                    </a:moveTo>
                    <a:cubicBezTo>
                      <a:pt x="380383" y="551833"/>
                      <a:pt x="374032" y="551833"/>
                      <a:pt x="367683" y="548658"/>
                    </a:cubicBezTo>
                    <a:cubicBezTo>
                      <a:pt x="354982" y="542308"/>
                      <a:pt x="345457" y="532784"/>
                      <a:pt x="342283" y="523258"/>
                    </a:cubicBezTo>
                    <a:cubicBezTo>
                      <a:pt x="335932" y="510558"/>
                      <a:pt x="339108" y="497857"/>
                      <a:pt x="342283" y="485158"/>
                    </a:cubicBezTo>
                    <a:cubicBezTo>
                      <a:pt x="348633" y="472458"/>
                      <a:pt x="358158" y="462933"/>
                      <a:pt x="367683" y="459757"/>
                    </a:cubicBezTo>
                    <a:lnTo>
                      <a:pt x="428008" y="434358"/>
                    </a:lnTo>
                    <a:cubicBezTo>
                      <a:pt x="440707" y="428008"/>
                      <a:pt x="453408" y="431182"/>
                      <a:pt x="466108" y="434358"/>
                    </a:cubicBezTo>
                    <a:cubicBezTo>
                      <a:pt x="478807" y="437533"/>
                      <a:pt x="488332" y="450232"/>
                      <a:pt x="491508" y="459757"/>
                    </a:cubicBezTo>
                    <a:cubicBezTo>
                      <a:pt x="501033" y="485158"/>
                      <a:pt x="488332" y="513733"/>
                      <a:pt x="462933" y="523258"/>
                    </a:cubicBezTo>
                    <a:lnTo>
                      <a:pt x="402607" y="548658"/>
                    </a:lnTo>
                    <a:cubicBezTo>
                      <a:pt x="399433" y="551833"/>
                      <a:pt x="393082" y="551833"/>
                      <a:pt x="386733" y="551833"/>
                    </a:cubicBezTo>
                    <a:close/>
                    <a:moveTo>
                      <a:pt x="447058" y="462933"/>
                    </a:moveTo>
                    <a:lnTo>
                      <a:pt x="440707" y="462933"/>
                    </a:lnTo>
                    <a:lnTo>
                      <a:pt x="380383" y="488332"/>
                    </a:lnTo>
                    <a:cubicBezTo>
                      <a:pt x="377208" y="488332"/>
                      <a:pt x="374032" y="491508"/>
                      <a:pt x="370858" y="497857"/>
                    </a:cubicBezTo>
                    <a:cubicBezTo>
                      <a:pt x="367683" y="501033"/>
                      <a:pt x="367683" y="507382"/>
                      <a:pt x="370858" y="510558"/>
                    </a:cubicBezTo>
                    <a:cubicBezTo>
                      <a:pt x="374032" y="513733"/>
                      <a:pt x="374032" y="516907"/>
                      <a:pt x="380383" y="520083"/>
                    </a:cubicBezTo>
                    <a:cubicBezTo>
                      <a:pt x="383557" y="523258"/>
                      <a:pt x="389908" y="523258"/>
                      <a:pt x="393082" y="520083"/>
                    </a:cubicBezTo>
                    <a:lnTo>
                      <a:pt x="453408" y="494683"/>
                    </a:lnTo>
                    <a:cubicBezTo>
                      <a:pt x="462933" y="491508"/>
                      <a:pt x="466108" y="481983"/>
                      <a:pt x="462933" y="472458"/>
                    </a:cubicBezTo>
                    <a:lnTo>
                      <a:pt x="453408" y="462933"/>
                    </a:lnTo>
                    <a:lnTo>
                      <a:pt x="447058" y="462933"/>
                    </a:lnTo>
                    <a:close/>
                    <a:moveTo>
                      <a:pt x="148608" y="69232"/>
                    </a:moveTo>
                    <a:cubicBezTo>
                      <a:pt x="164482" y="78757"/>
                      <a:pt x="167658" y="100983"/>
                      <a:pt x="158133" y="113683"/>
                    </a:cubicBezTo>
                    <a:lnTo>
                      <a:pt x="123208" y="167658"/>
                    </a:lnTo>
                    <a:cubicBezTo>
                      <a:pt x="113683" y="183532"/>
                      <a:pt x="91458" y="186708"/>
                      <a:pt x="78757" y="177183"/>
                    </a:cubicBezTo>
                    <a:cubicBezTo>
                      <a:pt x="62883" y="167658"/>
                      <a:pt x="59707" y="145432"/>
                      <a:pt x="69232" y="132733"/>
                    </a:cubicBezTo>
                    <a:lnTo>
                      <a:pt x="104158" y="78757"/>
                    </a:lnTo>
                    <a:cubicBezTo>
                      <a:pt x="113683" y="62883"/>
                      <a:pt x="135907" y="59707"/>
                      <a:pt x="148608" y="69232"/>
                    </a:cubicBezTo>
                    <a:moveTo>
                      <a:pt x="186708" y="15258"/>
                    </a:moveTo>
                    <a:cubicBezTo>
                      <a:pt x="142258" y="-13317"/>
                      <a:pt x="78757" y="-617"/>
                      <a:pt x="50182" y="43833"/>
                    </a:cubicBezTo>
                    <a:lnTo>
                      <a:pt x="15258" y="97807"/>
                    </a:lnTo>
                    <a:cubicBezTo>
                      <a:pt x="-13317" y="142258"/>
                      <a:pt x="-617" y="205758"/>
                      <a:pt x="43833" y="234333"/>
                    </a:cubicBezTo>
                    <a:cubicBezTo>
                      <a:pt x="88282" y="262908"/>
                      <a:pt x="151783" y="250207"/>
                      <a:pt x="180358" y="205758"/>
                    </a:cubicBezTo>
                    <a:lnTo>
                      <a:pt x="215283" y="151783"/>
                    </a:lnTo>
                    <a:cubicBezTo>
                      <a:pt x="243858" y="104158"/>
                      <a:pt x="231157" y="43833"/>
                      <a:pt x="186708" y="15258"/>
                    </a:cubicBezTo>
                    <a:close/>
                  </a:path>
                </a:pathLst>
              </a:custGeom>
              <a:grpFill/>
              <a:ln w="1860" cap="flat">
                <a:noFill/>
                <a:prstDash val="solid"/>
                <a:miter/>
              </a:ln>
            </p:spPr>
            <p:txBody>
              <a:bodyPr rtlCol="0" anchor="ctr"/>
              <a:lstStyle/>
              <a:p>
                <a:endParaRPr lang="zh-CN" altLang="en-US"/>
              </a:p>
            </p:txBody>
          </p:sp>
          <p:sp>
            <p:nvSpPr>
              <p:cNvPr id="62" name="任意多边形: 形状 61"/>
              <p:cNvSpPr/>
              <p:nvPr/>
            </p:nvSpPr>
            <p:spPr>
              <a:xfrm>
                <a:off x="13341802" y="1006224"/>
                <a:ext cx="669183" cy="406400"/>
              </a:xfrm>
              <a:custGeom>
                <a:avLst/>
                <a:gdLst>
                  <a:gd name="connsiteX0" fmla="*/ 520701 w 669183"/>
                  <a:gd name="connsiteY0" fmla="*/ 406401 h 406400"/>
                  <a:gd name="connsiteX1" fmla="*/ 457200 w 669183"/>
                  <a:gd name="connsiteY1" fmla="*/ 387351 h 406400"/>
                  <a:gd name="connsiteX2" fmla="*/ 409575 w 669183"/>
                  <a:gd name="connsiteY2" fmla="*/ 314324 h 406400"/>
                  <a:gd name="connsiteX3" fmla="*/ 425451 w 669183"/>
                  <a:gd name="connsiteY3" fmla="*/ 228599 h 406400"/>
                  <a:gd name="connsiteX4" fmla="*/ 460376 w 669183"/>
                  <a:gd name="connsiteY4" fmla="*/ 174625 h 406400"/>
                  <a:gd name="connsiteX5" fmla="*/ 619125 w 669183"/>
                  <a:gd name="connsiteY5" fmla="*/ 142875 h 406400"/>
                  <a:gd name="connsiteX6" fmla="*/ 666750 w 669183"/>
                  <a:gd name="connsiteY6" fmla="*/ 215901 h 406400"/>
                  <a:gd name="connsiteX7" fmla="*/ 650876 w 669183"/>
                  <a:gd name="connsiteY7" fmla="*/ 301626 h 406400"/>
                  <a:gd name="connsiteX8" fmla="*/ 619125 w 669183"/>
                  <a:gd name="connsiteY8" fmla="*/ 355600 h 406400"/>
                  <a:gd name="connsiteX9" fmla="*/ 546101 w 669183"/>
                  <a:gd name="connsiteY9" fmla="*/ 403225 h 406400"/>
                  <a:gd name="connsiteX10" fmla="*/ 520701 w 669183"/>
                  <a:gd name="connsiteY10" fmla="*/ 406401 h 406400"/>
                  <a:gd name="connsiteX11" fmla="*/ 558801 w 669183"/>
                  <a:gd name="connsiteY11" fmla="*/ 155575 h 406400"/>
                  <a:gd name="connsiteX12" fmla="*/ 488951 w 669183"/>
                  <a:gd name="connsiteY12" fmla="*/ 193675 h 406400"/>
                  <a:gd name="connsiteX13" fmla="*/ 454026 w 669183"/>
                  <a:gd name="connsiteY13" fmla="*/ 247649 h 406400"/>
                  <a:gd name="connsiteX14" fmla="*/ 476250 w 669183"/>
                  <a:gd name="connsiteY14" fmla="*/ 361949 h 406400"/>
                  <a:gd name="connsiteX15" fmla="*/ 536576 w 669183"/>
                  <a:gd name="connsiteY15" fmla="*/ 374650 h 406400"/>
                  <a:gd name="connsiteX16" fmla="*/ 587376 w 669183"/>
                  <a:gd name="connsiteY16" fmla="*/ 339726 h 406400"/>
                  <a:gd name="connsiteX17" fmla="*/ 622301 w 669183"/>
                  <a:gd name="connsiteY17" fmla="*/ 285749 h 406400"/>
                  <a:gd name="connsiteX18" fmla="*/ 600075 w 669183"/>
                  <a:gd name="connsiteY18" fmla="*/ 171449 h 406400"/>
                  <a:gd name="connsiteX19" fmla="*/ 558801 w 669183"/>
                  <a:gd name="connsiteY19" fmla="*/ 155575 h 406400"/>
                  <a:gd name="connsiteX20" fmla="*/ 520701 w 669183"/>
                  <a:gd name="connsiteY20" fmla="*/ 339726 h 406400"/>
                  <a:gd name="connsiteX21" fmla="*/ 495300 w 669183"/>
                  <a:gd name="connsiteY21" fmla="*/ 330201 h 406400"/>
                  <a:gd name="connsiteX22" fmla="*/ 473076 w 669183"/>
                  <a:gd name="connsiteY22" fmla="*/ 298450 h 406400"/>
                  <a:gd name="connsiteX23" fmla="*/ 479426 w 669183"/>
                  <a:gd name="connsiteY23" fmla="*/ 260350 h 406400"/>
                  <a:gd name="connsiteX24" fmla="*/ 514350 w 669183"/>
                  <a:gd name="connsiteY24" fmla="*/ 206376 h 406400"/>
                  <a:gd name="connsiteX25" fmla="*/ 584201 w 669183"/>
                  <a:gd name="connsiteY25" fmla="*/ 193675 h 406400"/>
                  <a:gd name="connsiteX26" fmla="*/ 606426 w 669183"/>
                  <a:gd name="connsiteY26" fmla="*/ 225426 h 406400"/>
                  <a:gd name="connsiteX27" fmla="*/ 600075 w 669183"/>
                  <a:gd name="connsiteY27" fmla="*/ 263526 h 406400"/>
                  <a:gd name="connsiteX28" fmla="*/ 565151 w 669183"/>
                  <a:gd name="connsiteY28" fmla="*/ 317500 h 406400"/>
                  <a:gd name="connsiteX29" fmla="*/ 533400 w 669183"/>
                  <a:gd name="connsiteY29" fmla="*/ 339726 h 406400"/>
                  <a:gd name="connsiteX30" fmla="*/ 520701 w 669183"/>
                  <a:gd name="connsiteY30" fmla="*/ 339726 h 406400"/>
                  <a:gd name="connsiteX31" fmla="*/ 558801 w 669183"/>
                  <a:gd name="connsiteY31" fmla="*/ 219074 h 406400"/>
                  <a:gd name="connsiteX32" fmla="*/ 546101 w 669183"/>
                  <a:gd name="connsiteY32" fmla="*/ 225426 h 406400"/>
                  <a:gd name="connsiteX33" fmla="*/ 511176 w 669183"/>
                  <a:gd name="connsiteY33" fmla="*/ 279400 h 406400"/>
                  <a:gd name="connsiteX34" fmla="*/ 508001 w 669183"/>
                  <a:gd name="connsiteY34" fmla="*/ 292101 h 406400"/>
                  <a:gd name="connsiteX35" fmla="*/ 514350 w 669183"/>
                  <a:gd name="connsiteY35" fmla="*/ 301626 h 406400"/>
                  <a:gd name="connsiteX36" fmla="*/ 527051 w 669183"/>
                  <a:gd name="connsiteY36" fmla="*/ 304799 h 406400"/>
                  <a:gd name="connsiteX37" fmla="*/ 536576 w 669183"/>
                  <a:gd name="connsiteY37" fmla="*/ 298450 h 406400"/>
                  <a:gd name="connsiteX38" fmla="*/ 571500 w 669183"/>
                  <a:gd name="connsiteY38" fmla="*/ 244476 h 406400"/>
                  <a:gd name="connsiteX39" fmla="*/ 574676 w 669183"/>
                  <a:gd name="connsiteY39" fmla="*/ 231775 h 406400"/>
                  <a:gd name="connsiteX40" fmla="*/ 568326 w 669183"/>
                  <a:gd name="connsiteY40" fmla="*/ 222250 h 406400"/>
                  <a:gd name="connsiteX41" fmla="*/ 558801 w 669183"/>
                  <a:gd name="connsiteY41" fmla="*/ 219074 h 406400"/>
                  <a:gd name="connsiteX42" fmla="*/ 98426 w 669183"/>
                  <a:gd name="connsiteY42" fmla="*/ 66675 h 406400"/>
                  <a:gd name="connsiteX43" fmla="*/ 130176 w 669183"/>
                  <a:gd name="connsiteY43" fmla="*/ 98425 h 406400"/>
                  <a:gd name="connsiteX44" fmla="*/ 130176 w 669183"/>
                  <a:gd name="connsiteY44" fmla="*/ 165100 h 406400"/>
                  <a:gd name="connsiteX45" fmla="*/ 98426 w 669183"/>
                  <a:gd name="connsiteY45" fmla="*/ 196851 h 406400"/>
                  <a:gd name="connsiteX46" fmla="*/ 66675 w 669183"/>
                  <a:gd name="connsiteY46" fmla="*/ 165100 h 406400"/>
                  <a:gd name="connsiteX47" fmla="*/ 66675 w 669183"/>
                  <a:gd name="connsiteY47" fmla="*/ 98425 h 406400"/>
                  <a:gd name="connsiteX48" fmla="*/ 98426 w 669183"/>
                  <a:gd name="connsiteY48" fmla="*/ 66675 h 406400"/>
                  <a:gd name="connsiteX49" fmla="*/ 98426 w 669183"/>
                  <a:gd name="connsiteY49" fmla="*/ 0 h 406400"/>
                  <a:gd name="connsiteX50" fmla="*/ 0 w 669183"/>
                  <a:gd name="connsiteY50" fmla="*/ 98425 h 406400"/>
                  <a:gd name="connsiteX51" fmla="*/ 0 w 669183"/>
                  <a:gd name="connsiteY51" fmla="*/ 165100 h 406400"/>
                  <a:gd name="connsiteX52" fmla="*/ 98426 w 669183"/>
                  <a:gd name="connsiteY52" fmla="*/ 263526 h 406400"/>
                  <a:gd name="connsiteX53" fmla="*/ 196851 w 669183"/>
                  <a:gd name="connsiteY53" fmla="*/ 165100 h 406400"/>
                  <a:gd name="connsiteX54" fmla="*/ 196851 w 669183"/>
                  <a:gd name="connsiteY54" fmla="*/ 98425 h 406400"/>
                  <a:gd name="connsiteX55" fmla="*/ 98426 w 669183"/>
                  <a:gd name="connsiteY55"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9183" h="406400">
                    <a:moveTo>
                      <a:pt x="520701" y="406401"/>
                    </a:moveTo>
                    <a:cubicBezTo>
                      <a:pt x="498476" y="406401"/>
                      <a:pt x="476250" y="400049"/>
                      <a:pt x="457200" y="387351"/>
                    </a:cubicBezTo>
                    <a:cubicBezTo>
                      <a:pt x="431801" y="371474"/>
                      <a:pt x="412751" y="346075"/>
                      <a:pt x="409575" y="314324"/>
                    </a:cubicBezTo>
                    <a:cubicBezTo>
                      <a:pt x="403226" y="282576"/>
                      <a:pt x="409575" y="254001"/>
                      <a:pt x="425451" y="228599"/>
                    </a:cubicBezTo>
                    <a:lnTo>
                      <a:pt x="460376" y="174625"/>
                    </a:lnTo>
                    <a:cubicBezTo>
                      <a:pt x="495300" y="120650"/>
                      <a:pt x="568326" y="107950"/>
                      <a:pt x="619125" y="142875"/>
                    </a:cubicBezTo>
                    <a:cubicBezTo>
                      <a:pt x="644526" y="158750"/>
                      <a:pt x="663576" y="184150"/>
                      <a:pt x="666750" y="215901"/>
                    </a:cubicBezTo>
                    <a:cubicBezTo>
                      <a:pt x="673101" y="247649"/>
                      <a:pt x="666750" y="276224"/>
                      <a:pt x="650876" y="301626"/>
                    </a:cubicBezTo>
                    <a:lnTo>
                      <a:pt x="619125" y="355600"/>
                    </a:lnTo>
                    <a:cubicBezTo>
                      <a:pt x="603251" y="380999"/>
                      <a:pt x="577851" y="400049"/>
                      <a:pt x="546101" y="403225"/>
                    </a:cubicBezTo>
                    <a:cubicBezTo>
                      <a:pt x="536576" y="406401"/>
                      <a:pt x="530226" y="406401"/>
                      <a:pt x="520701" y="406401"/>
                    </a:cubicBezTo>
                    <a:close/>
                    <a:moveTo>
                      <a:pt x="558801" y="155575"/>
                    </a:moveTo>
                    <a:cubicBezTo>
                      <a:pt x="533400" y="155575"/>
                      <a:pt x="504825" y="168276"/>
                      <a:pt x="488951" y="193675"/>
                    </a:cubicBezTo>
                    <a:lnTo>
                      <a:pt x="454026" y="247649"/>
                    </a:lnTo>
                    <a:cubicBezTo>
                      <a:pt x="428625" y="285749"/>
                      <a:pt x="438150" y="336550"/>
                      <a:pt x="476250" y="361949"/>
                    </a:cubicBezTo>
                    <a:cubicBezTo>
                      <a:pt x="495300" y="374650"/>
                      <a:pt x="517526" y="377826"/>
                      <a:pt x="536576" y="374650"/>
                    </a:cubicBezTo>
                    <a:cubicBezTo>
                      <a:pt x="558801" y="371474"/>
                      <a:pt x="577851" y="358776"/>
                      <a:pt x="587376" y="339726"/>
                    </a:cubicBezTo>
                    <a:lnTo>
                      <a:pt x="622301" y="285749"/>
                    </a:lnTo>
                    <a:cubicBezTo>
                      <a:pt x="647700" y="247649"/>
                      <a:pt x="638175" y="196851"/>
                      <a:pt x="600075" y="171449"/>
                    </a:cubicBezTo>
                    <a:cubicBezTo>
                      <a:pt x="590550" y="158750"/>
                      <a:pt x="574676" y="155575"/>
                      <a:pt x="558801" y="155575"/>
                    </a:cubicBezTo>
                    <a:close/>
                    <a:moveTo>
                      <a:pt x="520701" y="339726"/>
                    </a:moveTo>
                    <a:cubicBezTo>
                      <a:pt x="511176" y="339726"/>
                      <a:pt x="501651" y="336550"/>
                      <a:pt x="495300" y="330201"/>
                    </a:cubicBezTo>
                    <a:cubicBezTo>
                      <a:pt x="485775" y="323849"/>
                      <a:pt x="476250" y="311151"/>
                      <a:pt x="473076" y="298450"/>
                    </a:cubicBezTo>
                    <a:cubicBezTo>
                      <a:pt x="469901" y="285749"/>
                      <a:pt x="473076" y="273051"/>
                      <a:pt x="479426" y="260350"/>
                    </a:cubicBezTo>
                    <a:lnTo>
                      <a:pt x="514350" y="206376"/>
                    </a:lnTo>
                    <a:cubicBezTo>
                      <a:pt x="530226" y="184150"/>
                      <a:pt x="558801" y="177801"/>
                      <a:pt x="584201" y="193675"/>
                    </a:cubicBezTo>
                    <a:cubicBezTo>
                      <a:pt x="593726" y="200024"/>
                      <a:pt x="603251" y="212725"/>
                      <a:pt x="606426" y="225426"/>
                    </a:cubicBezTo>
                    <a:cubicBezTo>
                      <a:pt x="609600" y="238124"/>
                      <a:pt x="606426" y="250825"/>
                      <a:pt x="600075" y="263526"/>
                    </a:cubicBezTo>
                    <a:lnTo>
                      <a:pt x="565151" y="317500"/>
                    </a:lnTo>
                    <a:cubicBezTo>
                      <a:pt x="558801" y="327025"/>
                      <a:pt x="546101" y="336550"/>
                      <a:pt x="533400" y="339726"/>
                    </a:cubicBezTo>
                    <a:lnTo>
                      <a:pt x="520701" y="339726"/>
                    </a:lnTo>
                    <a:close/>
                    <a:moveTo>
                      <a:pt x="558801" y="219074"/>
                    </a:moveTo>
                    <a:cubicBezTo>
                      <a:pt x="552450" y="219074"/>
                      <a:pt x="549276" y="222250"/>
                      <a:pt x="546101" y="225426"/>
                    </a:cubicBezTo>
                    <a:lnTo>
                      <a:pt x="511176" y="279400"/>
                    </a:lnTo>
                    <a:cubicBezTo>
                      <a:pt x="508001" y="282576"/>
                      <a:pt x="508001" y="285749"/>
                      <a:pt x="508001" y="292101"/>
                    </a:cubicBezTo>
                    <a:cubicBezTo>
                      <a:pt x="508001" y="295274"/>
                      <a:pt x="511176" y="301626"/>
                      <a:pt x="514350" y="301626"/>
                    </a:cubicBezTo>
                    <a:cubicBezTo>
                      <a:pt x="517526" y="304799"/>
                      <a:pt x="520701" y="304799"/>
                      <a:pt x="527051" y="304799"/>
                    </a:cubicBezTo>
                    <a:cubicBezTo>
                      <a:pt x="530226" y="304799"/>
                      <a:pt x="536576" y="301626"/>
                      <a:pt x="536576" y="298450"/>
                    </a:cubicBezTo>
                    <a:lnTo>
                      <a:pt x="571500" y="244476"/>
                    </a:lnTo>
                    <a:cubicBezTo>
                      <a:pt x="574676" y="241300"/>
                      <a:pt x="574676" y="238124"/>
                      <a:pt x="574676" y="231775"/>
                    </a:cubicBezTo>
                    <a:cubicBezTo>
                      <a:pt x="574676" y="228599"/>
                      <a:pt x="571500" y="222250"/>
                      <a:pt x="568326" y="222250"/>
                    </a:cubicBezTo>
                    <a:cubicBezTo>
                      <a:pt x="565151" y="222250"/>
                      <a:pt x="561975" y="219074"/>
                      <a:pt x="558801" y="219074"/>
                    </a:cubicBezTo>
                    <a:close/>
                    <a:moveTo>
                      <a:pt x="98426" y="66675"/>
                    </a:moveTo>
                    <a:cubicBezTo>
                      <a:pt x="117476" y="66675"/>
                      <a:pt x="130176" y="82550"/>
                      <a:pt x="130176" y="98425"/>
                    </a:cubicBezTo>
                    <a:lnTo>
                      <a:pt x="130176" y="165100"/>
                    </a:lnTo>
                    <a:cubicBezTo>
                      <a:pt x="130176" y="184150"/>
                      <a:pt x="114300" y="196851"/>
                      <a:pt x="98426" y="196851"/>
                    </a:cubicBezTo>
                    <a:cubicBezTo>
                      <a:pt x="79376" y="196851"/>
                      <a:pt x="66675" y="180974"/>
                      <a:pt x="66675" y="165100"/>
                    </a:cubicBezTo>
                    <a:lnTo>
                      <a:pt x="66675" y="98425"/>
                    </a:lnTo>
                    <a:cubicBezTo>
                      <a:pt x="66675" y="82550"/>
                      <a:pt x="79376" y="66675"/>
                      <a:pt x="98426" y="66675"/>
                    </a:cubicBezTo>
                    <a:moveTo>
                      <a:pt x="98426" y="0"/>
                    </a:moveTo>
                    <a:cubicBezTo>
                      <a:pt x="44451" y="0"/>
                      <a:pt x="0" y="44450"/>
                      <a:pt x="0" y="98425"/>
                    </a:cubicBezTo>
                    <a:lnTo>
                      <a:pt x="0" y="165100"/>
                    </a:lnTo>
                    <a:cubicBezTo>
                      <a:pt x="0" y="219074"/>
                      <a:pt x="44451" y="263526"/>
                      <a:pt x="98426" y="263526"/>
                    </a:cubicBezTo>
                    <a:cubicBezTo>
                      <a:pt x="152400" y="263526"/>
                      <a:pt x="196851" y="219074"/>
                      <a:pt x="196851" y="165100"/>
                    </a:cubicBezTo>
                    <a:lnTo>
                      <a:pt x="196851" y="98425"/>
                    </a:lnTo>
                    <a:cubicBezTo>
                      <a:pt x="196851" y="44450"/>
                      <a:pt x="152400" y="0"/>
                      <a:pt x="98426" y="0"/>
                    </a:cubicBezTo>
                    <a:close/>
                  </a:path>
                </a:pathLst>
              </a:custGeom>
              <a:grpFill/>
              <a:ln w="1860" cap="flat">
                <a:noFill/>
                <a:prstDash val="solid"/>
                <a:miter/>
              </a:ln>
            </p:spPr>
            <p:txBody>
              <a:bodyPr rtlCol="0" anchor="ctr"/>
              <a:lstStyle/>
              <a:p>
                <a:endParaRPr lang="zh-CN" altLang="en-US"/>
              </a:p>
            </p:txBody>
          </p:sp>
          <p:sp>
            <p:nvSpPr>
              <p:cNvPr id="63" name="任意多边形: 形状 62"/>
              <p:cNvSpPr/>
              <p:nvPr/>
            </p:nvSpPr>
            <p:spPr>
              <a:xfrm>
                <a:off x="13325927" y="990349"/>
                <a:ext cx="228600" cy="295274"/>
              </a:xfrm>
              <a:custGeom>
                <a:avLst/>
                <a:gdLst>
                  <a:gd name="connsiteX0" fmla="*/ 114300 w 228600"/>
                  <a:gd name="connsiteY0" fmla="*/ 295275 h 295274"/>
                  <a:gd name="connsiteX1" fmla="*/ 0 w 228600"/>
                  <a:gd name="connsiteY1" fmla="*/ 180975 h 295274"/>
                  <a:gd name="connsiteX2" fmla="*/ 0 w 228600"/>
                  <a:gd name="connsiteY2" fmla="*/ 114300 h 295274"/>
                  <a:gd name="connsiteX3" fmla="*/ 114300 w 228600"/>
                  <a:gd name="connsiteY3" fmla="*/ 0 h 295274"/>
                  <a:gd name="connsiteX4" fmla="*/ 228600 w 228600"/>
                  <a:gd name="connsiteY4" fmla="*/ 114300 h 295274"/>
                  <a:gd name="connsiteX5" fmla="*/ 228600 w 228600"/>
                  <a:gd name="connsiteY5" fmla="*/ 180975 h 295274"/>
                  <a:gd name="connsiteX6" fmla="*/ 114300 w 228600"/>
                  <a:gd name="connsiteY6" fmla="*/ 295275 h 295274"/>
                  <a:gd name="connsiteX7" fmla="*/ 114300 w 228600"/>
                  <a:gd name="connsiteY7" fmla="*/ 31750 h 295274"/>
                  <a:gd name="connsiteX8" fmla="*/ 31751 w 228600"/>
                  <a:gd name="connsiteY8" fmla="*/ 114300 h 295274"/>
                  <a:gd name="connsiteX9" fmla="*/ 31751 w 228600"/>
                  <a:gd name="connsiteY9" fmla="*/ 180975 h 295274"/>
                  <a:gd name="connsiteX10" fmla="*/ 114300 w 228600"/>
                  <a:gd name="connsiteY10" fmla="*/ 263524 h 295274"/>
                  <a:gd name="connsiteX11" fmla="*/ 196849 w 228600"/>
                  <a:gd name="connsiteY11" fmla="*/ 180975 h 295274"/>
                  <a:gd name="connsiteX12" fmla="*/ 196849 w 228600"/>
                  <a:gd name="connsiteY12" fmla="*/ 114300 h 295274"/>
                  <a:gd name="connsiteX13" fmla="*/ 114300 w 228600"/>
                  <a:gd name="connsiteY13" fmla="*/ 31750 h 295274"/>
                  <a:gd name="connsiteX14" fmla="*/ 114300 w 228600"/>
                  <a:gd name="connsiteY14" fmla="*/ 228600 h 295274"/>
                  <a:gd name="connsiteX15" fmla="*/ 63499 w 228600"/>
                  <a:gd name="connsiteY15" fmla="*/ 177799 h 295274"/>
                  <a:gd name="connsiteX16" fmla="*/ 63499 w 228600"/>
                  <a:gd name="connsiteY16" fmla="*/ 114300 h 295274"/>
                  <a:gd name="connsiteX17" fmla="*/ 114300 w 228600"/>
                  <a:gd name="connsiteY17" fmla="*/ 63500 h 295274"/>
                  <a:gd name="connsiteX18" fmla="*/ 165101 w 228600"/>
                  <a:gd name="connsiteY18" fmla="*/ 114300 h 295274"/>
                  <a:gd name="connsiteX19" fmla="*/ 165101 w 228600"/>
                  <a:gd name="connsiteY19" fmla="*/ 180975 h 295274"/>
                  <a:gd name="connsiteX20" fmla="*/ 114300 w 228600"/>
                  <a:gd name="connsiteY20" fmla="*/ 228600 h 295274"/>
                  <a:gd name="connsiteX21" fmla="*/ 114300 w 228600"/>
                  <a:gd name="connsiteY21" fmla="*/ 98425 h 295274"/>
                  <a:gd name="connsiteX22" fmla="*/ 98426 w 228600"/>
                  <a:gd name="connsiteY22" fmla="*/ 114300 h 295274"/>
                  <a:gd name="connsiteX23" fmla="*/ 98426 w 228600"/>
                  <a:gd name="connsiteY23" fmla="*/ 180975 h 295274"/>
                  <a:gd name="connsiteX24" fmla="*/ 114300 w 228600"/>
                  <a:gd name="connsiteY24" fmla="*/ 196849 h 295274"/>
                  <a:gd name="connsiteX25" fmla="*/ 130174 w 228600"/>
                  <a:gd name="connsiteY25" fmla="*/ 180975 h 295274"/>
                  <a:gd name="connsiteX26" fmla="*/ 130174 w 228600"/>
                  <a:gd name="connsiteY26" fmla="*/ 114300 h 295274"/>
                  <a:gd name="connsiteX27" fmla="*/ 114300 w 228600"/>
                  <a:gd name="connsiteY27" fmla="*/ 98425 h 29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295274">
                    <a:moveTo>
                      <a:pt x="114300" y="295275"/>
                    </a:moveTo>
                    <a:cubicBezTo>
                      <a:pt x="50801" y="295275"/>
                      <a:pt x="0" y="244474"/>
                      <a:pt x="0" y="180975"/>
                    </a:cubicBezTo>
                    <a:lnTo>
                      <a:pt x="0" y="114300"/>
                    </a:lnTo>
                    <a:cubicBezTo>
                      <a:pt x="0" y="50800"/>
                      <a:pt x="50801" y="0"/>
                      <a:pt x="114300" y="0"/>
                    </a:cubicBezTo>
                    <a:cubicBezTo>
                      <a:pt x="177799" y="0"/>
                      <a:pt x="228600" y="50800"/>
                      <a:pt x="228600" y="114300"/>
                    </a:cubicBezTo>
                    <a:lnTo>
                      <a:pt x="228600" y="180975"/>
                    </a:lnTo>
                    <a:cubicBezTo>
                      <a:pt x="228600" y="244474"/>
                      <a:pt x="177799" y="295275"/>
                      <a:pt x="114300" y="295275"/>
                    </a:cubicBezTo>
                    <a:close/>
                    <a:moveTo>
                      <a:pt x="114300" y="31750"/>
                    </a:moveTo>
                    <a:cubicBezTo>
                      <a:pt x="69851" y="31750"/>
                      <a:pt x="31751" y="69850"/>
                      <a:pt x="31751" y="114300"/>
                    </a:cubicBezTo>
                    <a:lnTo>
                      <a:pt x="31751" y="180975"/>
                    </a:lnTo>
                    <a:cubicBezTo>
                      <a:pt x="31751" y="225424"/>
                      <a:pt x="69851" y="263524"/>
                      <a:pt x="114300" y="263524"/>
                    </a:cubicBezTo>
                    <a:cubicBezTo>
                      <a:pt x="158749" y="263524"/>
                      <a:pt x="196849" y="225424"/>
                      <a:pt x="196849" y="180975"/>
                    </a:cubicBezTo>
                    <a:lnTo>
                      <a:pt x="196849" y="114300"/>
                    </a:lnTo>
                    <a:cubicBezTo>
                      <a:pt x="196849" y="69850"/>
                      <a:pt x="158749" y="31750"/>
                      <a:pt x="114300" y="31750"/>
                    </a:cubicBezTo>
                    <a:close/>
                    <a:moveTo>
                      <a:pt x="114300" y="228600"/>
                    </a:moveTo>
                    <a:cubicBezTo>
                      <a:pt x="88901" y="228600"/>
                      <a:pt x="63499" y="206374"/>
                      <a:pt x="63499" y="177799"/>
                    </a:cubicBezTo>
                    <a:lnTo>
                      <a:pt x="63499" y="114300"/>
                    </a:lnTo>
                    <a:cubicBezTo>
                      <a:pt x="63499" y="88900"/>
                      <a:pt x="85725" y="63500"/>
                      <a:pt x="114300" y="63500"/>
                    </a:cubicBezTo>
                    <a:cubicBezTo>
                      <a:pt x="142875" y="63500"/>
                      <a:pt x="165101" y="85725"/>
                      <a:pt x="165101" y="114300"/>
                    </a:cubicBezTo>
                    <a:lnTo>
                      <a:pt x="165101" y="180975"/>
                    </a:lnTo>
                    <a:cubicBezTo>
                      <a:pt x="165101" y="206374"/>
                      <a:pt x="139699" y="228600"/>
                      <a:pt x="114300" y="228600"/>
                    </a:cubicBezTo>
                    <a:close/>
                    <a:moveTo>
                      <a:pt x="114300" y="98425"/>
                    </a:moveTo>
                    <a:cubicBezTo>
                      <a:pt x="104775" y="98425"/>
                      <a:pt x="98426" y="104775"/>
                      <a:pt x="98426" y="114300"/>
                    </a:cubicBezTo>
                    <a:lnTo>
                      <a:pt x="98426" y="180975"/>
                    </a:lnTo>
                    <a:cubicBezTo>
                      <a:pt x="98426" y="190500"/>
                      <a:pt x="104775" y="196849"/>
                      <a:pt x="114300" y="196849"/>
                    </a:cubicBezTo>
                    <a:cubicBezTo>
                      <a:pt x="123825" y="196849"/>
                      <a:pt x="130174" y="190500"/>
                      <a:pt x="130174" y="180975"/>
                    </a:cubicBezTo>
                    <a:lnTo>
                      <a:pt x="130174" y="114300"/>
                    </a:lnTo>
                    <a:cubicBezTo>
                      <a:pt x="130174" y="104775"/>
                      <a:pt x="123825" y="98425"/>
                      <a:pt x="114300" y="98425"/>
                    </a:cubicBezTo>
                    <a:close/>
                  </a:path>
                </a:pathLst>
              </a:custGeom>
              <a:grpFill/>
              <a:ln w="1860" cap="flat">
                <a:noFill/>
                <a:prstDash val="solid"/>
                <a:miter/>
              </a:ln>
            </p:spPr>
            <p:txBody>
              <a:bodyPr rtlCol="0" anchor="ctr"/>
              <a:lstStyle/>
              <a:p>
                <a:endParaRPr lang="zh-CN" altLang="en-US"/>
              </a:p>
            </p:txBody>
          </p:sp>
          <p:sp>
            <p:nvSpPr>
              <p:cNvPr id="64" name="任意多边形: 形状 63"/>
              <p:cNvSpPr/>
              <p:nvPr/>
            </p:nvSpPr>
            <p:spPr>
              <a:xfrm>
                <a:off x="12882045" y="1144330"/>
                <a:ext cx="230540" cy="251802"/>
              </a:xfrm>
              <a:custGeom>
                <a:avLst/>
                <a:gdLst>
                  <a:gd name="connsiteX0" fmla="*/ 81933 w 230540"/>
                  <a:gd name="connsiteY0" fmla="*/ 71444 h 251802"/>
                  <a:gd name="connsiteX1" fmla="*/ 126382 w 230540"/>
                  <a:gd name="connsiteY1" fmla="*/ 80969 h 251802"/>
                  <a:gd name="connsiteX2" fmla="*/ 161308 w 230540"/>
                  <a:gd name="connsiteY2" fmla="*/ 134945 h 251802"/>
                  <a:gd name="connsiteX3" fmla="*/ 151783 w 230540"/>
                  <a:gd name="connsiteY3" fmla="*/ 179395 h 251802"/>
                  <a:gd name="connsiteX4" fmla="*/ 107332 w 230540"/>
                  <a:gd name="connsiteY4" fmla="*/ 169870 h 251802"/>
                  <a:gd name="connsiteX5" fmla="*/ 72408 w 230540"/>
                  <a:gd name="connsiteY5" fmla="*/ 115895 h 251802"/>
                  <a:gd name="connsiteX6" fmla="*/ 81933 w 230540"/>
                  <a:gd name="connsiteY6" fmla="*/ 71444 h 251802"/>
                  <a:gd name="connsiteX7" fmla="*/ 43833 w 230540"/>
                  <a:gd name="connsiteY7" fmla="*/ 17470 h 251802"/>
                  <a:gd name="connsiteX8" fmla="*/ 15258 w 230540"/>
                  <a:gd name="connsiteY8" fmla="*/ 153995 h 251802"/>
                  <a:gd name="connsiteX9" fmla="*/ 50182 w 230540"/>
                  <a:gd name="connsiteY9" fmla="*/ 207970 h 251802"/>
                  <a:gd name="connsiteX10" fmla="*/ 186708 w 230540"/>
                  <a:gd name="connsiteY10" fmla="*/ 236545 h 251802"/>
                  <a:gd name="connsiteX11" fmla="*/ 215283 w 230540"/>
                  <a:gd name="connsiteY11" fmla="*/ 100019 h 251802"/>
                  <a:gd name="connsiteX12" fmla="*/ 180358 w 230540"/>
                  <a:gd name="connsiteY12" fmla="*/ 46045 h 251802"/>
                  <a:gd name="connsiteX13" fmla="*/ 43833 w 230540"/>
                  <a:gd name="connsiteY13" fmla="*/ 17470 h 2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40" h="251802">
                    <a:moveTo>
                      <a:pt x="81933" y="71444"/>
                    </a:moveTo>
                    <a:cubicBezTo>
                      <a:pt x="97807" y="61919"/>
                      <a:pt x="116857" y="65095"/>
                      <a:pt x="126382" y="80969"/>
                    </a:cubicBezTo>
                    <a:lnTo>
                      <a:pt x="161308" y="134945"/>
                    </a:lnTo>
                    <a:cubicBezTo>
                      <a:pt x="170833" y="150820"/>
                      <a:pt x="167658" y="169870"/>
                      <a:pt x="151783" y="179395"/>
                    </a:cubicBezTo>
                    <a:cubicBezTo>
                      <a:pt x="135907" y="188920"/>
                      <a:pt x="116857" y="185744"/>
                      <a:pt x="107332" y="169870"/>
                    </a:cubicBezTo>
                    <a:lnTo>
                      <a:pt x="72408" y="115895"/>
                    </a:lnTo>
                    <a:cubicBezTo>
                      <a:pt x="62883" y="103195"/>
                      <a:pt x="66058" y="80969"/>
                      <a:pt x="81933" y="71444"/>
                    </a:cubicBezTo>
                    <a:moveTo>
                      <a:pt x="43833" y="17470"/>
                    </a:moveTo>
                    <a:cubicBezTo>
                      <a:pt x="-617" y="46045"/>
                      <a:pt x="-13317" y="106370"/>
                      <a:pt x="15258" y="153995"/>
                    </a:cubicBezTo>
                    <a:lnTo>
                      <a:pt x="50182" y="207970"/>
                    </a:lnTo>
                    <a:cubicBezTo>
                      <a:pt x="78757" y="252419"/>
                      <a:pt x="142258" y="265120"/>
                      <a:pt x="186708" y="236545"/>
                    </a:cubicBezTo>
                    <a:cubicBezTo>
                      <a:pt x="231157" y="207970"/>
                      <a:pt x="243858" y="144470"/>
                      <a:pt x="215283" y="100019"/>
                    </a:cubicBezTo>
                    <a:lnTo>
                      <a:pt x="180358" y="46045"/>
                    </a:lnTo>
                    <a:cubicBezTo>
                      <a:pt x="151783" y="-1580"/>
                      <a:pt x="88282" y="-14280"/>
                      <a:pt x="43833" y="17470"/>
                    </a:cubicBezTo>
                    <a:close/>
                  </a:path>
                </a:pathLst>
              </a:custGeom>
              <a:grpFill/>
              <a:ln w="1860" cap="flat">
                <a:noFill/>
                <a:prstDash val="solid"/>
                <a:miter/>
              </a:ln>
            </p:spPr>
            <p:txBody>
              <a:bodyPr rtlCol="0" anchor="ctr"/>
              <a:lstStyle/>
              <a:p>
                <a:endParaRPr lang="zh-CN" altLang="en-US"/>
              </a:p>
            </p:txBody>
          </p:sp>
          <p:sp>
            <p:nvSpPr>
              <p:cNvPr id="65" name="任意多边形: 形状 64"/>
              <p:cNvSpPr/>
              <p:nvPr/>
            </p:nvSpPr>
            <p:spPr>
              <a:xfrm>
                <a:off x="12866347" y="1127616"/>
                <a:ext cx="265164" cy="285008"/>
              </a:xfrm>
              <a:custGeom>
                <a:avLst/>
                <a:gdLst>
                  <a:gd name="connsiteX0" fmla="*/ 151605 w 265164"/>
                  <a:gd name="connsiteY0" fmla="*/ 285009 h 285008"/>
                  <a:gd name="connsiteX1" fmla="*/ 129382 w 265164"/>
                  <a:gd name="connsiteY1" fmla="*/ 281833 h 285008"/>
                  <a:gd name="connsiteX2" fmla="*/ 56355 w 265164"/>
                  <a:gd name="connsiteY2" fmla="*/ 234208 h 285008"/>
                  <a:gd name="connsiteX3" fmla="*/ 21431 w 265164"/>
                  <a:gd name="connsiteY3" fmla="*/ 180234 h 285008"/>
                  <a:gd name="connsiteX4" fmla="*/ 2381 w 265164"/>
                  <a:gd name="connsiteY4" fmla="*/ 91333 h 285008"/>
                  <a:gd name="connsiteX5" fmla="*/ 50006 w 265164"/>
                  <a:gd name="connsiteY5" fmla="*/ 18308 h 285008"/>
                  <a:gd name="connsiteX6" fmla="*/ 135731 w 265164"/>
                  <a:gd name="connsiteY6" fmla="*/ 2433 h 285008"/>
                  <a:gd name="connsiteX7" fmla="*/ 208755 w 265164"/>
                  <a:gd name="connsiteY7" fmla="*/ 50058 h 285008"/>
                  <a:gd name="connsiteX8" fmla="*/ 246855 w 265164"/>
                  <a:gd name="connsiteY8" fmla="*/ 107208 h 285008"/>
                  <a:gd name="connsiteX9" fmla="*/ 262732 w 265164"/>
                  <a:gd name="connsiteY9" fmla="*/ 192933 h 285008"/>
                  <a:gd name="connsiteX10" fmla="*/ 215107 w 265164"/>
                  <a:gd name="connsiteY10" fmla="*/ 265959 h 285008"/>
                  <a:gd name="connsiteX11" fmla="*/ 151605 w 265164"/>
                  <a:gd name="connsiteY11" fmla="*/ 285009 h 285008"/>
                  <a:gd name="connsiteX12" fmla="*/ 113505 w 265164"/>
                  <a:gd name="connsiteY12" fmla="*/ 34183 h 285008"/>
                  <a:gd name="connsiteX13" fmla="*/ 69056 w 265164"/>
                  <a:gd name="connsiteY13" fmla="*/ 46884 h 285008"/>
                  <a:gd name="connsiteX14" fmla="*/ 34132 w 265164"/>
                  <a:gd name="connsiteY14" fmla="*/ 97683 h 285008"/>
                  <a:gd name="connsiteX15" fmla="*/ 46830 w 265164"/>
                  <a:gd name="connsiteY15" fmla="*/ 158008 h 285008"/>
                  <a:gd name="connsiteX16" fmla="*/ 81757 w 265164"/>
                  <a:gd name="connsiteY16" fmla="*/ 211983 h 285008"/>
                  <a:gd name="connsiteX17" fmla="*/ 132555 w 265164"/>
                  <a:gd name="connsiteY17" fmla="*/ 246909 h 285008"/>
                  <a:gd name="connsiteX18" fmla="*/ 192881 w 265164"/>
                  <a:gd name="connsiteY18" fmla="*/ 234208 h 285008"/>
                  <a:gd name="connsiteX19" fmla="*/ 215107 w 265164"/>
                  <a:gd name="connsiteY19" fmla="*/ 119908 h 285008"/>
                  <a:gd name="connsiteX20" fmla="*/ 180180 w 265164"/>
                  <a:gd name="connsiteY20" fmla="*/ 65934 h 285008"/>
                  <a:gd name="connsiteX21" fmla="*/ 113505 w 265164"/>
                  <a:gd name="connsiteY21" fmla="*/ 34183 h 285008"/>
                  <a:gd name="connsiteX22" fmla="*/ 151605 w 265164"/>
                  <a:gd name="connsiteY22" fmla="*/ 218334 h 285008"/>
                  <a:gd name="connsiteX23" fmla="*/ 110332 w 265164"/>
                  <a:gd name="connsiteY23" fmla="*/ 196108 h 285008"/>
                  <a:gd name="connsiteX24" fmla="*/ 75405 w 265164"/>
                  <a:gd name="connsiteY24" fmla="*/ 142134 h 285008"/>
                  <a:gd name="connsiteX25" fmla="*/ 65880 w 265164"/>
                  <a:gd name="connsiteY25" fmla="*/ 104034 h 285008"/>
                  <a:gd name="connsiteX26" fmla="*/ 88106 w 265164"/>
                  <a:gd name="connsiteY26" fmla="*/ 72283 h 285008"/>
                  <a:gd name="connsiteX27" fmla="*/ 126206 w 265164"/>
                  <a:gd name="connsiteY27" fmla="*/ 65934 h 285008"/>
                  <a:gd name="connsiteX28" fmla="*/ 157957 w 265164"/>
                  <a:gd name="connsiteY28" fmla="*/ 88158 h 285008"/>
                  <a:gd name="connsiteX29" fmla="*/ 192881 w 265164"/>
                  <a:gd name="connsiteY29" fmla="*/ 142134 h 285008"/>
                  <a:gd name="connsiteX30" fmla="*/ 199230 w 265164"/>
                  <a:gd name="connsiteY30" fmla="*/ 180234 h 285008"/>
                  <a:gd name="connsiteX31" fmla="*/ 177007 w 265164"/>
                  <a:gd name="connsiteY31" fmla="*/ 211983 h 285008"/>
                  <a:gd name="connsiteX32" fmla="*/ 151605 w 265164"/>
                  <a:gd name="connsiteY32" fmla="*/ 218334 h 285008"/>
                  <a:gd name="connsiteX33" fmla="*/ 113505 w 265164"/>
                  <a:gd name="connsiteY33" fmla="*/ 97683 h 285008"/>
                  <a:gd name="connsiteX34" fmla="*/ 103980 w 265164"/>
                  <a:gd name="connsiteY34" fmla="*/ 100858 h 285008"/>
                  <a:gd name="connsiteX35" fmla="*/ 97631 w 265164"/>
                  <a:gd name="connsiteY35" fmla="*/ 110383 h 285008"/>
                  <a:gd name="connsiteX36" fmla="*/ 100807 w 265164"/>
                  <a:gd name="connsiteY36" fmla="*/ 123084 h 285008"/>
                  <a:gd name="connsiteX37" fmla="*/ 135731 w 265164"/>
                  <a:gd name="connsiteY37" fmla="*/ 177058 h 285008"/>
                  <a:gd name="connsiteX38" fmla="*/ 157957 w 265164"/>
                  <a:gd name="connsiteY38" fmla="*/ 180234 h 285008"/>
                  <a:gd name="connsiteX39" fmla="*/ 164306 w 265164"/>
                  <a:gd name="connsiteY39" fmla="*/ 170709 h 285008"/>
                  <a:gd name="connsiteX40" fmla="*/ 161130 w 265164"/>
                  <a:gd name="connsiteY40" fmla="*/ 158008 h 285008"/>
                  <a:gd name="connsiteX41" fmla="*/ 129382 w 265164"/>
                  <a:gd name="connsiteY41" fmla="*/ 107208 h 285008"/>
                  <a:gd name="connsiteX42" fmla="*/ 119857 w 265164"/>
                  <a:gd name="connsiteY42" fmla="*/ 100858 h 285008"/>
                  <a:gd name="connsiteX43" fmla="*/ 113505 w 265164"/>
                  <a:gd name="connsiteY43" fmla="*/ 97683 h 28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5164" h="285008">
                    <a:moveTo>
                      <a:pt x="151605" y="285009"/>
                    </a:moveTo>
                    <a:cubicBezTo>
                      <a:pt x="145256" y="285009"/>
                      <a:pt x="135731" y="285009"/>
                      <a:pt x="129382" y="281833"/>
                    </a:cubicBezTo>
                    <a:cubicBezTo>
                      <a:pt x="97631" y="275484"/>
                      <a:pt x="72232" y="259608"/>
                      <a:pt x="56355" y="234208"/>
                    </a:cubicBezTo>
                    <a:lnTo>
                      <a:pt x="21431" y="180234"/>
                    </a:lnTo>
                    <a:cubicBezTo>
                      <a:pt x="2381" y="151659"/>
                      <a:pt x="-3968" y="123084"/>
                      <a:pt x="2381" y="91333"/>
                    </a:cubicBezTo>
                    <a:cubicBezTo>
                      <a:pt x="8730" y="59583"/>
                      <a:pt x="24607" y="34183"/>
                      <a:pt x="50006" y="18308"/>
                    </a:cubicBezTo>
                    <a:cubicBezTo>
                      <a:pt x="75405" y="2433"/>
                      <a:pt x="107156" y="-3917"/>
                      <a:pt x="135731" y="2433"/>
                    </a:cubicBezTo>
                    <a:cubicBezTo>
                      <a:pt x="167482" y="8783"/>
                      <a:pt x="192881" y="24658"/>
                      <a:pt x="208755" y="50058"/>
                    </a:cubicBezTo>
                    <a:lnTo>
                      <a:pt x="246855" y="107208"/>
                    </a:lnTo>
                    <a:cubicBezTo>
                      <a:pt x="262732" y="132609"/>
                      <a:pt x="269081" y="164358"/>
                      <a:pt x="262732" y="192933"/>
                    </a:cubicBezTo>
                    <a:cubicBezTo>
                      <a:pt x="256380" y="224683"/>
                      <a:pt x="240506" y="250083"/>
                      <a:pt x="215107" y="265959"/>
                    </a:cubicBezTo>
                    <a:cubicBezTo>
                      <a:pt x="196057" y="278658"/>
                      <a:pt x="173831" y="285009"/>
                      <a:pt x="151605" y="285009"/>
                    </a:cubicBezTo>
                    <a:close/>
                    <a:moveTo>
                      <a:pt x="113505" y="34183"/>
                    </a:moveTo>
                    <a:cubicBezTo>
                      <a:pt x="97631" y="34183"/>
                      <a:pt x="81757" y="37358"/>
                      <a:pt x="69056" y="46884"/>
                    </a:cubicBezTo>
                    <a:cubicBezTo>
                      <a:pt x="50006" y="59583"/>
                      <a:pt x="37305" y="78633"/>
                      <a:pt x="34132" y="97683"/>
                    </a:cubicBezTo>
                    <a:cubicBezTo>
                      <a:pt x="30956" y="119908"/>
                      <a:pt x="34132" y="142134"/>
                      <a:pt x="46830" y="158008"/>
                    </a:cubicBezTo>
                    <a:lnTo>
                      <a:pt x="81757" y="211983"/>
                    </a:lnTo>
                    <a:cubicBezTo>
                      <a:pt x="94455" y="231033"/>
                      <a:pt x="113505" y="243733"/>
                      <a:pt x="132555" y="246909"/>
                    </a:cubicBezTo>
                    <a:cubicBezTo>
                      <a:pt x="154781" y="250083"/>
                      <a:pt x="177007" y="246909"/>
                      <a:pt x="192881" y="234208"/>
                    </a:cubicBezTo>
                    <a:cubicBezTo>
                      <a:pt x="230981" y="208809"/>
                      <a:pt x="240506" y="158008"/>
                      <a:pt x="215107" y="119908"/>
                    </a:cubicBezTo>
                    <a:lnTo>
                      <a:pt x="180180" y="65934"/>
                    </a:lnTo>
                    <a:cubicBezTo>
                      <a:pt x="167482" y="46884"/>
                      <a:pt x="142080" y="34183"/>
                      <a:pt x="113505" y="34183"/>
                    </a:cubicBezTo>
                    <a:close/>
                    <a:moveTo>
                      <a:pt x="151605" y="218334"/>
                    </a:moveTo>
                    <a:cubicBezTo>
                      <a:pt x="135731" y="218334"/>
                      <a:pt x="119857" y="211983"/>
                      <a:pt x="110332" y="196108"/>
                    </a:cubicBezTo>
                    <a:lnTo>
                      <a:pt x="75405" y="142134"/>
                    </a:lnTo>
                    <a:cubicBezTo>
                      <a:pt x="65880" y="132609"/>
                      <a:pt x="62707" y="116733"/>
                      <a:pt x="65880" y="104034"/>
                    </a:cubicBezTo>
                    <a:cubicBezTo>
                      <a:pt x="69056" y="91333"/>
                      <a:pt x="75405" y="78633"/>
                      <a:pt x="88106" y="72283"/>
                    </a:cubicBezTo>
                    <a:cubicBezTo>
                      <a:pt x="97631" y="65934"/>
                      <a:pt x="113505" y="62758"/>
                      <a:pt x="126206" y="65934"/>
                    </a:cubicBezTo>
                    <a:cubicBezTo>
                      <a:pt x="138907" y="69108"/>
                      <a:pt x="151605" y="75459"/>
                      <a:pt x="157957" y="88158"/>
                    </a:cubicBezTo>
                    <a:lnTo>
                      <a:pt x="192881" y="142134"/>
                    </a:lnTo>
                    <a:cubicBezTo>
                      <a:pt x="199230" y="151659"/>
                      <a:pt x="202406" y="167533"/>
                      <a:pt x="199230" y="180234"/>
                    </a:cubicBezTo>
                    <a:cubicBezTo>
                      <a:pt x="196057" y="192933"/>
                      <a:pt x="189705" y="205633"/>
                      <a:pt x="177007" y="211983"/>
                    </a:cubicBezTo>
                    <a:cubicBezTo>
                      <a:pt x="170655" y="215158"/>
                      <a:pt x="161130" y="218334"/>
                      <a:pt x="151605" y="218334"/>
                    </a:cubicBezTo>
                    <a:close/>
                    <a:moveTo>
                      <a:pt x="113505" y="97683"/>
                    </a:moveTo>
                    <a:cubicBezTo>
                      <a:pt x="110332" y="97683"/>
                      <a:pt x="107156" y="97683"/>
                      <a:pt x="103980" y="100858"/>
                    </a:cubicBezTo>
                    <a:cubicBezTo>
                      <a:pt x="100807" y="104034"/>
                      <a:pt x="100807" y="107208"/>
                      <a:pt x="97631" y="110383"/>
                    </a:cubicBezTo>
                    <a:cubicBezTo>
                      <a:pt x="97631" y="113559"/>
                      <a:pt x="97631" y="119908"/>
                      <a:pt x="100807" y="123084"/>
                    </a:cubicBezTo>
                    <a:lnTo>
                      <a:pt x="135731" y="177058"/>
                    </a:lnTo>
                    <a:cubicBezTo>
                      <a:pt x="142080" y="183408"/>
                      <a:pt x="151605" y="186583"/>
                      <a:pt x="157957" y="180234"/>
                    </a:cubicBezTo>
                    <a:cubicBezTo>
                      <a:pt x="161130" y="177058"/>
                      <a:pt x="164306" y="173883"/>
                      <a:pt x="164306" y="170709"/>
                    </a:cubicBezTo>
                    <a:cubicBezTo>
                      <a:pt x="164306" y="167533"/>
                      <a:pt x="164306" y="161184"/>
                      <a:pt x="161130" y="158008"/>
                    </a:cubicBezTo>
                    <a:lnTo>
                      <a:pt x="129382" y="107208"/>
                    </a:lnTo>
                    <a:cubicBezTo>
                      <a:pt x="126206" y="104034"/>
                      <a:pt x="123030" y="100858"/>
                      <a:pt x="119857" y="100858"/>
                    </a:cubicBezTo>
                    <a:cubicBezTo>
                      <a:pt x="116681" y="97683"/>
                      <a:pt x="116681" y="97683"/>
                      <a:pt x="113505" y="97683"/>
                    </a:cubicBezTo>
                    <a:close/>
                  </a:path>
                </a:pathLst>
              </a:custGeom>
              <a:grpFill/>
              <a:ln w="1860" cap="flat">
                <a:noFill/>
                <a:prstDash val="solid"/>
                <a:miter/>
              </a:ln>
            </p:spPr>
            <p:txBody>
              <a:bodyPr rtlCol="0" anchor="ctr"/>
              <a:lstStyle/>
              <a:p>
                <a:endParaRPr lang="zh-CN" altLang="en-US"/>
              </a:p>
            </p:txBody>
          </p:sp>
          <p:sp>
            <p:nvSpPr>
              <p:cNvPr id="66" name="任意多边形: 形状 65"/>
              <p:cNvSpPr/>
              <p:nvPr/>
            </p:nvSpPr>
            <p:spPr>
              <a:xfrm>
                <a:off x="12566693" y="1528363"/>
                <a:ext cx="257993" cy="221221"/>
              </a:xfrm>
              <a:custGeom>
                <a:avLst/>
                <a:gdLst>
                  <a:gd name="connsiteX0" fmla="*/ 70259 w 257993"/>
                  <a:gd name="connsiteY0" fmla="*/ 84288 h 221221"/>
                  <a:gd name="connsiteX1" fmla="*/ 111534 w 257993"/>
                  <a:gd name="connsiteY1" fmla="*/ 65237 h 221221"/>
                  <a:gd name="connsiteX2" fmla="*/ 171860 w 257993"/>
                  <a:gd name="connsiteY2" fmla="*/ 90637 h 221221"/>
                  <a:gd name="connsiteX3" fmla="*/ 190910 w 257993"/>
                  <a:gd name="connsiteY3" fmla="*/ 131912 h 221221"/>
                  <a:gd name="connsiteX4" fmla="*/ 149634 w 257993"/>
                  <a:gd name="connsiteY4" fmla="*/ 150963 h 221221"/>
                  <a:gd name="connsiteX5" fmla="*/ 89309 w 257993"/>
                  <a:gd name="connsiteY5" fmla="*/ 125561 h 221221"/>
                  <a:gd name="connsiteX6" fmla="*/ 70259 w 257993"/>
                  <a:gd name="connsiteY6" fmla="*/ 84288 h 221221"/>
                  <a:gd name="connsiteX7" fmla="*/ 6759 w 257993"/>
                  <a:gd name="connsiteY7" fmla="*/ 62062 h 221221"/>
                  <a:gd name="connsiteX8" fmla="*/ 60734 w 257993"/>
                  <a:gd name="connsiteY8" fmla="*/ 189062 h 221221"/>
                  <a:gd name="connsiteX9" fmla="*/ 124235 w 257993"/>
                  <a:gd name="connsiteY9" fmla="*/ 214462 h 221221"/>
                  <a:gd name="connsiteX10" fmla="*/ 251234 w 257993"/>
                  <a:gd name="connsiteY10" fmla="*/ 160487 h 221221"/>
                  <a:gd name="connsiteX11" fmla="*/ 197259 w 257993"/>
                  <a:gd name="connsiteY11" fmla="*/ 33487 h 221221"/>
                  <a:gd name="connsiteX12" fmla="*/ 136934 w 257993"/>
                  <a:gd name="connsiteY12" fmla="*/ 8087 h 221221"/>
                  <a:gd name="connsiteX13" fmla="*/ 6759 w 257993"/>
                  <a:gd name="connsiteY13" fmla="*/ 62062 h 22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93" h="221221">
                    <a:moveTo>
                      <a:pt x="70259" y="84288"/>
                    </a:moveTo>
                    <a:cubicBezTo>
                      <a:pt x="76609" y="68411"/>
                      <a:pt x="95659" y="58886"/>
                      <a:pt x="111534" y="65237"/>
                    </a:cubicBezTo>
                    <a:lnTo>
                      <a:pt x="171860" y="90637"/>
                    </a:lnTo>
                    <a:cubicBezTo>
                      <a:pt x="187734" y="96986"/>
                      <a:pt x="197259" y="116036"/>
                      <a:pt x="190910" y="131912"/>
                    </a:cubicBezTo>
                    <a:cubicBezTo>
                      <a:pt x="184559" y="147787"/>
                      <a:pt x="165509" y="157312"/>
                      <a:pt x="149634" y="150963"/>
                    </a:cubicBezTo>
                    <a:lnTo>
                      <a:pt x="89309" y="125561"/>
                    </a:lnTo>
                    <a:cubicBezTo>
                      <a:pt x="70259" y="122387"/>
                      <a:pt x="63909" y="103337"/>
                      <a:pt x="70259" y="84288"/>
                    </a:cubicBezTo>
                    <a:moveTo>
                      <a:pt x="6759" y="62062"/>
                    </a:moveTo>
                    <a:cubicBezTo>
                      <a:pt x="-12291" y="112862"/>
                      <a:pt x="9934" y="170012"/>
                      <a:pt x="60734" y="189062"/>
                    </a:cubicBezTo>
                    <a:lnTo>
                      <a:pt x="124235" y="214462"/>
                    </a:lnTo>
                    <a:cubicBezTo>
                      <a:pt x="175034" y="233512"/>
                      <a:pt x="232184" y="211286"/>
                      <a:pt x="251234" y="160487"/>
                    </a:cubicBezTo>
                    <a:cubicBezTo>
                      <a:pt x="270284" y="109687"/>
                      <a:pt x="248060" y="52537"/>
                      <a:pt x="197259" y="33487"/>
                    </a:cubicBezTo>
                    <a:lnTo>
                      <a:pt x="136934" y="8087"/>
                    </a:lnTo>
                    <a:cubicBezTo>
                      <a:pt x="86134" y="-14138"/>
                      <a:pt x="28984" y="11261"/>
                      <a:pt x="6759" y="62062"/>
                    </a:cubicBezTo>
                    <a:close/>
                  </a:path>
                </a:pathLst>
              </a:custGeom>
              <a:grpFill/>
              <a:ln w="1860" cap="flat">
                <a:noFill/>
                <a:prstDash val="solid"/>
                <a:miter/>
              </a:ln>
            </p:spPr>
            <p:txBody>
              <a:bodyPr rtlCol="0" anchor="ctr"/>
              <a:lstStyle/>
              <a:p>
                <a:endParaRPr lang="zh-CN" altLang="en-US"/>
              </a:p>
            </p:txBody>
          </p:sp>
          <p:sp>
            <p:nvSpPr>
              <p:cNvPr id="67" name="任意多边形: 形状 66"/>
              <p:cNvSpPr/>
              <p:nvPr/>
            </p:nvSpPr>
            <p:spPr>
              <a:xfrm>
                <a:off x="12548053" y="1507875"/>
                <a:ext cx="292100" cy="257175"/>
              </a:xfrm>
              <a:custGeom>
                <a:avLst/>
                <a:gdLst>
                  <a:gd name="connsiteX0" fmla="*/ 177800 w 292100"/>
                  <a:gd name="connsiteY0" fmla="*/ 257175 h 257175"/>
                  <a:gd name="connsiteX1" fmla="*/ 133351 w 292100"/>
                  <a:gd name="connsiteY1" fmla="*/ 247650 h 257175"/>
                  <a:gd name="connsiteX2" fmla="*/ 73025 w 292100"/>
                  <a:gd name="connsiteY2" fmla="*/ 222249 h 257175"/>
                  <a:gd name="connsiteX3" fmla="*/ 9525 w 292100"/>
                  <a:gd name="connsiteY3" fmla="*/ 161925 h 257175"/>
                  <a:gd name="connsiteX4" fmla="*/ 9525 w 292100"/>
                  <a:gd name="connsiteY4" fmla="*/ 73025 h 257175"/>
                  <a:gd name="connsiteX5" fmla="*/ 69850 w 292100"/>
                  <a:gd name="connsiteY5" fmla="*/ 9525 h 257175"/>
                  <a:gd name="connsiteX6" fmla="*/ 158750 w 292100"/>
                  <a:gd name="connsiteY6" fmla="*/ 9525 h 257175"/>
                  <a:gd name="connsiteX7" fmla="*/ 219076 w 292100"/>
                  <a:gd name="connsiteY7" fmla="*/ 34925 h 257175"/>
                  <a:gd name="connsiteX8" fmla="*/ 282575 w 292100"/>
                  <a:gd name="connsiteY8" fmla="*/ 95250 h 257175"/>
                  <a:gd name="connsiteX9" fmla="*/ 282575 w 292100"/>
                  <a:gd name="connsiteY9" fmla="*/ 184149 h 257175"/>
                  <a:gd name="connsiteX10" fmla="*/ 177800 w 292100"/>
                  <a:gd name="connsiteY10" fmla="*/ 257175 h 257175"/>
                  <a:gd name="connsiteX11" fmla="*/ 117475 w 292100"/>
                  <a:gd name="connsiteY11" fmla="*/ 34925 h 257175"/>
                  <a:gd name="connsiteX12" fmla="*/ 85725 w 292100"/>
                  <a:gd name="connsiteY12" fmla="*/ 41274 h 257175"/>
                  <a:gd name="connsiteX13" fmla="*/ 41275 w 292100"/>
                  <a:gd name="connsiteY13" fmla="*/ 85725 h 257175"/>
                  <a:gd name="connsiteX14" fmla="*/ 41275 w 292100"/>
                  <a:gd name="connsiteY14" fmla="*/ 149225 h 257175"/>
                  <a:gd name="connsiteX15" fmla="*/ 85725 w 292100"/>
                  <a:gd name="connsiteY15" fmla="*/ 193674 h 257175"/>
                  <a:gd name="connsiteX16" fmla="*/ 146049 w 292100"/>
                  <a:gd name="connsiteY16" fmla="*/ 219075 h 257175"/>
                  <a:gd name="connsiteX17" fmla="*/ 254000 w 292100"/>
                  <a:gd name="connsiteY17" fmla="*/ 174624 h 257175"/>
                  <a:gd name="connsiteX18" fmla="*/ 209551 w 292100"/>
                  <a:gd name="connsiteY18" fmla="*/ 66675 h 257175"/>
                  <a:gd name="connsiteX19" fmla="*/ 149225 w 292100"/>
                  <a:gd name="connsiteY19" fmla="*/ 41274 h 257175"/>
                  <a:gd name="connsiteX20" fmla="*/ 117475 w 292100"/>
                  <a:gd name="connsiteY20" fmla="*/ 34925 h 257175"/>
                  <a:gd name="connsiteX21" fmla="*/ 177800 w 292100"/>
                  <a:gd name="connsiteY21" fmla="*/ 190500 h 257175"/>
                  <a:gd name="connsiteX22" fmla="*/ 158750 w 292100"/>
                  <a:gd name="connsiteY22" fmla="*/ 187325 h 257175"/>
                  <a:gd name="connsiteX23" fmla="*/ 98425 w 292100"/>
                  <a:gd name="connsiteY23" fmla="*/ 165099 h 257175"/>
                  <a:gd name="connsiteX24" fmla="*/ 69850 w 292100"/>
                  <a:gd name="connsiteY24" fmla="*/ 101600 h 257175"/>
                  <a:gd name="connsiteX25" fmla="*/ 95250 w 292100"/>
                  <a:gd name="connsiteY25" fmla="*/ 76200 h 257175"/>
                  <a:gd name="connsiteX26" fmla="*/ 133351 w 292100"/>
                  <a:gd name="connsiteY26" fmla="*/ 76200 h 257175"/>
                  <a:gd name="connsiteX27" fmla="*/ 193674 w 292100"/>
                  <a:gd name="connsiteY27" fmla="*/ 101600 h 257175"/>
                  <a:gd name="connsiteX28" fmla="*/ 222249 w 292100"/>
                  <a:gd name="connsiteY28" fmla="*/ 165099 h 257175"/>
                  <a:gd name="connsiteX29" fmla="*/ 177800 w 292100"/>
                  <a:gd name="connsiteY29" fmla="*/ 190500 h 257175"/>
                  <a:gd name="connsiteX30" fmla="*/ 117475 w 292100"/>
                  <a:gd name="connsiteY30" fmla="*/ 101600 h 257175"/>
                  <a:gd name="connsiteX31" fmla="*/ 111125 w 292100"/>
                  <a:gd name="connsiteY31" fmla="*/ 101600 h 257175"/>
                  <a:gd name="connsiteX32" fmla="*/ 101600 w 292100"/>
                  <a:gd name="connsiteY32" fmla="*/ 111125 h 257175"/>
                  <a:gd name="connsiteX33" fmla="*/ 111125 w 292100"/>
                  <a:gd name="connsiteY33" fmla="*/ 133350 h 257175"/>
                  <a:gd name="connsiteX34" fmla="*/ 171451 w 292100"/>
                  <a:gd name="connsiteY34" fmla="*/ 158750 h 257175"/>
                  <a:gd name="connsiteX35" fmla="*/ 184149 w 292100"/>
                  <a:gd name="connsiteY35" fmla="*/ 158750 h 257175"/>
                  <a:gd name="connsiteX36" fmla="*/ 193674 w 292100"/>
                  <a:gd name="connsiteY36" fmla="*/ 149225 h 257175"/>
                  <a:gd name="connsiteX37" fmla="*/ 184149 w 292100"/>
                  <a:gd name="connsiteY37" fmla="*/ 126999 h 257175"/>
                  <a:gd name="connsiteX38" fmla="*/ 123825 w 292100"/>
                  <a:gd name="connsiteY38" fmla="*/ 101600 h 257175"/>
                  <a:gd name="connsiteX39" fmla="*/ 117475 w 292100"/>
                  <a:gd name="connsiteY39" fmla="*/ 10160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2100" h="257175">
                    <a:moveTo>
                      <a:pt x="177800" y="257175"/>
                    </a:moveTo>
                    <a:cubicBezTo>
                      <a:pt x="161926" y="257175"/>
                      <a:pt x="149225" y="254000"/>
                      <a:pt x="133351" y="247650"/>
                    </a:cubicBezTo>
                    <a:lnTo>
                      <a:pt x="73025" y="222249"/>
                    </a:lnTo>
                    <a:cubicBezTo>
                      <a:pt x="44450" y="209550"/>
                      <a:pt x="22225" y="187325"/>
                      <a:pt x="9525" y="161925"/>
                    </a:cubicBezTo>
                    <a:cubicBezTo>
                      <a:pt x="-3175" y="133350"/>
                      <a:pt x="-3175" y="101600"/>
                      <a:pt x="9525" y="73025"/>
                    </a:cubicBezTo>
                    <a:cubicBezTo>
                      <a:pt x="22225" y="44450"/>
                      <a:pt x="44450" y="22224"/>
                      <a:pt x="69850" y="9525"/>
                    </a:cubicBezTo>
                    <a:cubicBezTo>
                      <a:pt x="98425" y="-3175"/>
                      <a:pt x="130175" y="-3175"/>
                      <a:pt x="158750" y="9525"/>
                    </a:cubicBezTo>
                    <a:lnTo>
                      <a:pt x="219076" y="34925"/>
                    </a:lnTo>
                    <a:cubicBezTo>
                      <a:pt x="247651" y="47625"/>
                      <a:pt x="269874" y="69849"/>
                      <a:pt x="282575" y="95250"/>
                    </a:cubicBezTo>
                    <a:cubicBezTo>
                      <a:pt x="295276" y="123825"/>
                      <a:pt x="295276" y="155574"/>
                      <a:pt x="282575" y="184149"/>
                    </a:cubicBezTo>
                    <a:cubicBezTo>
                      <a:pt x="266701" y="231774"/>
                      <a:pt x="225425" y="257175"/>
                      <a:pt x="177800" y="257175"/>
                    </a:cubicBezTo>
                    <a:close/>
                    <a:moveTo>
                      <a:pt x="117475" y="34925"/>
                    </a:moveTo>
                    <a:cubicBezTo>
                      <a:pt x="107950" y="34925"/>
                      <a:pt x="95250" y="38100"/>
                      <a:pt x="85725" y="41274"/>
                    </a:cubicBezTo>
                    <a:cubicBezTo>
                      <a:pt x="66675" y="50799"/>
                      <a:pt x="50800" y="66675"/>
                      <a:pt x="41275" y="85725"/>
                    </a:cubicBezTo>
                    <a:cubicBezTo>
                      <a:pt x="31750" y="104775"/>
                      <a:pt x="31750" y="126999"/>
                      <a:pt x="41275" y="149225"/>
                    </a:cubicBezTo>
                    <a:cubicBezTo>
                      <a:pt x="50800" y="171450"/>
                      <a:pt x="66675" y="187325"/>
                      <a:pt x="85725" y="193674"/>
                    </a:cubicBezTo>
                    <a:lnTo>
                      <a:pt x="146049" y="219075"/>
                    </a:lnTo>
                    <a:cubicBezTo>
                      <a:pt x="187325" y="234950"/>
                      <a:pt x="234950" y="215900"/>
                      <a:pt x="254000" y="174624"/>
                    </a:cubicBezTo>
                    <a:cubicBezTo>
                      <a:pt x="269874" y="133350"/>
                      <a:pt x="250824" y="85725"/>
                      <a:pt x="209551" y="66675"/>
                    </a:cubicBezTo>
                    <a:lnTo>
                      <a:pt x="149225" y="41274"/>
                    </a:lnTo>
                    <a:cubicBezTo>
                      <a:pt x="139700" y="38100"/>
                      <a:pt x="130175" y="34925"/>
                      <a:pt x="117475" y="34925"/>
                    </a:cubicBezTo>
                    <a:close/>
                    <a:moveTo>
                      <a:pt x="177800" y="190500"/>
                    </a:moveTo>
                    <a:cubicBezTo>
                      <a:pt x="171451" y="190500"/>
                      <a:pt x="165099" y="190500"/>
                      <a:pt x="158750" y="187325"/>
                    </a:cubicBezTo>
                    <a:lnTo>
                      <a:pt x="98425" y="165099"/>
                    </a:lnTo>
                    <a:cubicBezTo>
                      <a:pt x="73025" y="155574"/>
                      <a:pt x="60325" y="126999"/>
                      <a:pt x="69850" y="101600"/>
                    </a:cubicBezTo>
                    <a:cubicBezTo>
                      <a:pt x="76200" y="88899"/>
                      <a:pt x="85725" y="79374"/>
                      <a:pt x="95250" y="76200"/>
                    </a:cubicBezTo>
                    <a:cubicBezTo>
                      <a:pt x="104775" y="73025"/>
                      <a:pt x="120650" y="69849"/>
                      <a:pt x="133351" y="76200"/>
                    </a:cubicBezTo>
                    <a:lnTo>
                      <a:pt x="193674" y="101600"/>
                    </a:lnTo>
                    <a:cubicBezTo>
                      <a:pt x="219076" y="111125"/>
                      <a:pt x="231774" y="139700"/>
                      <a:pt x="222249" y="165099"/>
                    </a:cubicBezTo>
                    <a:cubicBezTo>
                      <a:pt x="215900" y="180975"/>
                      <a:pt x="196850" y="190500"/>
                      <a:pt x="177800" y="190500"/>
                    </a:cubicBezTo>
                    <a:close/>
                    <a:moveTo>
                      <a:pt x="117475" y="101600"/>
                    </a:moveTo>
                    <a:lnTo>
                      <a:pt x="111125" y="101600"/>
                    </a:lnTo>
                    <a:lnTo>
                      <a:pt x="101600" y="111125"/>
                    </a:lnTo>
                    <a:cubicBezTo>
                      <a:pt x="98425" y="120650"/>
                      <a:pt x="101600" y="130175"/>
                      <a:pt x="111125" y="133350"/>
                    </a:cubicBezTo>
                    <a:lnTo>
                      <a:pt x="171451" y="158750"/>
                    </a:lnTo>
                    <a:cubicBezTo>
                      <a:pt x="174624" y="161925"/>
                      <a:pt x="180976" y="158750"/>
                      <a:pt x="184149" y="158750"/>
                    </a:cubicBezTo>
                    <a:cubicBezTo>
                      <a:pt x="190501" y="155574"/>
                      <a:pt x="193674" y="152400"/>
                      <a:pt x="193674" y="149225"/>
                    </a:cubicBezTo>
                    <a:cubicBezTo>
                      <a:pt x="196850" y="139700"/>
                      <a:pt x="193674" y="130175"/>
                      <a:pt x="184149" y="126999"/>
                    </a:cubicBezTo>
                    <a:lnTo>
                      <a:pt x="123825" y="101600"/>
                    </a:lnTo>
                    <a:lnTo>
                      <a:pt x="117475" y="101600"/>
                    </a:lnTo>
                    <a:close/>
                  </a:path>
                </a:pathLst>
              </a:custGeom>
              <a:grpFill/>
              <a:ln w="1860" cap="flat">
                <a:noFill/>
                <a:prstDash val="solid"/>
                <a:miter/>
              </a:ln>
            </p:spPr>
            <p:txBody>
              <a:bodyPr rtlCol="0" anchor="ctr"/>
              <a:lstStyle/>
              <a:p>
                <a:endParaRPr lang="zh-CN" altLang="en-US"/>
              </a:p>
            </p:txBody>
          </p:sp>
          <p:sp>
            <p:nvSpPr>
              <p:cNvPr id="68" name="任意多边形: 形状 67"/>
              <p:cNvSpPr/>
              <p:nvPr/>
            </p:nvSpPr>
            <p:spPr>
              <a:xfrm>
                <a:off x="13370377" y="1574241"/>
                <a:ext cx="419873" cy="317807"/>
              </a:xfrm>
              <a:custGeom>
                <a:avLst/>
                <a:gdLst>
                  <a:gd name="connsiteX0" fmla="*/ 358776 w 419873"/>
                  <a:gd name="connsiteY0" fmla="*/ 317808 h 317807"/>
                  <a:gd name="connsiteX1" fmla="*/ 295275 w 419873"/>
                  <a:gd name="connsiteY1" fmla="*/ 273358 h 317807"/>
                  <a:gd name="connsiteX2" fmla="*/ 69851 w 419873"/>
                  <a:gd name="connsiteY2" fmla="*/ 130483 h 317807"/>
                  <a:gd name="connsiteX3" fmla="*/ 66675 w 419873"/>
                  <a:gd name="connsiteY3" fmla="*/ 130483 h 317807"/>
                  <a:gd name="connsiteX4" fmla="*/ 0 w 419873"/>
                  <a:gd name="connsiteY4" fmla="*/ 66984 h 317807"/>
                  <a:gd name="connsiteX5" fmla="*/ 63501 w 419873"/>
                  <a:gd name="connsiteY5" fmla="*/ 309 h 317807"/>
                  <a:gd name="connsiteX6" fmla="*/ 415926 w 419873"/>
                  <a:gd name="connsiteY6" fmla="*/ 232083 h 317807"/>
                  <a:gd name="connsiteX7" fmla="*/ 374651 w 419873"/>
                  <a:gd name="connsiteY7" fmla="*/ 314634 h 317807"/>
                  <a:gd name="connsiteX8" fmla="*/ 358776 w 419873"/>
                  <a:gd name="connsiteY8" fmla="*/ 317808 h 31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73" h="317807">
                    <a:moveTo>
                      <a:pt x="358776" y="317808"/>
                    </a:moveTo>
                    <a:cubicBezTo>
                      <a:pt x="330201" y="317808"/>
                      <a:pt x="304800" y="301933"/>
                      <a:pt x="295275" y="273358"/>
                    </a:cubicBezTo>
                    <a:cubicBezTo>
                      <a:pt x="263526" y="181284"/>
                      <a:pt x="177801" y="127308"/>
                      <a:pt x="69851" y="130483"/>
                    </a:cubicBezTo>
                    <a:lnTo>
                      <a:pt x="66675" y="130483"/>
                    </a:lnTo>
                    <a:cubicBezTo>
                      <a:pt x="31751" y="130483"/>
                      <a:pt x="3176" y="101908"/>
                      <a:pt x="0" y="66984"/>
                    </a:cubicBezTo>
                    <a:cubicBezTo>
                      <a:pt x="0" y="32058"/>
                      <a:pt x="25401" y="309"/>
                      <a:pt x="63501" y="309"/>
                    </a:cubicBezTo>
                    <a:cubicBezTo>
                      <a:pt x="225426" y="-6042"/>
                      <a:pt x="368301" y="86034"/>
                      <a:pt x="415926" y="232083"/>
                    </a:cubicBezTo>
                    <a:cubicBezTo>
                      <a:pt x="428625" y="267009"/>
                      <a:pt x="409575" y="305109"/>
                      <a:pt x="374651" y="314634"/>
                    </a:cubicBezTo>
                    <a:cubicBezTo>
                      <a:pt x="374651" y="317808"/>
                      <a:pt x="365126" y="317808"/>
                      <a:pt x="358776" y="317808"/>
                    </a:cubicBezTo>
                    <a:close/>
                  </a:path>
                </a:pathLst>
              </a:custGeom>
              <a:grpFill/>
              <a:ln w="1860" cap="flat">
                <a:noFill/>
                <a:prstDash val="solid"/>
                <a:miter/>
              </a:ln>
            </p:spPr>
            <p:txBody>
              <a:bodyPr rtlCol="0" anchor="ctr"/>
              <a:lstStyle/>
              <a:p>
                <a:endParaRPr lang="zh-CN" altLang="en-US"/>
              </a:p>
            </p:txBody>
          </p:sp>
        </p:gr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2"/>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5" name="直接连接符 44"/>
          <p:cNvCxnSpPr>
            <a:stCxn id="12" idx="2"/>
          </p:cNvCxnSpPr>
          <p:nvPr/>
        </p:nvCxnSpPr>
        <p:spPr>
          <a:xfrm>
            <a:off x="1222375" y="5557838"/>
            <a:ext cx="9907588" cy="0"/>
          </a:xfrm>
          <a:prstGeom prst="line">
            <a:avLst/>
          </a:prstGeom>
          <a:ln w="12700">
            <a:solidFill>
              <a:srgbClr val="00C987"/>
            </a:solidFill>
            <a:prstDash val="sysDash"/>
          </a:ln>
        </p:spPr>
        <p:style>
          <a:lnRef idx="1">
            <a:schemeClr val="accent1"/>
          </a:lnRef>
          <a:fillRef idx="0">
            <a:schemeClr val="accent1"/>
          </a:fillRef>
          <a:effectRef idx="0">
            <a:schemeClr val="accent1"/>
          </a:effectRef>
          <a:fontRef idx="minor">
            <a:schemeClr val="tx1"/>
          </a:fontRef>
        </p:style>
      </p:cxnSp>
      <p:sp>
        <p:nvSpPr>
          <p:cNvPr id="42" name="矩形 41"/>
          <p:cNvSpPr/>
          <p:nvPr/>
        </p:nvSpPr>
        <p:spPr>
          <a:xfrm>
            <a:off x="0" y="1793875"/>
            <a:ext cx="12192000" cy="2443163"/>
          </a:xfrm>
          <a:prstGeom prst="rect">
            <a:avLst/>
          </a:prstGeom>
          <a:solidFill>
            <a:schemeClr val="bg1">
              <a:lumMod val="95000"/>
              <a:alpha val="5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41987" name="标题 2"/>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sz="2400" b="1" kern="1200">
                <a:solidFill>
                  <a:schemeClr val="accent2"/>
                </a:solidFill>
                <a:cs typeface="+mj-cs"/>
                <a:sym typeface="Pfizer Tomorrow" charset="0"/>
              </a:rPr>
              <a:t>“首个”</a:t>
            </a:r>
            <a:r>
              <a:rPr lang="zh-CN" altLang="en-US" b="1" kern="1200">
                <a:solidFill>
                  <a:schemeClr val="accent2"/>
                </a:solidFill>
                <a:cs typeface="+mj-cs"/>
              </a:rPr>
              <a:t>单药治疗MBL-CRE的新型β-内酰胺酶抑制剂复合制剂</a:t>
            </a:r>
            <a:br>
              <a:rPr lang="zh-CN" altLang="en-US" b="1" kern="1200">
                <a:solidFill>
                  <a:schemeClr val="accent2"/>
                </a:solidFill>
                <a:cs typeface="+mj-cs"/>
              </a:rPr>
            </a:br>
            <a:r>
              <a:rPr lang="zh-CN" altLang="en-US" b="1" kern="1200">
                <a:solidFill>
                  <a:schemeClr val="accent2"/>
                </a:solidFill>
                <a:cs typeface="+mj-cs"/>
                <a:sym typeface="Pfizer Tomorrow" charset="0"/>
              </a:rPr>
              <a:t>氨曲南-阿维巴坦获批中国上市，开创抗感染治疗新格局</a:t>
            </a:r>
            <a:endParaRPr lang="zh-CN" altLang="en-US" b="1" kern="1200">
              <a:solidFill>
                <a:schemeClr val="accent2"/>
              </a:solidFill>
              <a:cs typeface="+mj-cs"/>
              <a:sym typeface="Pfizer Tomorrow" charset="0"/>
            </a:endParaRPr>
          </a:p>
        </p:txBody>
      </p:sp>
      <p:sp>
        <p:nvSpPr>
          <p:cNvPr id="41988" name="文本框 30"/>
          <p:cNvSpPr txBox="1"/>
          <p:nvPr/>
        </p:nvSpPr>
        <p:spPr>
          <a:xfrm>
            <a:off x="184150" y="6388100"/>
            <a:ext cx="10945813" cy="461963"/>
          </a:xfrm>
          <a:prstGeom prst="rect">
            <a:avLst/>
          </a:prstGeom>
          <a:noFill/>
          <a:ln w="9525">
            <a:noFill/>
          </a:ln>
        </p:spPr>
        <p:txBody>
          <a:bodyPr wrap="square" anchor="t" anchorCtr="0">
            <a:spAutoFit/>
          </a:bodyPr>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国家药监局</a:t>
            </a:r>
            <a:r>
              <a:rPr lang="en-US" altLang="zh-CN" sz="800" dirty="0">
                <a:solidFill>
                  <a:srgbClr val="808080"/>
                </a:solidFill>
                <a:latin typeface="Pfizer Tomorrow" charset="0"/>
                <a:ea typeface="微软雅黑" panose="020B0503020204020204" charset="-122"/>
                <a:sym typeface="Pfizer Tomorrow" charset="0"/>
              </a:rPr>
              <a:t>-2025</a:t>
            </a:r>
            <a:r>
              <a:rPr lang="zh-CN" altLang="en-US" sz="800" dirty="0">
                <a:solidFill>
                  <a:srgbClr val="808080"/>
                </a:solidFill>
                <a:latin typeface="Pfizer Tomorrow" charset="0"/>
                <a:ea typeface="微软雅黑" panose="020B0503020204020204" charset="-122"/>
                <a:sym typeface="Pfizer Tomorrow" charset="0"/>
              </a:rPr>
              <a:t>年</a:t>
            </a:r>
            <a:r>
              <a:rPr lang="en-US" altLang="zh-CN" sz="800" dirty="0">
                <a:solidFill>
                  <a:srgbClr val="808080"/>
                </a:solidFill>
                <a:latin typeface="Pfizer Tomorrow" charset="0"/>
                <a:ea typeface="微软雅黑" panose="020B0503020204020204" charset="-122"/>
                <a:sym typeface="Pfizer Tomorrow" charset="0"/>
              </a:rPr>
              <a:t>06</a:t>
            </a:r>
            <a:r>
              <a:rPr lang="zh-CN" altLang="en-US" sz="800" dirty="0">
                <a:solidFill>
                  <a:srgbClr val="808080"/>
                </a:solidFill>
                <a:latin typeface="Pfizer Tomorrow" charset="0"/>
                <a:ea typeface="微软雅黑" panose="020B0503020204020204" charset="-122"/>
                <a:sym typeface="Pfizer Tomorrow" charset="0"/>
              </a:rPr>
              <a:t>月</a:t>
            </a:r>
            <a:r>
              <a:rPr lang="en-US" altLang="zh-CN" sz="800" dirty="0">
                <a:solidFill>
                  <a:srgbClr val="808080"/>
                </a:solidFill>
                <a:latin typeface="Pfizer Tomorrow" charset="0"/>
                <a:ea typeface="微软雅黑" panose="020B0503020204020204" charset="-122"/>
                <a:sym typeface="Pfizer Tomorrow" charset="0"/>
              </a:rPr>
              <a:t>30</a:t>
            </a:r>
            <a:r>
              <a:rPr lang="zh-CN" altLang="en-US" sz="800" dirty="0">
                <a:solidFill>
                  <a:srgbClr val="808080"/>
                </a:solidFill>
                <a:latin typeface="Pfizer Tomorrow" charset="0"/>
                <a:ea typeface="微软雅黑" panose="020B0503020204020204" charset="-122"/>
                <a:sym typeface="Pfizer Tomorrow" charset="0"/>
              </a:rPr>
              <a:t>日药品批准证明文件送达信息</a:t>
            </a:r>
            <a:r>
              <a:rPr lang="en-US" altLang="zh-CN" sz="800" dirty="0">
                <a:solidFill>
                  <a:srgbClr val="808080"/>
                </a:solidFill>
                <a:latin typeface="Pfizer Tomorrow" charset="0"/>
                <a:ea typeface="微软雅黑" panose="020B0503020204020204" charset="-122"/>
                <a:sym typeface="Pfizer Tomorrow" charset="0"/>
              </a:rPr>
              <a:t>.Available at</a:t>
            </a:r>
            <a:r>
              <a:rPr lang="zh-CN" altLang="en-US" sz="800" dirty="0">
                <a:solidFill>
                  <a:srgbClr val="808080"/>
                </a:solidFill>
                <a:latin typeface="Pfizer Tomorrow" charset="0"/>
                <a:ea typeface="微软雅黑" panose="020B0503020204020204" charset="-122"/>
                <a:sym typeface="Pfizer Tomorrow" charset="0"/>
              </a:rPr>
              <a:t>：</a:t>
            </a:r>
            <a:r>
              <a:rPr lang="en-US" altLang="zh-CN" sz="800" dirty="0">
                <a:solidFill>
                  <a:srgbClr val="808080"/>
                </a:solidFill>
                <a:latin typeface="Pfizer Tomorrow" charset="0"/>
                <a:ea typeface="微软雅黑" panose="020B0503020204020204" charset="-122"/>
                <a:sym typeface="Pfizer Tomorrow" charset="0"/>
              </a:rPr>
              <a:t>httpswww.nmpa.gov.cnzwfwsdxxsdxxypyppjfb20250630161536179.html. Accessed on</a:t>
            </a:r>
            <a:r>
              <a:rPr lang="zh-CN" altLang="en-US" sz="800" dirty="0">
                <a:solidFill>
                  <a:srgbClr val="808080"/>
                </a:solidFill>
                <a:latin typeface="Pfizer Tomorrow" charset="0"/>
                <a:ea typeface="微软雅黑" panose="020B0503020204020204" charset="-122"/>
                <a:sym typeface="Pfizer Tomorrow" charset="0"/>
              </a:rPr>
              <a:t>：</a:t>
            </a:r>
            <a:r>
              <a:rPr lang="en-US" altLang="zh-CN" sz="800" dirty="0">
                <a:solidFill>
                  <a:srgbClr val="808080"/>
                </a:solidFill>
                <a:latin typeface="Pfizer Tomorrow" charset="0"/>
                <a:ea typeface="微软雅黑" panose="020B0503020204020204" charset="-122"/>
                <a:sym typeface="Pfizer Tomorrow" charset="0"/>
              </a:rPr>
              <a:t>2025-8-14.</a:t>
            </a:r>
            <a:endParaRPr lang="en-US" altLang="zh-CN" sz="800" dirty="0">
              <a:solidFill>
                <a:srgbClr val="808080"/>
              </a:solidFill>
              <a:latin typeface="Pfizer Tomorrow" charset="0"/>
              <a:ea typeface="微软雅黑" panose="020B0503020204020204" charset="-122"/>
              <a:sym typeface="Pfizer Tomorrow" charset="0"/>
            </a:endParaRPr>
          </a:p>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注射用氨曲南阿维巴坦钠说明书</a:t>
            </a:r>
            <a:r>
              <a:rPr lang="en-US" altLang="zh-CN" sz="800" dirty="0">
                <a:solidFill>
                  <a:srgbClr val="808080"/>
                </a:solidFill>
                <a:latin typeface="Pfizer Tomorrow" charset="0"/>
                <a:ea typeface="微软雅黑" panose="020B0503020204020204" charset="-122"/>
                <a:sym typeface="Pfizer Tomorrow" charset="0"/>
              </a:rPr>
              <a:t>. </a:t>
            </a:r>
            <a:r>
              <a:rPr lang="zh-CN" altLang="en-US" sz="800" dirty="0">
                <a:solidFill>
                  <a:srgbClr val="808080"/>
                </a:solidFill>
                <a:latin typeface="Pfizer Tomorrow" charset="0"/>
                <a:ea typeface="微软雅黑" panose="020B0503020204020204" charset="-122"/>
                <a:sym typeface="Pfizer Tomorrow" charset="0"/>
              </a:rPr>
              <a:t>（核准日期：</a:t>
            </a:r>
            <a:r>
              <a:rPr lang="en-US" altLang="zh-CN" sz="800" dirty="0">
                <a:solidFill>
                  <a:srgbClr val="808080"/>
                </a:solidFill>
                <a:latin typeface="Pfizer Tomorrow" charset="0"/>
                <a:ea typeface="微软雅黑" panose="020B0503020204020204" charset="-122"/>
                <a:sym typeface="Pfizer Tomorrow" charset="0"/>
              </a:rPr>
              <a:t>2025</a:t>
            </a:r>
            <a:r>
              <a:rPr lang="zh-CN" altLang="en-US" sz="800" dirty="0">
                <a:solidFill>
                  <a:srgbClr val="808080"/>
                </a:solidFill>
                <a:latin typeface="Pfizer Tomorrow" charset="0"/>
                <a:ea typeface="微软雅黑" panose="020B0503020204020204" charset="-122"/>
                <a:sym typeface="Pfizer Tomorrow" charset="0"/>
              </a:rPr>
              <a:t>年</a:t>
            </a:r>
            <a:r>
              <a:rPr lang="en-US" altLang="zh-CN" sz="800" dirty="0">
                <a:solidFill>
                  <a:srgbClr val="808080"/>
                </a:solidFill>
                <a:latin typeface="Pfizer Tomorrow" charset="0"/>
                <a:ea typeface="微软雅黑" panose="020B0503020204020204" charset="-122"/>
                <a:sym typeface="Pfizer Tomorrow" charset="0"/>
              </a:rPr>
              <a:t>7</a:t>
            </a:r>
            <a:r>
              <a:rPr lang="zh-CN" altLang="en-US" sz="800" dirty="0">
                <a:solidFill>
                  <a:srgbClr val="808080"/>
                </a:solidFill>
                <a:latin typeface="Pfizer Tomorrow" charset="0"/>
                <a:ea typeface="微软雅黑" panose="020B0503020204020204" charset="-122"/>
                <a:sym typeface="Pfizer Tomorrow" charset="0"/>
              </a:rPr>
              <a:t>月</a:t>
            </a:r>
            <a:r>
              <a:rPr lang="en-US" altLang="zh-CN" sz="800" dirty="0">
                <a:solidFill>
                  <a:srgbClr val="808080"/>
                </a:solidFill>
                <a:latin typeface="Pfizer Tomorrow" charset="0"/>
                <a:ea typeface="微软雅黑" panose="020B0503020204020204" charset="-122"/>
                <a:sym typeface="Pfizer Tomorrow" charset="0"/>
              </a:rPr>
              <a:t>01</a:t>
            </a:r>
            <a:r>
              <a:rPr lang="zh-CN" altLang="en-US" sz="800" dirty="0">
                <a:solidFill>
                  <a:srgbClr val="808080"/>
                </a:solidFill>
                <a:latin typeface="Pfizer Tomorrow" charset="0"/>
                <a:ea typeface="微软雅黑" panose="020B0503020204020204" charset="-122"/>
                <a:sym typeface="Pfizer Tomorrow" charset="0"/>
              </a:rPr>
              <a:t>日）</a:t>
            </a:r>
            <a:endParaRPr lang="zh-CN" altLang="en-US" sz="800" dirty="0">
              <a:solidFill>
                <a:srgbClr val="808080"/>
              </a:solidFill>
              <a:latin typeface="Pfizer Tomorrow" charset="0"/>
              <a:ea typeface="微软雅黑" panose="020B0503020204020204" charset="-122"/>
              <a:sym typeface="Pfizer Tomorrow" charset="0"/>
            </a:endParaRPr>
          </a:p>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中华医学会血液学分会</a:t>
            </a:r>
            <a:r>
              <a:rPr lang="en-US" altLang="zh-CN" sz="800" dirty="0">
                <a:solidFill>
                  <a:srgbClr val="808080"/>
                </a:solidFill>
                <a:latin typeface="Pfizer Tomorrow" charset="0"/>
                <a:ea typeface="微软雅黑" panose="020B0503020204020204" charset="-122"/>
                <a:sym typeface="Pfizer Tomorrow" charset="0"/>
              </a:rPr>
              <a:t>, </a:t>
            </a:r>
            <a:r>
              <a:rPr lang="zh-CN" altLang="en-US" sz="800" dirty="0">
                <a:solidFill>
                  <a:srgbClr val="808080"/>
                </a:solidFill>
                <a:latin typeface="Pfizer Tomorrow" charset="0"/>
                <a:ea typeface="微软雅黑" panose="020B0503020204020204" charset="-122"/>
                <a:sym typeface="Pfizer Tomorrow" charset="0"/>
              </a:rPr>
              <a:t>等</a:t>
            </a:r>
            <a:r>
              <a:rPr lang="en-US" altLang="zh-CN" sz="800" dirty="0">
                <a:solidFill>
                  <a:srgbClr val="808080"/>
                </a:solidFill>
                <a:latin typeface="Pfizer Tomorrow" charset="0"/>
                <a:ea typeface="微软雅黑" panose="020B0503020204020204" charset="-122"/>
                <a:sym typeface="Pfizer Tomorrow" charset="0"/>
              </a:rPr>
              <a:t>.</a:t>
            </a:r>
            <a:r>
              <a:rPr lang="zh-CN" altLang="en-US" sz="800" dirty="0">
                <a:solidFill>
                  <a:srgbClr val="808080"/>
                </a:solidFill>
                <a:latin typeface="Pfizer Tomorrow" charset="0"/>
                <a:ea typeface="微软雅黑" panose="020B0503020204020204" charset="-122"/>
                <a:sym typeface="Pfizer Tomorrow" charset="0"/>
              </a:rPr>
              <a:t>中华血液学杂志</a:t>
            </a:r>
            <a:r>
              <a:rPr lang="en-US" altLang="zh-CN" sz="800" dirty="0">
                <a:solidFill>
                  <a:srgbClr val="808080"/>
                </a:solidFill>
                <a:latin typeface="Pfizer Tomorrow" charset="0"/>
                <a:ea typeface="微软雅黑" panose="020B0503020204020204" charset="-122"/>
                <a:sym typeface="Pfizer Tomorrow" charset="0"/>
              </a:rPr>
              <a:t>. 2025,46(6): 390-402. </a:t>
            </a:r>
            <a:endParaRPr lang="en-US" altLang="zh-CN" sz="800" dirty="0">
              <a:solidFill>
                <a:srgbClr val="808080"/>
              </a:solidFill>
              <a:latin typeface="Pfizer Tomorrow" charset="0"/>
              <a:ea typeface="微软雅黑" panose="020B0503020204020204" charset="-122"/>
              <a:sym typeface="Pfizer Tomorrow" charset="0"/>
            </a:endParaRPr>
          </a:p>
        </p:txBody>
      </p:sp>
      <p:sp>
        <p:nvSpPr>
          <p:cNvPr id="41989" name="文本框 6"/>
          <p:cNvSpPr txBox="1"/>
          <p:nvPr/>
        </p:nvSpPr>
        <p:spPr>
          <a:xfrm>
            <a:off x="2749550" y="4586288"/>
            <a:ext cx="8672513" cy="739775"/>
          </a:xfrm>
          <a:prstGeom prst="rect">
            <a:avLst/>
          </a:prstGeom>
          <a:noFill/>
          <a:ln w="9525">
            <a:noFill/>
          </a:ln>
        </p:spPr>
        <p:txBody>
          <a:bodyPr wrap="square" anchor="t" anchorCtr="0">
            <a:spAutoFit/>
          </a:bodyPr>
          <a:p>
            <a:r>
              <a:rPr lang="zh-CN" altLang="en-US" dirty="0">
                <a:latin typeface="Arial" panose="020B0604020202090204" pitchFamily="34" charset="0"/>
                <a:ea typeface="微软雅黑" panose="020B0503020204020204" charset="-122"/>
              </a:rPr>
              <a:t>中国上市的氨曲南</a:t>
            </a:r>
            <a:r>
              <a:rPr lang="en-US" altLang="zh-CN" dirty="0">
                <a:latin typeface="Arial" panose="020B0604020202090204" pitchFamily="34" charset="0"/>
                <a:ea typeface="微软雅黑" panose="020B0503020204020204" charset="-122"/>
              </a:rPr>
              <a:t>-</a:t>
            </a:r>
            <a:r>
              <a:rPr lang="zh-CN" altLang="en-US" dirty="0">
                <a:latin typeface="Arial" panose="020B0604020202090204" pitchFamily="34" charset="0"/>
                <a:ea typeface="微软雅黑" panose="020B0503020204020204" charset="-122"/>
              </a:rPr>
              <a:t>阿维巴坦</a:t>
            </a:r>
            <a:br>
              <a:rPr lang="en-US" altLang="zh-CN" dirty="0">
                <a:latin typeface="Arial" panose="020B0604020202090204" pitchFamily="34" charset="0"/>
                <a:ea typeface="微软雅黑" panose="020B0503020204020204" charset="-122"/>
              </a:rPr>
            </a:br>
            <a:r>
              <a:rPr lang="zh-CN" altLang="en-US" dirty="0">
                <a:latin typeface="Arial" panose="020B0604020202090204" pitchFamily="34" charset="0"/>
                <a:ea typeface="微软雅黑" panose="020B0503020204020204" charset="-122"/>
              </a:rPr>
              <a:t>是目前</a:t>
            </a:r>
            <a:r>
              <a:rPr lang="zh-CN" altLang="en-US" sz="2400" b="1" dirty="0">
                <a:solidFill>
                  <a:srgbClr val="00C987"/>
                </a:solidFill>
                <a:latin typeface="Arial" panose="020B0604020202090204" pitchFamily="34" charset="0"/>
                <a:ea typeface="微软雅黑" panose="020B0503020204020204" charset="-122"/>
              </a:rPr>
              <a:t>国内第一个</a:t>
            </a:r>
            <a:r>
              <a:rPr lang="zh-CN" altLang="en-US" dirty="0">
                <a:latin typeface="Arial" panose="020B0604020202090204" pitchFamily="34" charset="0"/>
                <a:ea typeface="微软雅黑" panose="020B0503020204020204" charset="-122"/>
              </a:rPr>
              <a:t>可单药治疗产金属酶</a:t>
            </a:r>
            <a:r>
              <a:rPr lang="en-US" altLang="zh-CN" dirty="0">
                <a:latin typeface="Arial" panose="020B0604020202090204" pitchFamily="34" charset="0"/>
                <a:ea typeface="微软雅黑" panose="020B0503020204020204" charset="-122"/>
              </a:rPr>
              <a:t>CRE</a:t>
            </a:r>
            <a:r>
              <a:rPr lang="zh-CN" altLang="en-US" dirty="0">
                <a:latin typeface="Arial" panose="020B0604020202090204" pitchFamily="34" charset="0"/>
                <a:ea typeface="微软雅黑" panose="020B0503020204020204" charset="-122"/>
              </a:rPr>
              <a:t>的新型</a:t>
            </a:r>
            <a:r>
              <a:rPr lang="en-US" altLang="zh-CN" dirty="0">
                <a:latin typeface="Arial" panose="020B0604020202090204" pitchFamily="34" charset="0"/>
                <a:ea typeface="微软雅黑" panose="020B0503020204020204" charset="-122"/>
              </a:rPr>
              <a:t>β-</a:t>
            </a:r>
            <a:r>
              <a:rPr lang="zh-CN" altLang="en-US" dirty="0">
                <a:latin typeface="Arial" panose="020B0604020202090204" pitchFamily="34" charset="0"/>
                <a:ea typeface="微软雅黑" panose="020B0503020204020204" charset="-122"/>
              </a:rPr>
              <a:t>内酰胺酶抑制剂复合制剂</a:t>
            </a:r>
            <a:r>
              <a:rPr lang="en-US" altLang="zh-CN" dirty="0">
                <a:latin typeface="Arial" panose="020B0604020202090204" pitchFamily="34" charset="0"/>
                <a:ea typeface="微软雅黑" panose="020B0503020204020204" charset="-122"/>
              </a:rPr>
              <a:t>*</a:t>
            </a:r>
            <a:r>
              <a:rPr lang="en-US" altLang="zh-CN" baseline="30000" dirty="0">
                <a:latin typeface="Arial" panose="020B0604020202090204" pitchFamily="34" charset="0"/>
                <a:ea typeface="微软雅黑" panose="020B0503020204020204" charset="-122"/>
              </a:rPr>
              <a:t>3</a:t>
            </a:r>
            <a:endParaRPr lang="zh-CN" altLang="en-US" baseline="30000" dirty="0">
              <a:latin typeface="Arial" panose="020B0604020202090204" pitchFamily="34" charset="0"/>
              <a:ea typeface="微软雅黑" panose="020B0503020204020204" charset="-122"/>
            </a:endParaRPr>
          </a:p>
        </p:txBody>
      </p:sp>
      <p:sp>
        <p:nvSpPr>
          <p:cNvPr id="41990" name="文本框 18"/>
          <p:cNvSpPr txBox="1"/>
          <p:nvPr/>
        </p:nvSpPr>
        <p:spPr>
          <a:xfrm>
            <a:off x="7132638" y="2047875"/>
            <a:ext cx="4699000" cy="1938338"/>
          </a:xfrm>
          <a:prstGeom prst="rect">
            <a:avLst/>
          </a:prstGeom>
          <a:noFill/>
          <a:ln w="9525">
            <a:noFill/>
          </a:ln>
        </p:spPr>
        <p:txBody>
          <a:bodyPr wrap="square" anchor="t" anchorCtr="0">
            <a:spAutoFit/>
          </a:bodyPr>
          <a:p>
            <a:pPr marL="171450" indent="-171450">
              <a:lnSpc>
                <a:spcPct val="150000"/>
              </a:lnSpc>
              <a:buFont typeface="Arial" panose="020B0604020202090204" pitchFamily="34" charset="0"/>
              <a:buChar char="•"/>
            </a:pPr>
            <a:r>
              <a:rPr lang="en-US" altLang="zh-CN" sz="1600" dirty="0">
                <a:solidFill>
                  <a:srgbClr val="0D0D0D"/>
                </a:solidFill>
                <a:latin typeface="Pfizer Tomorrow" charset="0"/>
                <a:ea typeface="微软雅黑" panose="020B0503020204020204" charset="-122"/>
                <a:sym typeface="Pfizer Tomorrow" charset="0"/>
              </a:rPr>
              <a:t>2025</a:t>
            </a:r>
            <a:r>
              <a:rPr lang="zh-CN" altLang="en-US" sz="1600" dirty="0">
                <a:solidFill>
                  <a:srgbClr val="0D0D0D"/>
                </a:solidFill>
                <a:latin typeface="Pfizer Tomorrow" charset="0"/>
                <a:ea typeface="微软雅黑" panose="020B0503020204020204" charset="-122"/>
                <a:sym typeface="Pfizer Tomorrow" charset="0"/>
              </a:rPr>
              <a:t>年</a:t>
            </a:r>
            <a:r>
              <a:rPr lang="en-US" altLang="zh-CN" sz="1600" dirty="0">
                <a:solidFill>
                  <a:srgbClr val="0D0D0D"/>
                </a:solidFill>
                <a:latin typeface="Pfizer Tomorrow" charset="0"/>
                <a:ea typeface="微软雅黑" panose="020B0503020204020204" charset="-122"/>
                <a:sym typeface="Pfizer Tomorrow" charset="0"/>
              </a:rPr>
              <a:t>6</a:t>
            </a:r>
            <a:r>
              <a:rPr lang="zh-CN" altLang="en-US" sz="1600" dirty="0">
                <a:solidFill>
                  <a:srgbClr val="0D0D0D"/>
                </a:solidFill>
                <a:latin typeface="Pfizer Tomorrow" charset="0"/>
                <a:ea typeface="微软雅黑" panose="020B0503020204020204" charset="-122"/>
                <a:sym typeface="Pfizer Tomorrow" charset="0"/>
              </a:rPr>
              <a:t>月，氨曲南</a:t>
            </a:r>
            <a:r>
              <a:rPr lang="en-US" altLang="zh-CN" sz="1600" dirty="0">
                <a:solidFill>
                  <a:srgbClr val="0D0D0D"/>
                </a:solidFill>
                <a:latin typeface="Pfizer Tomorrow" charset="0"/>
                <a:ea typeface="微软雅黑" panose="020B0503020204020204" charset="-122"/>
                <a:sym typeface="Pfizer Tomorrow" charset="0"/>
              </a:rPr>
              <a:t>-</a:t>
            </a:r>
            <a:r>
              <a:rPr lang="zh-CN" altLang="en-US" sz="1600" dirty="0">
                <a:solidFill>
                  <a:srgbClr val="0D0D0D"/>
                </a:solidFill>
                <a:latin typeface="Pfizer Tomorrow" charset="0"/>
                <a:ea typeface="微软雅黑" panose="020B0503020204020204" charset="-122"/>
                <a:sym typeface="Pfizer Tomorrow" charset="0"/>
              </a:rPr>
              <a:t>阿维巴坦获国家药品监督管理局批准上市，用于治疗</a:t>
            </a:r>
            <a:r>
              <a:rPr lang="en-US" altLang="zh-CN" sz="1600" dirty="0">
                <a:solidFill>
                  <a:srgbClr val="0D0D0D"/>
                </a:solidFill>
                <a:latin typeface="Pfizer Tomorrow" charset="0"/>
                <a:ea typeface="微软雅黑" panose="020B0503020204020204" charset="-122"/>
                <a:sym typeface="Pfizer Tomorrow" charset="0"/>
              </a:rPr>
              <a:t>18</a:t>
            </a:r>
            <a:r>
              <a:rPr lang="zh-CN" altLang="en-US" sz="1600" dirty="0">
                <a:solidFill>
                  <a:srgbClr val="0D0D0D"/>
                </a:solidFill>
                <a:latin typeface="Pfizer Tomorrow" charset="0"/>
                <a:ea typeface="微软雅黑" panose="020B0503020204020204" charset="-122"/>
                <a:sym typeface="Pfizer Tomorrow" charset="0"/>
              </a:rPr>
              <a:t>岁及以上患者治疗药物选择有限或无替代治疗的下列感染：</a:t>
            </a:r>
            <a:r>
              <a:rPr lang="zh-CN" altLang="en-US" sz="1600" b="1" dirty="0">
                <a:solidFill>
                  <a:srgbClr val="0D0D0D"/>
                </a:solidFill>
                <a:latin typeface="Pfizer Tomorrow" charset="0"/>
                <a:ea typeface="微软雅黑" panose="020B0503020204020204" charset="-122"/>
                <a:sym typeface="Pfizer Tomorrow" charset="0"/>
              </a:rPr>
              <a:t>复杂性腹腔内感染（</a:t>
            </a:r>
            <a:r>
              <a:rPr lang="en-US" altLang="zh-CN" sz="1600" b="1" dirty="0" err="1">
                <a:solidFill>
                  <a:srgbClr val="0D0D0D"/>
                </a:solidFill>
                <a:latin typeface="Pfizer Tomorrow" charset="0"/>
                <a:ea typeface="微软雅黑" panose="020B0503020204020204" charset="-122"/>
                <a:sym typeface="Pfizer Tomorrow" charset="0"/>
              </a:rPr>
              <a:t>cIAI</a:t>
            </a:r>
            <a:r>
              <a:rPr lang="zh-CN" altLang="en-US" sz="1600" b="1" dirty="0">
                <a:solidFill>
                  <a:srgbClr val="0D0D0D"/>
                </a:solidFill>
                <a:latin typeface="Pfizer Tomorrow" charset="0"/>
                <a:ea typeface="微软雅黑" panose="020B0503020204020204" charset="-122"/>
                <a:sym typeface="Pfizer Tomorrow" charset="0"/>
              </a:rPr>
              <a:t>）；医院获得性肺炎（</a:t>
            </a:r>
            <a:r>
              <a:rPr lang="en-US" altLang="zh-CN" sz="1600" b="1" dirty="0">
                <a:solidFill>
                  <a:srgbClr val="0D0D0D"/>
                </a:solidFill>
                <a:latin typeface="Pfizer Tomorrow" charset="0"/>
                <a:ea typeface="微软雅黑" panose="020B0503020204020204" charset="-122"/>
                <a:sym typeface="Pfizer Tomorrow" charset="0"/>
              </a:rPr>
              <a:t>HAP</a:t>
            </a:r>
            <a:r>
              <a:rPr lang="zh-CN" altLang="en-US" sz="1600" b="1" dirty="0">
                <a:solidFill>
                  <a:srgbClr val="0D0D0D"/>
                </a:solidFill>
                <a:latin typeface="Pfizer Tomorrow" charset="0"/>
                <a:ea typeface="微软雅黑" panose="020B0503020204020204" charset="-122"/>
                <a:sym typeface="Pfizer Tomorrow" charset="0"/>
              </a:rPr>
              <a:t>），包括呼吸机相关性肺炎（</a:t>
            </a:r>
            <a:r>
              <a:rPr lang="en-US" altLang="zh-CN" sz="1600" b="1" dirty="0">
                <a:solidFill>
                  <a:srgbClr val="0D0D0D"/>
                </a:solidFill>
                <a:latin typeface="Pfizer Tomorrow" charset="0"/>
                <a:ea typeface="微软雅黑" panose="020B0503020204020204" charset="-122"/>
                <a:sym typeface="Pfizer Tomorrow" charset="0"/>
              </a:rPr>
              <a:t>VAP</a:t>
            </a:r>
            <a:r>
              <a:rPr lang="zh-CN" altLang="en-US" sz="1600" b="1" dirty="0">
                <a:solidFill>
                  <a:srgbClr val="0D0D0D"/>
                </a:solidFill>
                <a:latin typeface="Pfizer Tomorrow" charset="0"/>
                <a:ea typeface="微软雅黑" panose="020B0503020204020204" charset="-122"/>
                <a:sym typeface="Pfizer Tomorrow" charset="0"/>
              </a:rPr>
              <a:t>）</a:t>
            </a:r>
            <a:r>
              <a:rPr lang="en-US" altLang="zh-CN" sz="1600" b="1" baseline="30000" dirty="0">
                <a:solidFill>
                  <a:srgbClr val="0D0D0D"/>
                </a:solidFill>
                <a:latin typeface="Pfizer Tomorrow" charset="0"/>
                <a:ea typeface="微软雅黑" panose="020B0503020204020204" charset="-122"/>
                <a:sym typeface="Pfizer Tomorrow" charset="0"/>
              </a:rPr>
              <a:t>1,2</a:t>
            </a:r>
            <a:endParaRPr lang="en-US" altLang="zh-CN" sz="1600" b="1" baseline="30000" dirty="0">
              <a:solidFill>
                <a:srgbClr val="0D0D0D"/>
              </a:solidFill>
              <a:latin typeface="Pfizer Tomorrow" charset="0"/>
              <a:ea typeface="微软雅黑" panose="020B0503020204020204" charset="-122"/>
              <a:sym typeface="Pfizer Tomorrow" charset="0"/>
            </a:endParaRPr>
          </a:p>
        </p:txBody>
      </p:sp>
      <p:sp>
        <p:nvSpPr>
          <p:cNvPr id="12" name="Oval 6"/>
          <p:cNvSpPr/>
          <p:nvPr/>
        </p:nvSpPr>
        <p:spPr bwMode="auto">
          <a:xfrm>
            <a:off x="1222375" y="5451475"/>
            <a:ext cx="1389063" cy="214313"/>
          </a:xfrm>
          <a:prstGeom prst="ellipse">
            <a:avLst/>
          </a:prstGeom>
          <a:gradFill flip="none" rotWithShape="1">
            <a:gsLst>
              <a:gs pos="0">
                <a:srgbClr val="00C987"/>
              </a:gs>
              <a:gs pos="86000">
                <a:schemeClr val="bg1"/>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Regular"/>
              <a:ea typeface="思源黑体 CN Regular"/>
              <a:cs typeface="+mn-cs"/>
            </a:endParaRPr>
          </a:p>
        </p:txBody>
      </p:sp>
      <p:sp>
        <p:nvSpPr>
          <p:cNvPr id="14" name="TextBox 18"/>
          <p:cNvSpPr txBox="1"/>
          <p:nvPr>
            <p:custDataLst>
              <p:tags r:id="rId1"/>
            </p:custDataLst>
          </p:nvPr>
        </p:nvSpPr>
        <p:spPr>
          <a:xfrm>
            <a:off x="1796718" y="4586879"/>
            <a:ext cx="565867" cy="767347"/>
          </a:xfrm>
          <a:custGeom>
            <a:avLst/>
            <a:gdLst/>
            <a:ahLst/>
            <a:cxnLst/>
            <a:rect l="l" t="t" r="r" b="b"/>
            <a:pathLst>
              <a:path w="408854" h="1226601">
                <a:moveTo>
                  <a:pt x="279310" y="0"/>
                </a:moveTo>
                <a:lnTo>
                  <a:pt x="408854" y="0"/>
                </a:lnTo>
                <a:lnTo>
                  <a:pt x="192567" y="1226601"/>
                </a:lnTo>
                <a:lnTo>
                  <a:pt x="0" y="1226601"/>
                </a:lnTo>
                <a:lnTo>
                  <a:pt x="165026" y="290712"/>
                </a:lnTo>
                <a:lnTo>
                  <a:pt x="16055" y="290712"/>
                </a:lnTo>
                <a:lnTo>
                  <a:pt x="40121" y="154229"/>
                </a:lnTo>
                <a:cubicBezTo>
                  <a:pt x="112494" y="152951"/>
                  <a:pt x="165445" y="137542"/>
                  <a:pt x="198973" y="108004"/>
                </a:cubicBezTo>
                <a:cubicBezTo>
                  <a:pt x="232501" y="78465"/>
                  <a:pt x="259280" y="42464"/>
                  <a:pt x="279310" y="0"/>
                </a:cubicBezTo>
                <a:close/>
              </a:path>
            </a:pathLst>
          </a:custGeom>
          <a:gradFill flip="none" rotWithShape="1">
            <a:gsLst>
              <a:gs pos="0">
                <a:srgbClr val="00C987"/>
              </a:gs>
              <a:gs pos="100000">
                <a:srgbClr val="00C987">
                  <a:alpha val="0"/>
                </a:srgbClr>
              </a:gs>
            </a:gsLst>
            <a:lin ang="5400000" scaled="1"/>
            <a:tileRect/>
          </a:gradFill>
          <a:ln>
            <a:noFill/>
          </a:ln>
          <a:effectLst>
            <a:glow>
              <a:srgbClr val="000000"/>
            </a:glo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en-US"/>
            </a:defPPr>
            <a:lvl1pPr marR="0" lvl="0" indent="0" algn="ctr" fontAlgn="auto">
              <a:lnSpc>
                <a:spcPct val="100000"/>
              </a:lnSpc>
              <a:spcBef>
                <a:spcPts val="0"/>
              </a:spcBef>
              <a:spcAft>
                <a:spcPts val="0"/>
              </a:spcAft>
              <a:buClrTx/>
              <a:buSzTx/>
              <a:buFontTx/>
              <a:buNone/>
              <a:defRPr kumimoji="0" sz="13800" b="0" i="1" u="none" strike="noStrike" cap="none" spc="0" normalizeH="0" baseline="0">
                <a:ln>
                  <a:noFill/>
                </a:ln>
                <a:solidFill>
                  <a:srgbClr val="CA9A8E"/>
                </a:solidFill>
                <a:effectLst/>
                <a:uLnTx/>
                <a:uFillTx/>
                <a:latin typeface="Bebas Neue" pitchFamily="34" charset="0"/>
                <a:ea typeface="思源黑体 CN Regular"/>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800" b="0" i="1" u="none" strike="noStrike" kern="1200" cap="none" spc="0" normalizeH="0" baseline="0" noProof="0" dirty="0">
              <a:ln>
                <a:noFill/>
              </a:ln>
              <a:solidFill>
                <a:srgbClr val="CA9A8E"/>
              </a:solidFill>
              <a:effectLst/>
              <a:uLnTx/>
              <a:uFillTx/>
              <a:latin typeface="Bebas Neue" pitchFamily="34" charset="0"/>
              <a:ea typeface="思源黑体 CN Regular"/>
              <a:cs typeface="+mn-cs"/>
            </a:endParaRPr>
          </a:p>
        </p:txBody>
      </p:sp>
      <p:pic>
        <p:nvPicPr>
          <p:cNvPr id="41993" name="图片 40"/>
          <p:cNvPicPr>
            <a:picLocks noChangeAspect="1"/>
          </p:cNvPicPr>
          <p:nvPr/>
        </p:nvPicPr>
        <p:blipFill>
          <a:blip r:embed="rId2"/>
          <a:srcRect l="6038" r="2260"/>
          <a:stretch>
            <a:fillRect/>
          </a:stretch>
        </p:blipFill>
        <p:spPr>
          <a:xfrm>
            <a:off x="360363" y="1900238"/>
            <a:ext cx="6724650" cy="2190750"/>
          </a:xfrm>
          <a:prstGeom prst="rect">
            <a:avLst/>
          </a:prstGeom>
          <a:noFill/>
          <a:ln w="9525">
            <a:noFill/>
          </a:ln>
        </p:spPr>
      </p:pic>
      <p:sp>
        <p:nvSpPr>
          <p:cNvPr id="41994" name="文本框 49"/>
          <p:cNvSpPr txBox="1"/>
          <p:nvPr/>
        </p:nvSpPr>
        <p:spPr>
          <a:xfrm>
            <a:off x="184150" y="6119813"/>
            <a:ext cx="8558213" cy="246062"/>
          </a:xfrm>
          <a:prstGeom prst="rect">
            <a:avLst/>
          </a:prstGeom>
          <a:noFill/>
          <a:ln w="9525">
            <a:noFill/>
          </a:ln>
        </p:spPr>
        <p:txBody>
          <a:bodyPr wrap="square" anchor="t" anchorCtr="0">
            <a:spAutoFit/>
          </a:bodyPr>
          <a:p>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截止至</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2025</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年</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6</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月，在中国上市的氨曲南</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阿维巴坦是目前国内第一个可单药治疗产金属酶</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CRE</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的新型</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β-</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内酰胺酶抑制剂复合制剂</a:t>
            </a:r>
            <a:r>
              <a:rPr lang="en-US" altLang="zh-CN" sz="1000" baseline="30000" dirty="0">
                <a:solidFill>
                  <a:srgbClr val="808080"/>
                </a:solidFill>
                <a:latin typeface="微软雅黑" panose="020B0503020204020204" charset="-122"/>
                <a:ea typeface="微软雅黑" panose="020B0503020204020204" charset="-122"/>
                <a:sym typeface="微软雅黑" panose="020B0503020204020204" charset="-122"/>
              </a:rPr>
              <a:t>3</a:t>
            </a:r>
            <a:endParaRPr lang="zh-CN" altLang="en-US" sz="1000" baseline="30000" dirty="0">
              <a:solidFill>
                <a:srgbClr val="808080"/>
              </a:solidFill>
              <a:latin typeface="Arial" panose="020B0604020202090204" pitchFamily="34"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14" name="矩形: 圆角 213"/>
          <p:cNvSpPr/>
          <p:nvPr/>
        </p:nvSpPr>
        <p:spPr>
          <a:xfrm>
            <a:off x="0" y="3425825"/>
            <a:ext cx="12192000" cy="2055813"/>
          </a:xfrm>
          <a:prstGeom prst="roundRect">
            <a:avLst>
              <a:gd name="adj" fmla="val 0"/>
            </a:avLst>
          </a:prstGeom>
          <a:solidFill>
            <a:sysClr val="windowText" lastClr="000000">
              <a:lumMod val="10000"/>
              <a:lumOff val="90000"/>
            </a:sys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15" name="矩形: 圆角 214"/>
          <p:cNvSpPr/>
          <p:nvPr/>
        </p:nvSpPr>
        <p:spPr>
          <a:xfrm>
            <a:off x="388938"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64" name="矩形: 圆角 263"/>
          <p:cNvSpPr/>
          <p:nvPr/>
        </p:nvSpPr>
        <p:spPr>
          <a:xfrm>
            <a:off x="2292350"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44036" name="标题 1"/>
          <p:cNvSpPr>
            <a:spLocks noGrp="1"/>
          </p:cNvSpPr>
          <p:nvPr>
            <p:ph type="title"/>
          </p:nvPr>
        </p:nvSpPr>
        <p:spPr>
          <a:xfrm>
            <a:off x="838200" y="195263"/>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氨曲南-阿维巴坦全面覆盖CRE全酶型，多重优势，是</a:t>
            </a:r>
            <a:r>
              <a:rPr lang="en-US" altLang="zh-CN" b="1" kern="1200" dirty="0">
                <a:solidFill>
                  <a:srgbClr val="000D45"/>
                </a:solidFill>
                <a:latin typeface="Pfizer Tomorrow" charset="0"/>
                <a:ea typeface="微软雅黑" panose="020B0503020204020204" charset="-122"/>
                <a:cs typeface="+mj-cs"/>
              </a:rPr>
              <a:t>MBL-</a:t>
            </a:r>
            <a:r>
              <a:rPr lang="zh-CN" altLang="en-US" b="1" kern="1200" dirty="0">
                <a:solidFill>
                  <a:srgbClr val="000D45"/>
                </a:solidFill>
                <a:latin typeface="Pfizer Tomorrow" charset="0"/>
                <a:ea typeface="微软雅黑" panose="020B0503020204020204" charset="-122"/>
                <a:cs typeface="+mj-cs"/>
              </a:rPr>
              <a:t>CRE感染治疗一线首选</a:t>
            </a:r>
            <a:endParaRPr lang="zh-CN" altLang="en-US" b="1" kern="1200" dirty="0">
              <a:solidFill>
                <a:srgbClr val="000D45"/>
              </a:solidFill>
              <a:latin typeface="Pfizer Tomorrow" charset="0"/>
              <a:ea typeface="微软雅黑" panose="020B0503020204020204" charset="-122"/>
              <a:cs typeface="+mj-cs"/>
            </a:endParaRPr>
          </a:p>
        </p:txBody>
      </p:sp>
      <p:sp>
        <p:nvSpPr>
          <p:cNvPr id="216" name="矩形: 圆角 215"/>
          <p:cNvSpPr/>
          <p:nvPr/>
        </p:nvSpPr>
        <p:spPr>
          <a:xfrm>
            <a:off x="4197350" y="2554288"/>
            <a:ext cx="1784350"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7" name="矩形: 圆角 216"/>
          <p:cNvSpPr/>
          <p:nvPr/>
        </p:nvSpPr>
        <p:spPr>
          <a:xfrm>
            <a:off x="6100763"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8" name="矩形: 圆角 217"/>
          <p:cNvSpPr/>
          <p:nvPr/>
        </p:nvSpPr>
        <p:spPr>
          <a:xfrm>
            <a:off x="8005763" y="2554288"/>
            <a:ext cx="1784350"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9" name="矩形: 圆角 218"/>
          <p:cNvSpPr/>
          <p:nvPr/>
        </p:nvSpPr>
        <p:spPr>
          <a:xfrm>
            <a:off x="9909175"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44041" name="文本框 66"/>
          <p:cNvSpPr txBox="1"/>
          <p:nvPr/>
        </p:nvSpPr>
        <p:spPr>
          <a:xfrm>
            <a:off x="481013" y="3167063"/>
            <a:ext cx="162242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抑酶谱</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全酶覆盖</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2" name="文本框 13"/>
          <p:cNvSpPr txBox="1"/>
          <p:nvPr/>
        </p:nvSpPr>
        <p:spPr>
          <a:xfrm>
            <a:off x="379413" y="3884613"/>
            <a:ext cx="1803400" cy="788987"/>
          </a:xfrm>
          <a:prstGeom prst="rect">
            <a:avLst/>
          </a:prstGeom>
          <a:noFill/>
          <a:ln w="9525">
            <a:noFill/>
          </a:ln>
        </p:spPr>
        <p:txBody>
          <a:bodyPr wrap="square" anchor="t" anchorCtr="0">
            <a:spAutoFit/>
          </a:bodyPr>
          <a:p>
            <a:pPr algn="ctr">
              <a:lnSpc>
                <a:spcPct val="130000"/>
              </a:lnSpc>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氨曲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抑酶谱广，全面覆盖</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全酶型</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BCD</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1</a:t>
            </a:r>
            <a:endPar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43" name="文本框 27"/>
          <p:cNvSpPr txBox="1"/>
          <p:nvPr/>
        </p:nvSpPr>
        <p:spPr>
          <a:xfrm>
            <a:off x="4351338" y="3167063"/>
            <a:ext cx="147637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抗菌活性</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敏感</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4" name="文本框 77"/>
          <p:cNvSpPr txBox="1"/>
          <p:nvPr/>
        </p:nvSpPr>
        <p:spPr>
          <a:xfrm>
            <a:off x="8058150" y="3167063"/>
            <a:ext cx="1679575" cy="584200"/>
          </a:xfrm>
          <a:prstGeom prst="rect">
            <a:avLst/>
          </a:prstGeom>
          <a:noFill/>
          <a:ln w="9525">
            <a:noFill/>
          </a:ln>
        </p:spPr>
        <p:txBody>
          <a:bodyPr wrap="square" anchor="t" anchorCtr="0">
            <a:spAutoFit/>
          </a:bodyPr>
          <a:p>
            <a:pPr algn="ctr"/>
            <a:r>
              <a:rPr lang="en-US" altLang="zh-CN" b="1" dirty="0">
                <a:solidFill>
                  <a:srgbClr val="000D45"/>
                </a:solidFill>
                <a:latin typeface="微软雅黑" panose="020B0503020204020204" charset="-122"/>
                <a:ea typeface="微软雅黑" panose="020B0503020204020204" charset="-122"/>
                <a:sym typeface="微软雅黑" panose="020B0503020204020204" charset="-122"/>
              </a:rPr>
              <a:t>PK/PD</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达标</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5" name="文本框 80"/>
          <p:cNvSpPr txBox="1"/>
          <p:nvPr/>
        </p:nvSpPr>
        <p:spPr>
          <a:xfrm>
            <a:off x="6196013" y="3167063"/>
            <a:ext cx="1595437"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疗效</a:t>
            </a:r>
            <a:r>
              <a:rPr lang="en-US" altLang="zh-CN" b="1" dirty="0">
                <a:solidFill>
                  <a:srgbClr val="000D45"/>
                </a:solidFill>
                <a:latin typeface="微软雅黑" panose="020B0503020204020204" charset="-122"/>
                <a:ea typeface="微软雅黑" panose="020B0503020204020204" charset="-122"/>
                <a:sym typeface="微软雅黑" panose="020B0503020204020204" charset="-122"/>
              </a:rPr>
              <a:t>-</a:t>
            </a: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安全性</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治愈</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grpSp>
        <p:nvGrpSpPr>
          <p:cNvPr id="44046" name="组合 270"/>
          <p:cNvGrpSpPr/>
          <p:nvPr/>
        </p:nvGrpSpPr>
        <p:grpSpPr>
          <a:xfrm>
            <a:off x="4456113" y="1889125"/>
            <a:ext cx="1271587" cy="1271588"/>
            <a:chOff x="3328745" y="1888797"/>
            <a:chExt cx="1272540" cy="1272538"/>
          </a:xfrm>
        </p:grpSpPr>
        <p:grpSp>
          <p:nvGrpSpPr>
            <p:cNvPr id="44047" name="组合 225"/>
            <p:cNvGrpSpPr/>
            <p:nvPr/>
          </p:nvGrpSpPr>
          <p:grpSpPr>
            <a:xfrm>
              <a:off x="3328745" y="1888797"/>
              <a:ext cx="1272540" cy="1272538"/>
              <a:chOff x="1211580" y="2028917"/>
              <a:chExt cx="1272540" cy="1272538"/>
            </a:xfrm>
          </p:grpSpPr>
          <p:sp>
            <p:nvSpPr>
              <p:cNvPr id="227" name="椭圆 226"/>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28" name="椭圆 227"/>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2" name="organims_106204"/>
            <p:cNvSpPr/>
            <p:nvPr/>
          </p:nvSpPr>
          <p:spPr>
            <a:xfrm>
              <a:off x="3665002" y="2341013"/>
              <a:ext cx="557119" cy="419691"/>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05162" h="455883">
                  <a:moveTo>
                    <a:pt x="168939" y="349368"/>
                  </a:moveTo>
                  <a:cubicBezTo>
                    <a:pt x="157657" y="349368"/>
                    <a:pt x="148409" y="358603"/>
                    <a:pt x="148409" y="369970"/>
                  </a:cubicBezTo>
                  <a:cubicBezTo>
                    <a:pt x="148409" y="381235"/>
                    <a:pt x="157657" y="390470"/>
                    <a:pt x="168939" y="390470"/>
                  </a:cubicBezTo>
                  <a:cubicBezTo>
                    <a:pt x="180322" y="390470"/>
                    <a:pt x="189571" y="381235"/>
                    <a:pt x="189571" y="369970"/>
                  </a:cubicBezTo>
                  <a:cubicBezTo>
                    <a:pt x="189571" y="358603"/>
                    <a:pt x="180322" y="349368"/>
                    <a:pt x="168939" y="349368"/>
                  </a:cubicBezTo>
                  <a:close/>
                  <a:moveTo>
                    <a:pt x="168939" y="322373"/>
                  </a:moveTo>
                  <a:cubicBezTo>
                    <a:pt x="195262" y="322373"/>
                    <a:pt x="216606" y="343685"/>
                    <a:pt x="216606" y="369970"/>
                  </a:cubicBezTo>
                  <a:cubicBezTo>
                    <a:pt x="216606" y="396153"/>
                    <a:pt x="195262" y="417566"/>
                    <a:pt x="168939" y="417566"/>
                  </a:cubicBezTo>
                  <a:cubicBezTo>
                    <a:pt x="142717" y="417566"/>
                    <a:pt x="121272" y="396153"/>
                    <a:pt x="121272" y="369970"/>
                  </a:cubicBezTo>
                  <a:cubicBezTo>
                    <a:pt x="121272" y="343685"/>
                    <a:pt x="142717" y="322373"/>
                    <a:pt x="168939" y="322373"/>
                  </a:cubicBezTo>
                  <a:close/>
                  <a:moveTo>
                    <a:pt x="421282" y="321103"/>
                  </a:moveTo>
                  <a:cubicBezTo>
                    <a:pt x="434202" y="321103"/>
                    <a:pt x="444675" y="331545"/>
                    <a:pt x="444675" y="344425"/>
                  </a:cubicBezTo>
                  <a:cubicBezTo>
                    <a:pt x="444675" y="357305"/>
                    <a:pt x="434202" y="367747"/>
                    <a:pt x="421282" y="367747"/>
                  </a:cubicBezTo>
                  <a:cubicBezTo>
                    <a:pt x="408362" y="367747"/>
                    <a:pt x="397889" y="357305"/>
                    <a:pt x="397889" y="344425"/>
                  </a:cubicBezTo>
                  <a:cubicBezTo>
                    <a:pt x="397889" y="331545"/>
                    <a:pt x="408362" y="321103"/>
                    <a:pt x="421282" y="321103"/>
                  </a:cubicBezTo>
                  <a:close/>
                  <a:moveTo>
                    <a:pt x="494846" y="254348"/>
                  </a:moveTo>
                  <a:cubicBezTo>
                    <a:pt x="507746" y="254348"/>
                    <a:pt x="518203" y="264790"/>
                    <a:pt x="518203" y="277670"/>
                  </a:cubicBezTo>
                  <a:cubicBezTo>
                    <a:pt x="518203" y="290550"/>
                    <a:pt x="507746" y="300992"/>
                    <a:pt x="494846" y="300992"/>
                  </a:cubicBezTo>
                  <a:cubicBezTo>
                    <a:pt x="481946" y="300992"/>
                    <a:pt x="471489" y="290550"/>
                    <a:pt x="471489" y="277670"/>
                  </a:cubicBezTo>
                  <a:cubicBezTo>
                    <a:pt x="471489" y="264790"/>
                    <a:pt x="481946" y="254348"/>
                    <a:pt x="494846" y="254348"/>
                  </a:cubicBezTo>
                  <a:close/>
                  <a:moveTo>
                    <a:pt x="387868" y="214267"/>
                  </a:moveTo>
                  <a:cubicBezTo>
                    <a:pt x="400768" y="214267"/>
                    <a:pt x="411225" y="224709"/>
                    <a:pt x="411225" y="237589"/>
                  </a:cubicBezTo>
                  <a:cubicBezTo>
                    <a:pt x="411225" y="250469"/>
                    <a:pt x="400768" y="260911"/>
                    <a:pt x="387868" y="260911"/>
                  </a:cubicBezTo>
                  <a:cubicBezTo>
                    <a:pt x="374968" y="260911"/>
                    <a:pt x="364511" y="250469"/>
                    <a:pt x="364511" y="237589"/>
                  </a:cubicBezTo>
                  <a:cubicBezTo>
                    <a:pt x="364511" y="224709"/>
                    <a:pt x="374968" y="214267"/>
                    <a:pt x="387868" y="214267"/>
                  </a:cubicBezTo>
                  <a:close/>
                  <a:moveTo>
                    <a:pt x="468203" y="153644"/>
                  </a:moveTo>
                  <a:lnTo>
                    <a:pt x="434161" y="167138"/>
                  </a:lnTo>
                  <a:cubicBezTo>
                    <a:pt x="431722" y="168051"/>
                    <a:pt x="429182" y="168355"/>
                    <a:pt x="426540" y="167848"/>
                  </a:cubicBezTo>
                  <a:lnTo>
                    <a:pt x="390669" y="160847"/>
                  </a:lnTo>
                  <a:lnTo>
                    <a:pt x="369330" y="190473"/>
                  </a:lnTo>
                  <a:cubicBezTo>
                    <a:pt x="367907" y="192603"/>
                    <a:pt x="365773" y="194226"/>
                    <a:pt x="363334" y="195140"/>
                  </a:cubicBezTo>
                  <a:lnTo>
                    <a:pt x="329394" y="208633"/>
                  </a:lnTo>
                  <a:lnTo>
                    <a:pt x="327463" y="245158"/>
                  </a:lnTo>
                  <a:cubicBezTo>
                    <a:pt x="327362" y="247694"/>
                    <a:pt x="326447" y="250231"/>
                    <a:pt x="325025" y="252260"/>
                  </a:cubicBezTo>
                  <a:lnTo>
                    <a:pt x="303685" y="281986"/>
                  </a:lnTo>
                  <a:lnTo>
                    <a:pt x="321875" y="313641"/>
                  </a:lnTo>
                  <a:cubicBezTo>
                    <a:pt x="323196" y="315974"/>
                    <a:pt x="323805" y="318511"/>
                    <a:pt x="323602" y="321047"/>
                  </a:cubicBezTo>
                  <a:lnTo>
                    <a:pt x="321773" y="357572"/>
                  </a:lnTo>
                  <a:lnTo>
                    <a:pt x="354189" y="374414"/>
                  </a:lnTo>
                  <a:cubicBezTo>
                    <a:pt x="356526" y="375631"/>
                    <a:pt x="358457" y="377457"/>
                    <a:pt x="359778" y="379689"/>
                  </a:cubicBezTo>
                  <a:lnTo>
                    <a:pt x="377967" y="411344"/>
                  </a:lnTo>
                  <a:lnTo>
                    <a:pt x="414346" y="407996"/>
                  </a:lnTo>
                  <a:cubicBezTo>
                    <a:pt x="414752" y="407996"/>
                    <a:pt x="415159" y="407996"/>
                    <a:pt x="415565" y="407996"/>
                  </a:cubicBezTo>
                  <a:cubicBezTo>
                    <a:pt x="417801" y="407996"/>
                    <a:pt x="419935" y="408503"/>
                    <a:pt x="421865" y="409518"/>
                  </a:cubicBezTo>
                  <a:lnTo>
                    <a:pt x="454281" y="426359"/>
                  </a:lnTo>
                  <a:lnTo>
                    <a:pt x="483140" y="403836"/>
                  </a:lnTo>
                  <a:cubicBezTo>
                    <a:pt x="485173" y="402213"/>
                    <a:pt x="487611" y="401300"/>
                    <a:pt x="490253" y="400995"/>
                  </a:cubicBezTo>
                  <a:lnTo>
                    <a:pt x="526632" y="397647"/>
                  </a:lnTo>
                  <a:lnTo>
                    <a:pt x="538725" y="363152"/>
                  </a:lnTo>
                  <a:cubicBezTo>
                    <a:pt x="539538" y="360717"/>
                    <a:pt x="541163" y="358586"/>
                    <a:pt x="543196" y="356963"/>
                  </a:cubicBezTo>
                  <a:lnTo>
                    <a:pt x="571953" y="334541"/>
                  </a:lnTo>
                  <a:lnTo>
                    <a:pt x="563519" y="299031"/>
                  </a:lnTo>
                  <a:cubicBezTo>
                    <a:pt x="562909" y="296495"/>
                    <a:pt x="563011" y="293857"/>
                    <a:pt x="563926" y="291422"/>
                  </a:cubicBezTo>
                  <a:lnTo>
                    <a:pt x="575916" y="256927"/>
                  </a:lnTo>
                  <a:lnTo>
                    <a:pt x="549598" y="231664"/>
                  </a:lnTo>
                  <a:cubicBezTo>
                    <a:pt x="547667" y="229838"/>
                    <a:pt x="546346" y="227504"/>
                    <a:pt x="545736" y="224968"/>
                  </a:cubicBezTo>
                  <a:lnTo>
                    <a:pt x="537200" y="189458"/>
                  </a:lnTo>
                  <a:lnTo>
                    <a:pt x="501330" y="182457"/>
                  </a:lnTo>
                  <a:cubicBezTo>
                    <a:pt x="498789" y="181950"/>
                    <a:pt x="496452" y="180733"/>
                    <a:pt x="494623" y="178907"/>
                  </a:cubicBezTo>
                  <a:close/>
                  <a:moveTo>
                    <a:pt x="466272" y="125337"/>
                  </a:moveTo>
                  <a:cubicBezTo>
                    <a:pt x="471251" y="123308"/>
                    <a:pt x="476840" y="124424"/>
                    <a:pt x="480701" y="128077"/>
                  </a:cubicBezTo>
                  <a:lnTo>
                    <a:pt x="510475" y="156687"/>
                  </a:lnTo>
                  <a:lnTo>
                    <a:pt x="551020" y="164601"/>
                  </a:lnTo>
                  <a:cubicBezTo>
                    <a:pt x="556203" y="165616"/>
                    <a:pt x="560369" y="169572"/>
                    <a:pt x="561588" y="174747"/>
                  </a:cubicBezTo>
                  <a:lnTo>
                    <a:pt x="571140" y="214822"/>
                  </a:lnTo>
                  <a:lnTo>
                    <a:pt x="601016" y="243433"/>
                  </a:lnTo>
                  <a:cubicBezTo>
                    <a:pt x="604776" y="247085"/>
                    <a:pt x="606198" y="252666"/>
                    <a:pt x="604369" y="257637"/>
                  </a:cubicBezTo>
                  <a:lnTo>
                    <a:pt x="590752" y="296596"/>
                  </a:lnTo>
                  <a:lnTo>
                    <a:pt x="600406" y="336672"/>
                  </a:lnTo>
                  <a:cubicBezTo>
                    <a:pt x="601625" y="341846"/>
                    <a:pt x="599695" y="347223"/>
                    <a:pt x="595528" y="350470"/>
                  </a:cubicBezTo>
                  <a:lnTo>
                    <a:pt x="563011" y="375834"/>
                  </a:lnTo>
                  <a:lnTo>
                    <a:pt x="549394" y="414793"/>
                  </a:lnTo>
                  <a:cubicBezTo>
                    <a:pt x="547565" y="419765"/>
                    <a:pt x="543094" y="423316"/>
                    <a:pt x="537810" y="423823"/>
                  </a:cubicBezTo>
                  <a:lnTo>
                    <a:pt x="496655" y="427577"/>
                  </a:lnTo>
                  <a:lnTo>
                    <a:pt x="464138" y="452941"/>
                  </a:lnTo>
                  <a:cubicBezTo>
                    <a:pt x="461699" y="454869"/>
                    <a:pt x="458752" y="455883"/>
                    <a:pt x="455805" y="455883"/>
                  </a:cubicBezTo>
                  <a:cubicBezTo>
                    <a:pt x="453671" y="455883"/>
                    <a:pt x="451537" y="455376"/>
                    <a:pt x="449505" y="454361"/>
                  </a:cubicBezTo>
                  <a:lnTo>
                    <a:pt x="412923" y="435288"/>
                  </a:lnTo>
                  <a:lnTo>
                    <a:pt x="371768" y="439143"/>
                  </a:lnTo>
                  <a:cubicBezTo>
                    <a:pt x="366484" y="439549"/>
                    <a:pt x="361403" y="436911"/>
                    <a:pt x="358761" y="432345"/>
                  </a:cubicBezTo>
                  <a:lnTo>
                    <a:pt x="338235" y="396531"/>
                  </a:lnTo>
                  <a:lnTo>
                    <a:pt x="301551" y="377559"/>
                  </a:lnTo>
                  <a:cubicBezTo>
                    <a:pt x="296877" y="375124"/>
                    <a:pt x="294032" y="370152"/>
                    <a:pt x="294235" y="364877"/>
                  </a:cubicBezTo>
                  <a:lnTo>
                    <a:pt x="296369" y="323685"/>
                  </a:lnTo>
                  <a:lnTo>
                    <a:pt x="275842" y="287871"/>
                  </a:lnTo>
                  <a:cubicBezTo>
                    <a:pt x="273200" y="283305"/>
                    <a:pt x="273505" y="277624"/>
                    <a:pt x="276553" y="273261"/>
                  </a:cubicBezTo>
                  <a:lnTo>
                    <a:pt x="300637" y="239781"/>
                  </a:lnTo>
                  <a:lnTo>
                    <a:pt x="302771" y="198589"/>
                  </a:lnTo>
                  <a:cubicBezTo>
                    <a:pt x="302974" y="193313"/>
                    <a:pt x="306327" y="188646"/>
                    <a:pt x="311306" y="186719"/>
                  </a:cubicBezTo>
                  <a:lnTo>
                    <a:pt x="349718" y="171500"/>
                  </a:lnTo>
                  <a:lnTo>
                    <a:pt x="373699" y="137918"/>
                  </a:lnTo>
                  <a:cubicBezTo>
                    <a:pt x="376849" y="133657"/>
                    <a:pt x="382133" y="131526"/>
                    <a:pt x="387316" y="132541"/>
                  </a:cubicBezTo>
                  <a:lnTo>
                    <a:pt x="427861" y="140556"/>
                  </a:lnTo>
                  <a:close/>
                  <a:moveTo>
                    <a:pt x="109982" y="101715"/>
                  </a:moveTo>
                  <a:cubicBezTo>
                    <a:pt x="122921" y="101715"/>
                    <a:pt x="133410" y="112172"/>
                    <a:pt x="133410" y="125072"/>
                  </a:cubicBezTo>
                  <a:cubicBezTo>
                    <a:pt x="133410" y="137972"/>
                    <a:pt x="122921" y="148429"/>
                    <a:pt x="109982" y="148429"/>
                  </a:cubicBezTo>
                  <a:cubicBezTo>
                    <a:pt x="97043" y="148429"/>
                    <a:pt x="86554" y="137972"/>
                    <a:pt x="86554" y="125072"/>
                  </a:cubicBezTo>
                  <a:cubicBezTo>
                    <a:pt x="86554" y="112172"/>
                    <a:pt x="97043" y="101715"/>
                    <a:pt x="109982" y="101715"/>
                  </a:cubicBezTo>
                  <a:close/>
                  <a:moveTo>
                    <a:pt x="147030" y="37586"/>
                  </a:moveTo>
                  <a:lnTo>
                    <a:pt x="124671" y="44587"/>
                  </a:lnTo>
                  <a:cubicBezTo>
                    <a:pt x="122130" y="45399"/>
                    <a:pt x="119488" y="45399"/>
                    <a:pt x="117049" y="44689"/>
                  </a:cubicBezTo>
                  <a:lnTo>
                    <a:pt x="94385" y="38499"/>
                  </a:lnTo>
                  <a:lnTo>
                    <a:pt x="79343" y="56459"/>
                  </a:lnTo>
                  <a:cubicBezTo>
                    <a:pt x="77615" y="58387"/>
                    <a:pt x="75481" y="59909"/>
                    <a:pt x="72940" y="60721"/>
                  </a:cubicBezTo>
                  <a:lnTo>
                    <a:pt x="50581" y="67621"/>
                  </a:lnTo>
                  <a:lnTo>
                    <a:pt x="47633" y="90857"/>
                  </a:lnTo>
                  <a:cubicBezTo>
                    <a:pt x="47329" y="93495"/>
                    <a:pt x="46211" y="95931"/>
                    <a:pt x="44584" y="97858"/>
                  </a:cubicBezTo>
                  <a:lnTo>
                    <a:pt x="29543" y="115819"/>
                  </a:lnTo>
                  <a:lnTo>
                    <a:pt x="39604" y="137026"/>
                  </a:lnTo>
                  <a:cubicBezTo>
                    <a:pt x="40722" y="139359"/>
                    <a:pt x="41129" y="141896"/>
                    <a:pt x="40824" y="144534"/>
                  </a:cubicBezTo>
                  <a:lnTo>
                    <a:pt x="37877" y="167771"/>
                  </a:lnTo>
                  <a:lnTo>
                    <a:pt x="57797" y="180049"/>
                  </a:lnTo>
                  <a:cubicBezTo>
                    <a:pt x="60033" y="181469"/>
                    <a:pt x="61760" y="183397"/>
                    <a:pt x="62878" y="185731"/>
                  </a:cubicBezTo>
                  <a:lnTo>
                    <a:pt x="73042" y="206938"/>
                  </a:lnTo>
                  <a:lnTo>
                    <a:pt x="96519" y="206532"/>
                  </a:lnTo>
                  <a:cubicBezTo>
                    <a:pt x="96519" y="206532"/>
                    <a:pt x="96620" y="206532"/>
                    <a:pt x="96722" y="206532"/>
                  </a:cubicBezTo>
                  <a:cubicBezTo>
                    <a:pt x="99263" y="206532"/>
                    <a:pt x="101702" y="207242"/>
                    <a:pt x="103836" y="208561"/>
                  </a:cubicBezTo>
                  <a:lnTo>
                    <a:pt x="123756" y="220839"/>
                  </a:lnTo>
                  <a:lnTo>
                    <a:pt x="143270" y="207851"/>
                  </a:lnTo>
                  <a:cubicBezTo>
                    <a:pt x="145506" y="206431"/>
                    <a:pt x="148047" y="205619"/>
                    <a:pt x="150588" y="205619"/>
                  </a:cubicBezTo>
                  <a:lnTo>
                    <a:pt x="174065" y="205213"/>
                  </a:lnTo>
                  <a:lnTo>
                    <a:pt x="183415" y="183701"/>
                  </a:lnTo>
                  <a:cubicBezTo>
                    <a:pt x="184533" y="181368"/>
                    <a:pt x="186159" y="179338"/>
                    <a:pt x="188395" y="177918"/>
                  </a:cubicBezTo>
                  <a:lnTo>
                    <a:pt x="207908" y="164930"/>
                  </a:lnTo>
                  <a:lnTo>
                    <a:pt x="204148" y="141795"/>
                  </a:lnTo>
                  <a:cubicBezTo>
                    <a:pt x="203742" y="139258"/>
                    <a:pt x="204046" y="136620"/>
                    <a:pt x="205063" y="134184"/>
                  </a:cubicBezTo>
                  <a:lnTo>
                    <a:pt x="214515" y="112774"/>
                  </a:lnTo>
                  <a:lnTo>
                    <a:pt x="198863" y="95322"/>
                  </a:lnTo>
                  <a:cubicBezTo>
                    <a:pt x="197135" y="93394"/>
                    <a:pt x="195916" y="90959"/>
                    <a:pt x="195509" y="88422"/>
                  </a:cubicBezTo>
                  <a:lnTo>
                    <a:pt x="191850" y="65287"/>
                  </a:lnTo>
                  <a:lnTo>
                    <a:pt x="169186" y="59097"/>
                  </a:lnTo>
                  <a:cubicBezTo>
                    <a:pt x="166646" y="58387"/>
                    <a:pt x="164410" y="56966"/>
                    <a:pt x="162682" y="55038"/>
                  </a:cubicBezTo>
                  <a:close/>
                  <a:moveTo>
                    <a:pt x="147234" y="9174"/>
                  </a:moveTo>
                  <a:cubicBezTo>
                    <a:pt x="152315" y="7652"/>
                    <a:pt x="157905" y="9174"/>
                    <a:pt x="161361" y="13030"/>
                  </a:cubicBezTo>
                  <a:lnTo>
                    <a:pt x="180264" y="34034"/>
                  </a:lnTo>
                  <a:lnTo>
                    <a:pt x="207400" y="41543"/>
                  </a:lnTo>
                  <a:cubicBezTo>
                    <a:pt x="212482" y="42862"/>
                    <a:pt x="216344" y="47124"/>
                    <a:pt x="217157" y="52400"/>
                  </a:cubicBezTo>
                  <a:lnTo>
                    <a:pt x="221629" y="80203"/>
                  </a:lnTo>
                  <a:lnTo>
                    <a:pt x="240533" y="101105"/>
                  </a:lnTo>
                  <a:cubicBezTo>
                    <a:pt x="243988" y="105063"/>
                    <a:pt x="244903" y="110745"/>
                    <a:pt x="242870" y="115616"/>
                  </a:cubicBezTo>
                  <a:lnTo>
                    <a:pt x="231589" y="141389"/>
                  </a:lnTo>
                  <a:lnTo>
                    <a:pt x="236061" y="169191"/>
                  </a:lnTo>
                  <a:cubicBezTo>
                    <a:pt x="236874" y="174366"/>
                    <a:pt x="234536" y="179643"/>
                    <a:pt x="230166" y="182585"/>
                  </a:cubicBezTo>
                  <a:lnTo>
                    <a:pt x="206689" y="198212"/>
                  </a:lnTo>
                  <a:lnTo>
                    <a:pt x="195408" y="223985"/>
                  </a:lnTo>
                  <a:cubicBezTo>
                    <a:pt x="193273" y="228855"/>
                    <a:pt x="188497" y="232001"/>
                    <a:pt x="183212" y="232102"/>
                  </a:cubicBezTo>
                  <a:lnTo>
                    <a:pt x="155059" y="232610"/>
                  </a:lnTo>
                  <a:lnTo>
                    <a:pt x="131582" y="248236"/>
                  </a:lnTo>
                  <a:cubicBezTo>
                    <a:pt x="129346" y="249758"/>
                    <a:pt x="126704" y="250468"/>
                    <a:pt x="124061" y="250468"/>
                  </a:cubicBezTo>
                  <a:cubicBezTo>
                    <a:pt x="121622" y="250468"/>
                    <a:pt x="119081" y="249758"/>
                    <a:pt x="116947" y="248439"/>
                  </a:cubicBezTo>
                  <a:lnTo>
                    <a:pt x="92962" y="233624"/>
                  </a:lnTo>
                  <a:lnTo>
                    <a:pt x="64809" y="234132"/>
                  </a:lnTo>
                  <a:cubicBezTo>
                    <a:pt x="64708" y="234132"/>
                    <a:pt x="64606" y="234132"/>
                    <a:pt x="64504" y="234132"/>
                  </a:cubicBezTo>
                  <a:cubicBezTo>
                    <a:pt x="59321" y="234132"/>
                    <a:pt x="54544" y="231088"/>
                    <a:pt x="52309" y="226420"/>
                  </a:cubicBezTo>
                  <a:lnTo>
                    <a:pt x="40214" y="200951"/>
                  </a:lnTo>
                  <a:lnTo>
                    <a:pt x="16229" y="186137"/>
                  </a:lnTo>
                  <a:cubicBezTo>
                    <a:pt x="11655" y="183397"/>
                    <a:pt x="9216" y="178222"/>
                    <a:pt x="9928" y="172946"/>
                  </a:cubicBezTo>
                  <a:lnTo>
                    <a:pt x="13383" y="145042"/>
                  </a:lnTo>
                  <a:lnTo>
                    <a:pt x="1289" y="119674"/>
                  </a:lnTo>
                  <a:cubicBezTo>
                    <a:pt x="-947" y="114905"/>
                    <a:pt x="-236" y="109223"/>
                    <a:pt x="3118" y="105164"/>
                  </a:cubicBezTo>
                  <a:lnTo>
                    <a:pt x="21209" y="83551"/>
                  </a:lnTo>
                  <a:lnTo>
                    <a:pt x="24766" y="55647"/>
                  </a:lnTo>
                  <a:cubicBezTo>
                    <a:pt x="25477" y="50371"/>
                    <a:pt x="29136" y="46008"/>
                    <a:pt x="34218" y="44384"/>
                  </a:cubicBezTo>
                  <a:lnTo>
                    <a:pt x="61049" y="36064"/>
                  </a:lnTo>
                  <a:lnTo>
                    <a:pt x="79241" y="14451"/>
                  </a:lnTo>
                  <a:cubicBezTo>
                    <a:pt x="82595" y="10392"/>
                    <a:pt x="88083" y="8667"/>
                    <a:pt x="93165" y="10088"/>
                  </a:cubicBezTo>
                  <a:lnTo>
                    <a:pt x="120403" y="17596"/>
                  </a:lnTo>
                  <a:close/>
                  <a:moveTo>
                    <a:pt x="499470" y="444"/>
                  </a:moveTo>
                  <a:cubicBezTo>
                    <a:pt x="506063" y="1421"/>
                    <a:pt x="511702" y="3831"/>
                    <a:pt x="516479" y="5860"/>
                  </a:cubicBezTo>
                  <a:cubicBezTo>
                    <a:pt x="524710" y="9310"/>
                    <a:pt x="528571" y="10731"/>
                    <a:pt x="534872" y="8092"/>
                  </a:cubicBezTo>
                  <a:cubicBezTo>
                    <a:pt x="541782" y="5150"/>
                    <a:pt x="549708" y="8295"/>
                    <a:pt x="552655" y="15195"/>
                  </a:cubicBezTo>
                  <a:cubicBezTo>
                    <a:pt x="555602" y="21994"/>
                    <a:pt x="552452" y="30010"/>
                    <a:pt x="545643" y="32953"/>
                  </a:cubicBezTo>
                  <a:cubicBezTo>
                    <a:pt x="528368" y="40360"/>
                    <a:pt x="515361" y="34779"/>
                    <a:pt x="505809" y="30720"/>
                  </a:cubicBezTo>
                  <a:cubicBezTo>
                    <a:pt x="497578" y="27169"/>
                    <a:pt x="493716" y="25748"/>
                    <a:pt x="487416" y="28488"/>
                  </a:cubicBezTo>
                  <a:cubicBezTo>
                    <a:pt x="481115" y="31126"/>
                    <a:pt x="479489" y="34982"/>
                    <a:pt x="476339" y="43404"/>
                  </a:cubicBezTo>
                  <a:cubicBezTo>
                    <a:pt x="472782" y="53044"/>
                    <a:pt x="467803" y="66336"/>
                    <a:pt x="450629" y="73744"/>
                  </a:cubicBezTo>
                  <a:cubicBezTo>
                    <a:pt x="433354" y="81050"/>
                    <a:pt x="420347" y="75570"/>
                    <a:pt x="410795" y="71511"/>
                  </a:cubicBezTo>
                  <a:cubicBezTo>
                    <a:pt x="402563" y="67960"/>
                    <a:pt x="398702" y="66539"/>
                    <a:pt x="392402" y="69177"/>
                  </a:cubicBezTo>
                  <a:cubicBezTo>
                    <a:pt x="386101" y="71917"/>
                    <a:pt x="384475" y="75773"/>
                    <a:pt x="381325" y="84094"/>
                  </a:cubicBezTo>
                  <a:cubicBezTo>
                    <a:pt x="377768" y="93835"/>
                    <a:pt x="372789" y="107127"/>
                    <a:pt x="355615" y="114433"/>
                  </a:cubicBezTo>
                  <a:cubicBezTo>
                    <a:pt x="349518" y="117072"/>
                    <a:pt x="343929" y="118086"/>
                    <a:pt x="338747" y="118086"/>
                  </a:cubicBezTo>
                  <a:cubicBezTo>
                    <a:pt x="329601" y="118086"/>
                    <a:pt x="321979" y="114839"/>
                    <a:pt x="315882" y="112201"/>
                  </a:cubicBezTo>
                  <a:cubicBezTo>
                    <a:pt x="307651" y="108751"/>
                    <a:pt x="303688" y="107330"/>
                    <a:pt x="297387" y="109969"/>
                  </a:cubicBezTo>
                  <a:cubicBezTo>
                    <a:pt x="290579" y="112911"/>
                    <a:pt x="282551" y="109766"/>
                    <a:pt x="279604" y="102866"/>
                  </a:cubicBezTo>
                  <a:cubicBezTo>
                    <a:pt x="276657" y="96067"/>
                    <a:pt x="279807" y="88051"/>
                    <a:pt x="286717" y="85108"/>
                  </a:cubicBezTo>
                  <a:cubicBezTo>
                    <a:pt x="303891" y="77701"/>
                    <a:pt x="317000" y="83282"/>
                    <a:pt x="326451" y="87341"/>
                  </a:cubicBezTo>
                  <a:cubicBezTo>
                    <a:pt x="334682" y="90892"/>
                    <a:pt x="338645" y="92313"/>
                    <a:pt x="344945" y="89573"/>
                  </a:cubicBezTo>
                  <a:cubicBezTo>
                    <a:pt x="351144" y="86935"/>
                    <a:pt x="352872" y="83079"/>
                    <a:pt x="355920" y="74657"/>
                  </a:cubicBezTo>
                  <a:cubicBezTo>
                    <a:pt x="359578" y="65017"/>
                    <a:pt x="364456" y="51725"/>
                    <a:pt x="381731" y="44317"/>
                  </a:cubicBezTo>
                  <a:cubicBezTo>
                    <a:pt x="398905" y="37011"/>
                    <a:pt x="411912" y="42491"/>
                    <a:pt x="421465" y="46550"/>
                  </a:cubicBezTo>
                  <a:cubicBezTo>
                    <a:pt x="429696" y="50101"/>
                    <a:pt x="433659" y="51522"/>
                    <a:pt x="439858" y="48883"/>
                  </a:cubicBezTo>
                  <a:cubicBezTo>
                    <a:pt x="446158" y="46144"/>
                    <a:pt x="447784" y="42288"/>
                    <a:pt x="450934" y="33967"/>
                  </a:cubicBezTo>
                  <a:cubicBezTo>
                    <a:pt x="454593" y="24226"/>
                    <a:pt x="459470" y="11035"/>
                    <a:pt x="476746" y="3628"/>
                  </a:cubicBezTo>
                  <a:cubicBezTo>
                    <a:pt x="485332" y="-76"/>
                    <a:pt x="492878" y="-533"/>
                    <a:pt x="499470" y="444"/>
                  </a:cubicBezTo>
                  <a:close/>
                </a:path>
              </a:pathLst>
            </a:custGeom>
            <a:solidFill>
              <a:sysClr val="window" lastClr="FFFFFF"/>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51" name="组合 271"/>
          <p:cNvGrpSpPr/>
          <p:nvPr/>
        </p:nvGrpSpPr>
        <p:grpSpPr>
          <a:xfrm>
            <a:off x="655638" y="1889125"/>
            <a:ext cx="1273175" cy="1271588"/>
            <a:chOff x="1211580" y="1888797"/>
            <a:chExt cx="1272540" cy="1272538"/>
          </a:xfrm>
        </p:grpSpPr>
        <p:grpSp>
          <p:nvGrpSpPr>
            <p:cNvPr id="44052" name="组合 220"/>
            <p:cNvGrpSpPr/>
            <p:nvPr/>
          </p:nvGrpSpPr>
          <p:grpSpPr>
            <a:xfrm>
              <a:off x="1211580" y="1888797"/>
              <a:ext cx="1272540" cy="1272538"/>
              <a:chOff x="1211580" y="2028917"/>
              <a:chExt cx="1272540" cy="1272538"/>
            </a:xfrm>
          </p:grpSpPr>
          <p:sp>
            <p:nvSpPr>
              <p:cNvPr id="222" name="椭圆 221"/>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23" name="椭圆 222"/>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3" name="organims_106204"/>
            <p:cNvSpPr/>
            <p:nvPr/>
          </p:nvSpPr>
          <p:spPr>
            <a:xfrm>
              <a:off x="1635136" y="2298279"/>
              <a:ext cx="437285" cy="424120"/>
            </a:xfrm>
            <a:custGeom>
              <a:avLst/>
              <a:gdLst>
                <a:gd name="connsiteX0" fmla="*/ 35700 w 578738"/>
                <a:gd name="connsiteY0" fmla="*/ 243554 h 561315"/>
                <a:gd name="connsiteX1" fmla="*/ 30383 w 578738"/>
                <a:gd name="connsiteY1" fmla="*/ 254930 h 561315"/>
                <a:gd name="connsiteX2" fmla="*/ 30383 w 578738"/>
                <a:gd name="connsiteY2" fmla="*/ 519604 h 561315"/>
                <a:gd name="connsiteX3" fmla="*/ 35700 w 578738"/>
                <a:gd name="connsiteY3" fmla="*/ 530980 h 561315"/>
                <a:gd name="connsiteX4" fmla="*/ 132926 w 578738"/>
                <a:gd name="connsiteY4" fmla="*/ 530980 h 561315"/>
                <a:gd name="connsiteX5" fmla="*/ 138243 w 578738"/>
                <a:gd name="connsiteY5" fmla="*/ 519604 h 561315"/>
                <a:gd name="connsiteX6" fmla="*/ 138243 w 578738"/>
                <a:gd name="connsiteY6" fmla="*/ 254930 h 561315"/>
                <a:gd name="connsiteX7" fmla="*/ 132926 w 578738"/>
                <a:gd name="connsiteY7" fmla="*/ 243554 h 561315"/>
                <a:gd name="connsiteX8" fmla="*/ 35700 w 578738"/>
                <a:gd name="connsiteY8" fmla="*/ 213219 h 561315"/>
                <a:gd name="connsiteX9" fmla="*/ 132926 w 578738"/>
                <a:gd name="connsiteY9" fmla="*/ 213219 h 561315"/>
                <a:gd name="connsiteX10" fmla="*/ 168626 w 578738"/>
                <a:gd name="connsiteY10" fmla="*/ 254930 h 561315"/>
                <a:gd name="connsiteX11" fmla="*/ 168626 w 578738"/>
                <a:gd name="connsiteY11" fmla="*/ 519604 h 561315"/>
                <a:gd name="connsiteX12" fmla="*/ 132926 w 578738"/>
                <a:gd name="connsiteY12" fmla="*/ 561315 h 561315"/>
                <a:gd name="connsiteX13" fmla="*/ 35700 w 578738"/>
                <a:gd name="connsiteY13" fmla="*/ 561315 h 561315"/>
                <a:gd name="connsiteX14" fmla="*/ 0 w 578738"/>
                <a:gd name="connsiteY14" fmla="*/ 519604 h 561315"/>
                <a:gd name="connsiteX15" fmla="*/ 0 w 578738"/>
                <a:gd name="connsiteY15" fmla="*/ 254930 h 561315"/>
                <a:gd name="connsiteX16" fmla="*/ 35700 w 578738"/>
                <a:gd name="connsiteY16" fmla="*/ 213219 h 561315"/>
                <a:gd name="connsiteX17" fmla="*/ 321281 w 578738"/>
                <a:gd name="connsiteY17" fmla="*/ 30341 h 561315"/>
                <a:gd name="connsiteX18" fmla="*/ 296219 w 578738"/>
                <a:gd name="connsiteY18" fmla="*/ 55373 h 561315"/>
                <a:gd name="connsiteX19" fmla="*/ 296979 w 578738"/>
                <a:gd name="connsiteY19" fmla="*/ 60683 h 561315"/>
                <a:gd name="connsiteX20" fmla="*/ 296979 w 578738"/>
                <a:gd name="connsiteY20" fmla="*/ 65992 h 561315"/>
                <a:gd name="connsiteX21" fmla="*/ 268119 w 578738"/>
                <a:gd name="connsiteY21" fmla="*/ 212389 h 561315"/>
                <a:gd name="connsiteX22" fmla="*/ 263563 w 578738"/>
                <a:gd name="connsiteY22" fmla="*/ 221492 h 561315"/>
                <a:gd name="connsiteX23" fmla="*/ 262044 w 578738"/>
                <a:gd name="connsiteY23" fmla="*/ 223009 h 561315"/>
                <a:gd name="connsiteX24" fmla="*/ 232425 w 578738"/>
                <a:gd name="connsiteY24" fmla="*/ 240455 h 561315"/>
                <a:gd name="connsiteX25" fmla="*/ 230146 w 578738"/>
                <a:gd name="connsiteY25" fmla="*/ 240455 h 561315"/>
                <a:gd name="connsiteX26" fmla="*/ 225590 w 578738"/>
                <a:gd name="connsiteY26" fmla="*/ 240455 h 561315"/>
                <a:gd name="connsiteX27" fmla="*/ 224071 w 578738"/>
                <a:gd name="connsiteY27" fmla="*/ 241214 h 561315"/>
                <a:gd name="connsiteX28" fmla="*/ 211919 w 578738"/>
                <a:gd name="connsiteY28" fmla="*/ 253350 h 561315"/>
                <a:gd name="connsiteX29" fmla="*/ 211919 w 578738"/>
                <a:gd name="connsiteY29" fmla="*/ 518079 h 561315"/>
                <a:gd name="connsiteX30" fmla="*/ 224830 w 578738"/>
                <a:gd name="connsiteY30" fmla="*/ 530974 h 561315"/>
                <a:gd name="connsiteX31" fmla="*/ 521019 w 578738"/>
                <a:gd name="connsiteY31" fmla="*/ 530974 h 561315"/>
                <a:gd name="connsiteX32" fmla="*/ 522538 w 578738"/>
                <a:gd name="connsiteY32" fmla="*/ 530215 h 561315"/>
                <a:gd name="connsiteX33" fmla="*/ 546081 w 578738"/>
                <a:gd name="connsiteY33" fmla="*/ 505942 h 561315"/>
                <a:gd name="connsiteX34" fmla="*/ 522538 w 578738"/>
                <a:gd name="connsiteY34" fmla="*/ 480910 h 561315"/>
                <a:gd name="connsiteX35" fmla="*/ 508108 w 578738"/>
                <a:gd name="connsiteY35" fmla="*/ 465740 h 561315"/>
                <a:gd name="connsiteX36" fmla="*/ 523298 w 578738"/>
                <a:gd name="connsiteY36" fmla="*/ 450569 h 561315"/>
                <a:gd name="connsiteX37" fmla="*/ 548360 w 578738"/>
                <a:gd name="connsiteY37" fmla="*/ 425537 h 561315"/>
                <a:gd name="connsiteX38" fmla="*/ 523298 w 578738"/>
                <a:gd name="connsiteY38" fmla="*/ 401264 h 561315"/>
                <a:gd name="connsiteX39" fmla="*/ 508108 w 578738"/>
                <a:gd name="connsiteY39" fmla="*/ 386094 h 561315"/>
                <a:gd name="connsiteX40" fmla="*/ 523298 w 578738"/>
                <a:gd name="connsiteY40" fmla="*/ 370923 h 561315"/>
                <a:gd name="connsiteX41" fmla="*/ 548360 w 578738"/>
                <a:gd name="connsiteY41" fmla="*/ 345891 h 561315"/>
                <a:gd name="connsiteX42" fmla="*/ 523298 w 578738"/>
                <a:gd name="connsiteY42" fmla="*/ 320860 h 561315"/>
                <a:gd name="connsiteX43" fmla="*/ 508108 w 578738"/>
                <a:gd name="connsiteY43" fmla="*/ 305689 h 561315"/>
                <a:gd name="connsiteX44" fmla="*/ 523298 w 578738"/>
                <a:gd name="connsiteY44" fmla="*/ 290518 h 561315"/>
                <a:gd name="connsiteX45" fmla="*/ 548360 w 578738"/>
                <a:gd name="connsiteY45" fmla="*/ 265487 h 561315"/>
                <a:gd name="connsiteX46" fmla="*/ 523298 w 578738"/>
                <a:gd name="connsiteY46" fmla="*/ 240455 h 561315"/>
                <a:gd name="connsiteX47" fmla="*/ 373684 w 578738"/>
                <a:gd name="connsiteY47" fmla="*/ 240455 h 561315"/>
                <a:gd name="connsiteX48" fmla="*/ 361533 w 578738"/>
                <a:gd name="connsiteY48" fmla="*/ 234387 h 561315"/>
                <a:gd name="connsiteX49" fmla="*/ 360014 w 578738"/>
                <a:gd name="connsiteY49" fmla="*/ 219975 h 561315"/>
                <a:gd name="connsiteX50" fmla="*/ 343306 w 578738"/>
                <a:gd name="connsiteY50" fmla="*/ 42478 h 561315"/>
                <a:gd name="connsiteX51" fmla="*/ 341787 w 578738"/>
                <a:gd name="connsiteY51" fmla="*/ 40961 h 561315"/>
                <a:gd name="connsiteX52" fmla="*/ 321281 w 578738"/>
                <a:gd name="connsiteY52" fmla="*/ 30341 h 561315"/>
                <a:gd name="connsiteX53" fmla="*/ 321281 w 578738"/>
                <a:gd name="connsiteY53" fmla="*/ 0 h 561315"/>
                <a:gd name="connsiteX54" fmla="*/ 365330 w 578738"/>
                <a:gd name="connsiteY54" fmla="*/ 21997 h 561315"/>
                <a:gd name="connsiteX55" fmla="*/ 395708 w 578738"/>
                <a:gd name="connsiteY55" fmla="*/ 210114 h 561315"/>
                <a:gd name="connsiteX56" fmla="*/ 523298 w 578738"/>
                <a:gd name="connsiteY56" fmla="*/ 210114 h 561315"/>
                <a:gd name="connsiteX57" fmla="*/ 562789 w 578738"/>
                <a:gd name="connsiteY57" fmla="*/ 226802 h 561315"/>
                <a:gd name="connsiteX58" fmla="*/ 578738 w 578738"/>
                <a:gd name="connsiteY58" fmla="*/ 265487 h 561315"/>
                <a:gd name="connsiteX59" fmla="*/ 561270 w 578738"/>
                <a:gd name="connsiteY59" fmla="*/ 305689 h 561315"/>
                <a:gd name="connsiteX60" fmla="*/ 578738 w 578738"/>
                <a:gd name="connsiteY60" fmla="*/ 345891 h 561315"/>
                <a:gd name="connsiteX61" fmla="*/ 561270 w 578738"/>
                <a:gd name="connsiteY61" fmla="*/ 386094 h 561315"/>
                <a:gd name="connsiteX62" fmla="*/ 578738 w 578738"/>
                <a:gd name="connsiteY62" fmla="*/ 425537 h 561315"/>
                <a:gd name="connsiteX63" fmla="*/ 560511 w 578738"/>
                <a:gd name="connsiteY63" fmla="*/ 466498 h 561315"/>
                <a:gd name="connsiteX64" fmla="*/ 576460 w 578738"/>
                <a:gd name="connsiteY64" fmla="*/ 505942 h 561315"/>
                <a:gd name="connsiteX65" fmla="*/ 527095 w 578738"/>
                <a:gd name="connsiteY65" fmla="*/ 560556 h 561315"/>
                <a:gd name="connsiteX66" fmla="*/ 523298 w 578738"/>
                <a:gd name="connsiteY66" fmla="*/ 561315 h 561315"/>
                <a:gd name="connsiteX67" fmla="*/ 224830 w 578738"/>
                <a:gd name="connsiteY67" fmla="*/ 561315 h 561315"/>
                <a:gd name="connsiteX68" fmla="*/ 181541 w 578738"/>
                <a:gd name="connsiteY68" fmla="*/ 518079 h 561315"/>
                <a:gd name="connsiteX69" fmla="*/ 181541 w 578738"/>
                <a:gd name="connsiteY69" fmla="*/ 253350 h 561315"/>
                <a:gd name="connsiteX70" fmla="*/ 222552 w 578738"/>
                <a:gd name="connsiteY70" fmla="*/ 210872 h 561315"/>
                <a:gd name="connsiteX71" fmla="*/ 224830 w 578738"/>
                <a:gd name="connsiteY71" fmla="*/ 210114 h 561315"/>
                <a:gd name="connsiteX72" fmla="*/ 229387 w 578738"/>
                <a:gd name="connsiteY72" fmla="*/ 210114 h 561315"/>
                <a:gd name="connsiteX73" fmla="*/ 237741 w 578738"/>
                <a:gd name="connsiteY73" fmla="*/ 205563 h 561315"/>
                <a:gd name="connsiteX74" fmla="*/ 240779 w 578738"/>
                <a:gd name="connsiteY74" fmla="*/ 198736 h 561315"/>
                <a:gd name="connsiteX75" fmla="*/ 266600 w 578738"/>
                <a:gd name="connsiteY75" fmla="*/ 66751 h 561315"/>
                <a:gd name="connsiteX76" fmla="*/ 266600 w 578738"/>
                <a:gd name="connsiteY76" fmla="*/ 60683 h 561315"/>
                <a:gd name="connsiteX77" fmla="*/ 265841 w 578738"/>
                <a:gd name="connsiteY77" fmla="*/ 55373 h 561315"/>
                <a:gd name="connsiteX78" fmla="*/ 321281 w 578738"/>
                <a:gd name="connsiteY78" fmla="*/ 0 h 56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78738" h="561315">
                  <a:moveTo>
                    <a:pt x="35700" y="243554"/>
                  </a:moveTo>
                  <a:cubicBezTo>
                    <a:pt x="34181" y="243554"/>
                    <a:pt x="30383" y="248104"/>
                    <a:pt x="30383" y="254930"/>
                  </a:cubicBezTo>
                  <a:lnTo>
                    <a:pt x="30383" y="519604"/>
                  </a:lnTo>
                  <a:cubicBezTo>
                    <a:pt x="30383" y="526430"/>
                    <a:pt x="34181" y="530980"/>
                    <a:pt x="35700" y="530980"/>
                  </a:cubicBezTo>
                  <a:lnTo>
                    <a:pt x="132926" y="530980"/>
                  </a:lnTo>
                  <a:cubicBezTo>
                    <a:pt x="134445" y="530980"/>
                    <a:pt x="138243" y="526430"/>
                    <a:pt x="138243" y="519604"/>
                  </a:cubicBezTo>
                  <a:lnTo>
                    <a:pt x="138243" y="254930"/>
                  </a:lnTo>
                  <a:cubicBezTo>
                    <a:pt x="138243" y="248104"/>
                    <a:pt x="134445" y="243554"/>
                    <a:pt x="132926" y="243554"/>
                  </a:cubicBezTo>
                  <a:close/>
                  <a:moveTo>
                    <a:pt x="35700" y="213219"/>
                  </a:moveTo>
                  <a:lnTo>
                    <a:pt x="132926" y="213219"/>
                  </a:lnTo>
                  <a:cubicBezTo>
                    <a:pt x="152675" y="213219"/>
                    <a:pt x="168626" y="231420"/>
                    <a:pt x="168626" y="254930"/>
                  </a:cubicBezTo>
                  <a:lnTo>
                    <a:pt x="168626" y="519604"/>
                  </a:lnTo>
                  <a:cubicBezTo>
                    <a:pt x="168626" y="542356"/>
                    <a:pt x="152675" y="561315"/>
                    <a:pt x="132926" y="561315"/>
                  </a:cubicBezTo>
                  <a:lnTo>
                    <a:pt x="35700" y="561315"/>
                  </a:lnTo>
                  <a:cubicBezTo>
                    <a:pt x="15951" y="561315"/>
                    <a:pt x="0" y="542356"/>
                    <a:pt x="0" y="519604"/>
                  </a:cubicBezTo>
                  <a:lnTo>
                    <a:pt x="0" y="254930"/>
                  </a:lnTo>
                  <a:cubicBezTo>
                    <a:pt x="0" y="231420"/>
                    <a:pt x="15951" y="213219"/>
                    <a:pt x="35700" y="213219"/>
                  </a:cubicBezTo>
                  <a:close/>
                  <a:moveTo>
                    <a:pt x="321281" y="30341"/>
                  </a:moveTo>
                  <a:cubicBezTo>
                    <a:pt x="307611" y="30341"/>
                    <a:pt x="296219" y="41719"/>
                    <a:pt x="296219" y="55373"/>
                  </a:cubicBezTo>
                  <a:cubicBezTo>
                    <a:pt x="296219" y="56890"/>
                    <a:pt x="296979" y="59166"/>
                    <a:pt x="296979" y="60683"/>
                  </a:cubicBezTo>
                  <a:cubicBezTo>
                    <a:pt x="297738" y="62200"/>
                    <a:pt x="297738" y="64475"/>
                    <a:pt x="296979" y="65992"/>
                  </a:cubicBezTo>
                  <a:cubicBezTo>
                    <a:pt x="306852" y="119090"/>
                    <a:pt x="287106" y="174463"/>
                    <a:pt x="268119" y="212389"/>
                  </a:cubicBezTo>
                  <a:cubicBezTo>
                    <a:pt x="266600" y="215424"/>
                    <a:pt x="265081" y="218458"/>
                    <a:pt x="263563" y="221492"/>
                  </a:cubicBezTo>
                  <a:cubicBezTo>
                    <a:pt x="263563" y="221492"/>
                    <a:pt x="262803" y="222250"/>
                    <a:pt x="262044" y="223009"/>
                  </a:cubicBezTo>
                  <a:cubicBezTo>
                    <a:pt x="255209" y="232870"/>
                    <a:pt x="244576" y="238938"/>
                    <a:pt x="232425" y="240455"/>
                  </a:cubicBezTo>
                  <a:cubicBezTo>
                    <a:pt x="231665" y="240455"/>
                    <a:pt x="230906" y="240455"/>
                    <a:pt x="230146" y="240455"/>
                  </a:cubicBezTo>
                  <a:lnTo>
                    <a:pt x="225590" y="240455"/>
                  </a:lnTo>
                  <a:cubicBezTo>
                    <a:pt x="225590" y="241214"/>
                    <a:pt x="224830" y="241214"/>
                    <a:pt x="224071" y="241214"/>
                  </a:cubicBezTo>
                  <a:cubicBezTo>
                    <a:pt x="217236" y="241214"/>
                    <a:pt x="211919" y="246524"/>
                    <a:pt x="211919" y="253350"/>
                  </a:cubicBezTo>
                  <a:lnTo>
                    <a:pt x="211919" y="518079"/>
                  </a:lnTo>
                  <a:cubicBezTo>
                    <a:pt x="211919" y="524905"/>
                    <a:pt x="217995" y="530974"/>
                    <a:pt x="224830" y="530974"/>
                  </a:cubicBezTo>
                  <a:lnTo>
                    <a:pt x="521019" y="530974"/>
                  </a:lnTo>
                  <a:cubicBezTo>
                    <a:pt x="521779" y="530974"/>
                    <a:pt x="521779" y="530215"/>
                    <a:pt x="522538" y="530215"/>
                  </a:cubicBezTo>
                  <a:cubicBezTo>
                    <a:pt x="536208" y="530215"/>
                    <a:pt x="546081" y="518837"/>
                    <a:pt x="546081" y="505942"/>
                  </a:cubicBezTo>
                  <a:cubicBezTo>
                    <a:pt x="546081" y="493047"/>
                    <a:pt x="536208" y="481669"/>
                    <a:pt x="522538" y="480910"/>
                  </a:cubicBezTo>
                  <a:cubicBezTo>
                    <a:pt x="514943" y="480910"/>
                    <a:pt x="508108" y="474084"/>
                    <a:pt x="508108" y="465740"/>
                  </a:cubicBezTo>
                  <a:cubicBezTo>
                    <a:pt x="508108" y="457396"/>
                    <a:pt x="514943" y="450569"/>
                    <a:pt x="523298" y="450569"/>
                  </a:cubicBezTo>
                  <a:cubicBezTo>
                    <a:pt x="536968" y="450569"/>
                    <a:pt x="548360" y="439191"/>
                    <a:pt x="548360" y="425537"/>
                  </a:cubicBezTo>
                  <a:cubicBezTo>
                    <a:pt x="548360" y="411884"/>
                    <a:pt x="536968" y="401264"/>
                    <a:pt x="523298" y="401264"/>
                  </a:cubicBezTo>
                  <a:cubicBezTo>
                    <a:pt x="514943" y="401264"/>
                    <a:pt x="508108" y="394438"/>
                    <a:pt x="508108" y="386094"/>
                  </a:cubicBezTo>
                  <a:cubicBezTo>
                    <a:pt x="508108" y="377750"/>
                    <a:pt x="514943" y="370923"/>
                    <a:pt x="523298" y="370923"/>
                  </a:cubicBezTo>
                  <a:cubicBezTo>
                    <a:pt x="536968" y="370923"/>
                    <a:pt x="548360" y="359545"/>
                    <a:pt x="548360" y="345891"/>
                  </a:cubicBezTo>
                  <a:cubicBezTo>
                    <a:pt x="548360" y="332238"/>
                    <a:pt x="536968" y="320860"/>
                    <a:pt x="523298" y="320860"/>
                  </a:cubicBezTo>
                  <a:cubicBezTo>
                    <a:pt x="514943" y="320860"/>
                    <a:pt x="508108" y="314033"/>
                    <a:pt x="508108" y="305689"/>
                  </a:cubicBezTo>
                  <a:cubicBezTo>
                    <a:pt x="508108" y="297345"/>
                    <a:pt x="514943" y="290518"/>
                    <a:pt x="523298" y="290518"/>
                  </a:cubicBezTo>
                  <a:cubicBezTo>
                    <a:pt x="536968" y="290518"/>
                    <a:pt x="548360" y="279140"/>
                    <a:pt x="548360" y="265487"/>
                  </a:cubicBezTo>
                  <a:cubicBezTo>
                    <a:pt x="548360" y="251833"/>
                    <a:pt x="536968" y="240455"/>
                    <a:pt x="523298" y="240455"/>
                  </a:cubicBezTo>
                  <a:lnTo>
                    <a:pt x="373684" y="240455"/>
                  </a:lnTo>
                  <a:cubicBezTo>
                    <a:pt x="369127" y="240455"/>
                    <a:pt x="363811" y="238180"/>
                    <a:pt x="361533" y="234387"/>
                  </a:cubicBezTo>
                  <a:cubicBezTo>
                    <a:pt x="358495" y="229836"/>
                    <a:pt x="357735" y="224526"/>
                    <a:pt x="360014" y="219975"/>
                  </a:cubicBezTo>
                  <a:cubicBezTo>
                    <a:pt x="401784" y="120607"/>
                    <a:pt x="349381" y="50822"/>
                    <a:pt x="343306" y="42478"/>
                  </a:cubicBezTo>
                  <a:cubicBezTo>
                    <a:pt x="342546" y="42478"/>
                    <a:pt x="341787" y="41719"/>
                    <a:pt x="341787" y="40961"/>
                  </a:cubicBezTo>
                  <a:cubicBezTo>
                    <a:pt x="336471" y="34134"/>
                    <a:pt x="329635" y="30341"/>
                    <a:pt x="321281" y="30341"/>
                  </a:cubicBezTo>
                  <a:close/>
                  <a:moveTo>
                    <a:pt x="321281" y="0"/>
                  </a:moveTo>
                  <a:cubicBezTo>
                    <a:pt x="338749" y="0"/>
                    <a:pt x="354698" y="8344"/>
                    <a:pt x="365330" y="21997"/>
                  </a:cubicBezTo>
                  <a:cubicBezTo>
                    <a:pt x="368368" y="25032"/>
                    <a:pt x="431403" y="99368"/>
                    <a:pt x="395708" y="210114"/>
                  </a:cubicBezTo>
                  <a:lnTo>
                    <a:pt x="523298" y="210114"/>
                  </a:lnTo>
                  <a:cubicBezTo>
                    <a:pt x="538487" y="210114"/>
                    <a:pt x="552157" y="216182"/>
                    <a:pt x="562789" y="226802"/>
                  </a:cubicBezTo>
                  <a:cubicBezTo>
                    <a:pt x="572662" y="237421"/>
                    <a:pt x="578738" y="251075"/>
                    <a:pt x="578738" y="265487"/>
                  </a:cubicBezTo>
                  <a:cubicBezTo>
                    <a:pt x="578738" y="281416"/>
                    <a:pt x="571903" y="295828"/>
                    <a:pt x="561270" y="305689"/>
                  </a:cubicBezTo>
                  <a:cubicBezTo>
                    <a:pt x="571903" y="315550"/>
                    <a:pt x="578738" y="329962"/>
                    <a:pt x="578738" y="345891"/>
                  </a:cubicBezTo>
                  <a:cubicBezTo>
                    <a:pt x="578738" y="361821"/>
                    <a:pt x="571903" y="375474"/>
                    <a:pt x="561270" y="386094"/>
                  </a:cubicBezTo>
                  <a:cubicBezTo>
                    <a:pt x="571903" y="395955"/>
                    <a:pt x="578738" y="410367"/>
                    <a:pt x="578738" y="425537"/>
                  </a:cubicBezTo>
                  <a:cubicBezTo>
                    <a:pt x="578738" y="442225"/>
                    <a:pt x="571903" y="456637"/>
                    <a:pt x="560511" y="466498"/>
                  </a:cubicBezTo>
                  <a:cubicBezTo>
                    <a:pt x="570384" y="477118"/>
                    <a:pt x="576460" y="490771"/>
                    <a:pt x="576460" y="505942"/>
                  </a:cubicBezTo>
                  <a:cubicBezTo>
                    <a:pt x="576460" y="534008"/>
                    <a:pt x="555195" y="557522"/>
                    <a:pt x="527095" y="560556"/>
                  </a:cubicBezTo>
                  <a:cubicBezTo>
                    <a:pt x="525576" y="560556"/>
                    <a:pt x="524816" y="561315"/>
                    <a:pt x="523298" y="561315"/>
                  </a:cubicBezTo>
                  <a:lnTo>
                    <a:pt x="224830" y="561315"/>
                  </a:lnTo>
                  <a:cubicBezTo>
                    <a:pt x="201287" y="561315"/>
                    <a:pt x="181541" y="541593"/>
                    <a:pt x="181541" y="518079"/>
                  </a:cubicBezTo>
                  <a:lnTo>
                    <a:pt x="181541" y="253350"/>
                  </a:lnTo>
                  <a:cubicBezTo>
                    <a:pt x="181541" y="230594"/>
                    <a:pt x="199768" y="211631"/>
                    <a:pt x="222552" y="210872"/>
                  </a:cubicBezTo>
                  <a:cubicBezTo>
                    <a:pt x="223311" y="210872"/>
                    <a:pt x="224071" y="210114"/>
                    <a:pt x="224830" y="210114"/>
                  </a:cubicBezTo>
                  <a:lnTo>
                    <a:pt x="229387" y="210114"/>
                  </a:lnTo>
                  <a:cubicBezTo>
                    <a:pt x="232425" y="210114"/>
                    <a:pt x="235463" y="208597"/>
                    <a:pt x="237741" y="205563"/>
                  </a:cubicBezTo>
                  <a:cubicBezTo>
                    <a:pt x="238500" y="203287"/>
                    <a:pt x="240019" y="201011"/>
                    <a:pt x="240779" y="198736"/>
                  </a:cubicBezTo>
                  <a:cubicBezTo>
                    <a:pt x="255209" y="170670"/>
                    <a:pt x="277233" y="115297"/>
                    <a:pt x="266600" y="66751"/>
                  </a:cubicBezTo>
                  <a:cubicBezTo>
                    <a:pt x="265841" y="65234"/>
                    <a:pt x="265841" y="62958"/>
                    <a:pt x="266600" y="60683"/>
                  </a:cubicBezTo>
                  <a:cubicBezTo>
                    <a:pt x="265841" y="59166"/>
                    <a:pt x="265841" y="56890"/>
                    <a:pt x="265841" y="55373"/>
                  </a:cubicBezTo>
                  <a:cubicBezTo>
                    <a:pt x="265841" y="25032"/>
                    <a:pt x="290903" y="0"/>
                    <a:pt x="321281" y="0"/>
                  </a:cubicBezTo>
                  <a:close/>
                </a:path>
              </a:pathLst>
            </a:custGeom>
            <a:solidFill>
              <a:sysClr val="window" lastClr="FFFFF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56" name="组合 268"/>
          <p:cNvGrpSpPr/>
          <p:nvPr/>
        </p:nvGrpSpPr>
        <p:grpSpPr>
          <a:xfrm>
            <a:off x="6359525" y="1889125"/>
            <a:ext cx="1273175" cy="1271588"/>
            <a:chOff x="7590714" y="1888797"/>
            <a:chExt cx="1272540" cy="1272538"/>
          </a:xfrm>
        </p:grpSpPr>
        <p:grpSp>
          <p:nvGrpSpPr>
            <p:cNvPr id="44057" name="组合 231"/>
            <p:cNvGrpSpPr/>
            <p:nvPr/>
          </p:nvGrpSpPr>
          <p:grpSpPr>
            <a:xfrm>
              <a:off x="7590714" y="1888797"/>
              <a:ext cx="1272540" cy="1272538"/>
              <a:chOff x="1211580" y="2028917"/>
              <a:chExt cx="1272540" cy="1272538"/>
            </a:xfrm>
          </p:grpSpPr>
          <p:sp>
            <p:nvSpPr>
              <p:cNvPr id="233" name="椭圆 232"/>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4" name="椭圆 233"/>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4" name="organims_106204"/>
            <p:cNvSpPr/>
            <p:nvPr/>
          </p:nvSpPr>
          <p:spPr>
            <a:xfrm>
              <a:off x="8018790" y="2274317"/>
              <a:ext cx="409487" cy="486387"/>
            </a:xfrm>
            <a:custGeom>
              <a:avLst/>
              <a:gdLst>
                <a:gd name="T0" fmla="*/ 5086 w 10172"/>
                <a:gd name="T1" fmla="*/ 12082 h 12082"/>
                <a:gd name="T2" fmla="*/ 0 w 10172"/>
                <a:gd name="T3" fmla="*/ 6827 h 12082"/>
                <a:gd name="T4" fmla="*/ 0 w 10172"/>
                <a:gd name="T5" fmla="*/ 1734 h 12082"/>
                <a:gd name="T6" fmla="*/ 767 w 10172"/>
                <a:gd name="T7" fmla="*/ 1722 h 12082"/>
                <a:gd name="T8" fmla="*/ 2832 w 10172"/>
                <a:gd name="T9" fmla="*/ 1278 h 12082"/>
                <a:gd name="T10" fmla="*/ 4626 w 10172"/>
                <a:gd name="T11" fmla="*/ 331 h 12082"/>
                <a:gd name="T12" fmla="*/ 5084 w 10172"/>
                <a:gd name="T13" fmla="*/ 0 h 12082"/>
                <a:gd name="T14" fmla="*/ 5543 w 10172"/>
                <a:gd name="T15" fmla="*/ 330 h 12082"/>
                <a:gd name="T16" fmla="*/ 7339 w 10172"/>
                <a:gd name="T17" fmla="*/ 1278 h 12082"/>
                <a:gd name="T18" fmla="*/ 9404 w 10172"/>
                <a:gd name="T19" fmla="*/ 1722 h 12082"/>
                <a:gd name="T20" fmla="*/ 10169 w 10172"/>
                <a:gd name="T21" fmla="*/ 1734 h 12082"/>
                <a:gd name="T22" fmla="*/ 10172 w 10172"/>
                <a:gd name="T23" fmla="*/ 6827 h 12082"/>
                <a:gd name="T24" fmla="*/ 5086 w 10172"/>
                <a:gd name="T25" fmla="*/ 12082 h 12082"/>
                <a:gd name="T26" fmla="*/ 591 w 10172"/>
                <a:gd name="T27" fmla="*/ 2316 h 12082"/>
                <a:gd name="T28" fmla="*/ 591 w 10172"/>
                <a:gd name="T29" fmla="*/ 6827 h 12082"/>
                <a:gd name="T30" fmla="*/ 5086 w 10172"/>
                <a:gd name="T31" fmla="*/ 11492 h 12082"/>
                <a:gd name="T32" fmla="*/ 9581 w 10172"/>
                <a:gd name="T33" fmla="*/ 6827 h 12082"/>
                <a:gd name="T34" fmla="*/ 9579 w 10172"/>
                <a:gd name="T35" fmla="*/ 2316 h 12082"/>
                <a:gd name="T36" fmla="*/ 9395 w 10172"/>
                <a:gd name="T37" fmla="*/ 2313 h 12082"/>
                <a:gd name="T38" fmla="*/ 9395 w 10172"/>
                <a:gd name="T39" fmla="*/ 2313 h 12082"/>
                <a:gd name="T40" fmla="*/ 7118 w 10172"/>
                <a:gd name="T41" fmla="*/ 1826 h 12082"/>
                <a:gd name="T42" fmla="*/ 5195 w 10172"/>
                <a:gd name="T43" fmla="*/ 807 h 12082"/>
                <a:gd name="T44" fmla="*/ 5085 w 10172"/>
                <a:gd name="T45" fmla="*/ 728 h 12082"/>
                <a:gd name="T46" fmla="*/ 4973 w 10172"/>
                <a:gd name="T47" fmla="*/ 809 h 12082"/>
                <a:gd name="T48" fmla="*/ 3053 w 10172"/>
                <a:gd name="T49" fmla="*/ 1826 h 12082"/>
                <a:gd name="T50" fmla="*/ 772 w 10172"/>
                <a:gd name="T51" fmla="*/ 2313 h 12082"/>
                <a:gd name="T52" fmla="*/ 591 w 10172"/>
                <a:gd name="T53" fmla="*/ 2316 h 12082"/>
                <a:gd name="T54" fmla="*/ 4861 w 10172"/>
                <a:gd name="T55" fmla="*/ 8268 h 12082"/>
                <a:gd name="T56" fmla="*/ 2605 w 10172"/>
                <a:gd name="T57" fmla="*/ 6356 h 12082"/>
                <a:gd name="T58" fmla="*/ 2570 w 10172"/>
                <a:gd name="T59" fmla="*/ 5940 h 12082"/>
                <a:gd name="T60" fmla="*/ 2986 w 10172"/>
                <a:gd name="T61" fmla="*/ 5905 h 12082"/>
                <a:gd name="T62" fmla="*/ 4798 w 10172"/>
                <a:gd name="T63" fmla="*/ 7441 h 12082"/>
                <a:gd name="T64" fmla="*/ 7710 w 10172"/>
                <a:gd name="T65" fmla="*/ 4102 h 12082"/>
                <a:gd name="T66" fmla="*/ 8127 w 10172"/>
                <a:gd name="T67" fmla="*/ 4074 h 12082"/>
                <a:gd name="T68" fmla="*/ 8155 w 10172"/>
                <a:gd name="T69" fmla="*/ 4491 h 12082"/>
                <a:gd name="T70" fmla="*/ 4861 w 10172"/>
                <a:gd name="T71" fmla="*/ 8268 h 12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72" h="12082">
                  <a:moveTo>
                    <a:pt x="5086" y="12082"/>
                  </a:moveTo>
                  <a:cubicBezTo>
                    <a:pt x="3263" y="12082"/>
                    <a:pt x="0" y="9434"/>
                    <a:pt x="0" y="6827"/>
                  </a:cubicBezTo>
                  <a:lnTo>
                    <a:pt x="0" y="1734"/>
                  </a:lnTo>
                  <a:lnTo>
                    <a:pt x="767" y="1722"/>
                  </a:lnTo>
                  <a:cubicBezTo>
                    <a:pt x="778" y="1722"/>
                    <a:pt x="1791" y="1698"/>
                    <a:pt x="2832" y="1278"/>
                  </a:cubicBezTo>
                  <a:cubicBezTo>
                    <a:pt x="3916" y="840"/>
                    <a:pt x="4619" y="336"/>
                    <a:pt x="4626" y="331"/>
                  </a:cubicBezTo>
                  <a:lnTo>
                    <a:pt x="5084" y="0"/>
                  </a:lnTo>
                  <a:lnTo>
                    <a:pt x="5543" y="330"/>
                  </a:lnTo>
                  <a:cubicBezTo>
                    <a:pt x="5552" y="336"/>
                    <a:pt x="6254" y="840"/>
                    <a:pt x="7339" y="1278"/>
                  </a:cubicBezTo>
                  <a:cubicBezTo>
                    <a:pt x="8381" y="1699"/>
                    <a:pt x="9394" y="1722"/>
                    <a:pt x="9404" y="1722"/>
                  </a:cubicBezTo>
                  <a:lnTo>
                    <a:pt x="10169" y="1734"/>
                  </a:lnTo>
                  <a:lnTo>
                    <a:pt x="10172" y="6827"/>
                  </a:lnTo>
                  <a:cubicBezTo>
                    <a:pt x="10172" y="9434"/>
                    <a:pt x="6909" y="12082"/>
                    <a:pt x="5086" y="12082"/>
                  </a:cubicBezTo>
                  <a:close/>
                  <a:moveTo>
                    <a:pt x="591" y="2316"/>
                  </a:moveTo>
                  <a:lnTo>
                    <a:pt x="591" y="6827"/>
                  </a:lnTo>
                  <a:cubicBezTo>
                    <a:pt x="591" y="9021"/>
                    <a:pt x="3523" y="11492"/>
                    <a:pt x="5086" y="11492"/>
                  </a:cubicBezTo>
                  <a:cubicBezTo>
                    <a:pt x="6648" y="11492"/>
                    <a:pt x="9581" y="9021"/>
                    <a:pt x="9581" y="6827"/>
                  </a:cubicBezTo>
                  <a:lnTo>
                    <a:pt x="9579" y="2316"/>
                  </a:lnTo>
                  <a:lnTo>
                    <a:pt x="9395" y="2313"/>
                  </a:lnTo>
                  <a:lnTo>
                    <a:pt x="9395" y="2313"/>
                  </a:lnTo>
                  <a:cubicBezTo>
                    <a:pt x="9387" y="2313"/>
                    <a:pt x="8271" y="2291"/>
                    <a:pt x="7118" y="1826"/>
                  </a:cubicBezTo>
                  <a:cubicBezTo>
                    <a:pt x="5942" y="1351"/>
                    <a:pt x="5202" y="813"/>
                    <a:pt x="5195" y="807"/>
                  </a:cubicBezTo>
                  <a:lnTo>
                    <a:pt x="5085" y="728"/>
                  </a:lnTo>
                  <a:lnTo>
                    <a:pt x="4973" y="809"/>
                  </a:lnTo>
                  <a:cubicBezTo>
                    <a:pt x="4969" y="813"/>
                    <a:pt x="4228" y="1351"/>
                    <a:pt x="3053" y="1826"/>
                  </a:cubicBezTo>
                  <a:cubicBezTo>
                    <a:pt x="1899" y="2292"/>
                    <a:pt x="783" y="2313"/>
                    <a:pt x="772" y="2313"/>
                  </a:cubicBezTo>
                  <a:lnTo>
                    <a:pt x="591" y="2316"/>
                  </a:lnTo>
                  <a:close/>
                  <a:moveTo>
                    <a:pt x="4861" y="8268"/>
                  </a:moveTo>
                  <a:lnTo>
                    <a:pt x="2605" y="6356"/>
                  </a:lnTo>
                  <a:cubicBezTo>
                    <a:pt x="2480" y="6251"/>
                    <a:pt x="2465" y="6064"/>
                    <a:pt x="2570" y="5940"/>
                  </a:cubicBezTo>
                  <a:cubicBezTo>
                    <a:pt x="2675" y="5815"/>
                    <a:pt x="2862" y="5800"/>
                    <a:pt x="2986" y="5905"/>
                  </a:cubicBezTo>
                  <a:lnTo>
                    <a:pt x="4798" y="7441"/>
                  </a:lnTo>
                  <a:lnTo>
                    <a:pt x="7710" y="4102"/>
                  </a:lnTo>
                  <a:cubicBezTo>
                    <a:pt x="7818" y="3979"/>
                    <a:pt x="8004" y="3967"/>
                    <a:pt x="8127" y="4074"/>
                  </a:cubicBezTo>
                  <a:cubicBezTo>
                    <a:pt x="8250" y="4181"/>
                    <a:pt x="8263" y="4368"/>
                    <a:pt x="8155" y="4491"/>
                  </a:cubicBezTo>
                  <a:lnTo>
                    <a:pt x="4861" y="8268"/>
                  </a:lnTo>
                  <a:close/>
                </a:path>
              </a:pathLst>
            </a:custGeom>
            <a:solidFill>
              <a:sysClr val="window" lastClr="FFFFF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61" name="组合 269"/>
          <p:cNvGrpSpPr/>
          <p:nvPr/>
        </p:nvGrpSpPr>
        <p:grpSpPr>
          <a:xfrm>
            <a:off x="8264525" y="1889125"/>
            <a:ext cx="1271588" cy="1271588"/>
            <a:chOff x="5459730" y="1888797"/>
            <a:chExt cx="1272540" cy="1272538"/>
          </a:xfrm>
        </p:grpSpPr>
        <p:grpSp>
          <p:nvGrpSpPr>
            <p:cNvPr id="44062" name="组合 228"/>
            <p:cNvGrpSpPr/>
            <p:nvPr/>
          </p:nvGrpSpPr>
          <p:grpSpPr>
            <a:xfrm>
              <a:off x="5459730" y="1888797"/>
              <a:ext cx="1272540" cy="1272538"/>
              <a:chOff x="1211580" y="2028917"/>
              <a:chExt cx="1272540" cy="1272538"/>
            </a:xfrm>
          </p:grpSpPr>
          <p:sp>
            <p:nvSpPr>
              <p:cNvPr id="230" name="椭圆 229"/>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1" name="椭圆 230"/>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nvGrpSpPr>
            <p:cNvPr id="44065" name="组合 249"/>
            <p:cNvGrpSpPr/>
            <p:nvPr/>
          </p:nvGrpSpPr>
          <p:grpSpPr>
            <a:xfrm>
              <a:off x="5897864" y="2341013"/>
              <a:ext cx="467447" cy="368105"/>
              <a:chOff x="6499860" y="3268980"/>
              <a:chExt cx="274320" cy="236220"/>
            </a:xfrm>
          </p:grpSpPr>
          <p:sp>
            <p:nvSpPr>
              <p:cNvPr id="251" name="任意多边形: 形状 250"/>
              <p:cNvSpPr/>
              <p:nvPr/>
            </p:nvSpPr>
            <p:spPr>
              <a:xfrm>
                <a:off x="6499860" y="3268980"/>
                <a:ext cx="274320" cy="236220"/>
              </a:xfrm>
              <a:custGeom>
                <a:avLst/>
                <a:gdLst>
                  <a:gd name="connsiteX0" fmla="*/ 0 w 274320"/>
                  <a:gd name="connsiteY0" fmla="*/ 0 h 236220"/>
                  <a:gd name="connsiteX1" fmla="*/ 0 w 274320"/>
                  <a:gd name="connsiteY1" fmla="*/ 236220 h 236220"/>
                  <a:gd name="connsiteX2" fmla="*/ 274320 w 274320"/>
                  <a:gd name="connsiteY2" fmla="*/ 236220 h 236220"/>
                </a:gdLst>
                <a:ahLst/>
                <a:cxnLst>
                  <a:cxn ang="0">
                    <a:pos x="connsiteX0" y="connsiteY0"/>
                  </a:cxn>
                  <a:cxn ang="0">
                    <a:pos x="connsiteX1" y="connsiteY1"/>
                  </a:cxn>
                  <a:cxn ang="0">
                    <a:pos x="connsiteX2" y="connsiteY2"/>
                  </a:cxn>
                </a:cxnLst>
                <a:rect l="l" t="t" r="r" b="b"/>
                <a:pathLst>
                  <a:path w="274320" h="236220">
                    <a:moveTo>
                      <a:pt x="0" y="0"/>
                    </a:moveTo>
                    <a:lnTo>
                      <a:pt x="0" y="236220"/>
                    </a:lnTo>
                    <a:lnTo>
                      <a:pt x="274320" y="236220"/>
                    </a:lnTo>
                  </a:path>
                </a:pathLst>
              </a:custGeom>
              <a:noFill/>
              <a:ln w="38100" cap="flat" cmpd="sng" algn="ctr">
                <a:solidFill>
                  <a:sysClr val="window" lastClr="FFFFFF"/>
                </a:solid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52" name="任意多边形: 形状 251"/>
              <p:cNvSpPr/>
              <p:nvPr/>
            </p:nvSpPr>
            <p:spPr>
              <a:xfrm flipV="1">
                <a:off x="6546887" y="3291425"/>
                <a:ext cx="181352" cy="158250"/>
              </a:xfrm>
              <a:custGeom>
                <a:avLst/>
                <a:gdLst>
                  <a:gd name="connsiteX0" fmla="*/ 0 w 152400"/>
                  <a:gd name="connsiteY0" fmla="*/ 0 h 126206"/>
                  <a:gd name="connsiteX1" fmla="*/ 152400 w 152400"/>
                  <a:gd name="connsiteY1" fmla="*/ 126206 h 126206"/>
                  <a:gd name="connsiteX0-1" fmla="*/ 0 w 152400"/>
                  <a:gd name="connsiteY0-2" fmla="*/ 0 h 126206"/>
                  <a:gd name="connsiteX1-3" fmla="*/ 152400 w 152400"/>
                  <a:gd name="connsiteY1-4" fmla="*/ 126206 h 126206"/>
                  <a:gd name="connsiteX0-5" fmla="*/ 0 w 152400"/>
                  <a:gd name="connsiteY0-6" fmla="*/ 0 h 126206"/>
                  <a:gd name="connsiteX1-7" fmla="*/ 152400 w 152400"/>
                  <a:gd name="connsiteY1-8" fmla="*/ 126206 h 126206"/>
                </a:gdLst>
                <a:ahLst/>
                <a:cxnLst>
                  <a:cxn ang="0">
                    <a:pos x="connsiteX0-1" y="connsiteY0-2"/>
                  </a:cxn>
                  <a:cxn ang="0">
                    <a:pos x="connsiteX1-3" y="connsiteY1-4"/>
                  </a:cxn>
                </a:cxnLst>
                <a:rect l="l" t="t" r="r" b="b"/>
                <a:pathLst>
                  <a:path w="152400" h="126206">
                    <a:moveTo>
                      <a:pt x="0" y="0"/>
                    </a:moveTo>
                    <a:cubicBezTo>
                      <a:pt x="55563" y="99219"/>
                      <a:pt x="101600" y="84137"/>
                      <a:pt x="152400" y="126206"/>
                    </a:cubicBezTo>
                  </a:path>
                </a:pathLst>
              </a:custGeom>
              <a:noFill/>
              <a:ln w="38100" cap="flat" cmpd="sng" algn="ctr">
                <a:solidFill>
                  <a:sysClr val="window" lastClr="FFFFFF"/>
                </a:solidFill>
                <a:prstDash val="solid"/>
                <a:miter lim="800000"/>
                <a:headEnd type="none" w="med" len="med"/>
                <a:tailEnd type="triangle" w="med" len="med"/>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grpSp>
        <p:nvGrpSpPr>
          <p:cNvPr id="44068" name="组合 267"/>
          <p:cNvGrpSpPr/>
          <p:nvPr/>
        </p:nvGrpSpPr>
        <p:grpSpPr>
          <a:xfrm>
            <a:off x="10166350" y="1889125"/>
            <a:ext cx="1271588" cy="1271588"/>
            <a:chOff x="9721700" y="1888797"/>
            <a:chExt cx="1272540" cy="1272538"/>
          </a:xfrm>
        </p:grpSpPr>
        <p:grpSp>
          <p:nvGrpSpPr>
            <p:cNvPr id="44069" name="组合 234"/>
            <p:cNvGrpSpPr/>
            <p:nvPr/>
          </p:nvGrpSpPr>
          <p:grpSpPr>
            <a:xfrm>
              <a:off x="9721700" y="1888797"/>
              <a:ext cx="1272540" cy="1272538"/>
              <a:chOff x="1211580" y="2028917"/>
              <a:chExt cx="1272540" cy="1272538"/>
            </a:xfrm>
          </p:grpSpPr>
          <p:sp>
            <p:nvSpPr>
              <p:cNvPr id="236" name="椭圆 235"/>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7" name="椭圆 236"/>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nvGrpSpPr>
            <p:cNvPr id="253" name="Group 276"/>
            <p:cNvGrpSpPr/>
            <p:nvPr/>
          </p:nvGrpSpPr>
          <p:grpSpPr bwMode="auto">
            <a:xfrm>
              <a:off x="10088655" y="2341014"/>
              <a:ext cx="534876" cy="381386"/>
              <a:chOff x="1969066" y="1147763"/>
              <a:chExt cx="3994150" cy="2847975"/>
            </a:xfrm>
            <a:solidFill>
              <a:sysClr val="window" lastClr="FFFFFF"/>
            </a:solidFill>
          </p:grpSpPr>
          <p:sp>
            <p:nvSpPr>
              <p:cNvPr id="254" name="Freeform 277"/>
              <p:cNvSpPr/>
              <p:nvPr/>
            </p:nvSpPr>
            <p:spPr bwMode="auto">
              <a:xfrm>
                <a:off x="4007416" y="1147763"/>
                <a:ext cx="1533525" cy="2562225"/>
              </a:xfrm>
              <a:custGeom>
                <a:avLst/>
                <a:gdLst>
                  <a:gd name="T0" fmla="*/ 0 w 966"/>
                  <a:gd name="T1" fmla="*/ 356 h 1614"/>
                  <a:gd name="T2" fmla="*/ 0 w 966"/>
                  <a:gd name="T3" fmla="*/ 1614 h 1614"/>
                  <a:gd name="T4" fmla="*/ 938 w 966"/>
                  <a:gd name="T5" fmla="*/ 1214 h 1614"/>
                  <a:gd name="T6" fmla="*/ 938 w 966"/>
                  <a:gd name="T7" fmla="*/ 1214 h 1614"/>
                  <a:gd name="T8" fmla="*/ 950 w 966"/>
                  <a:gd name="T9" fmla="*/ 1208 h 1614"/>
                  <a:gd name="T10" fmla="*/ 958 w 966"/>
                  <a:gd name="T11" fmla="*/ 1200 h 1614"/>
                  <a:gd name="T12" fmla="*/ 964 w 966"/>
                  <a:gd name="T13" fmla="*/ 1190 h 1614"/>
                  <a:gd name="T14" fmla="*/ 966 w 966"/>
                  <a:gd name="T15" fmla="*/ 1178 h 1614"/>
                  <a:gd name="T16" fmla="*/ 966 w 966"/>
                  <a:gd name="T17" fmla="*/ 40 h 1614"/>
                  <a:gd name="T18" fmla="*/ 966 w 966"/>
                  <a:gd name="T19" fmla="*/ 40 h 1614"/>
                  <a:gd name="T20" fmla="*/ 966 w 966"/>
                  <a:gd name="T21" fmla="*/ 30 h 1614"/>
                  <a:gd name="T22" fmla="*/ 962 w 966"/>
                  <a:gd name="T23" fmla="*/ 22 h 1614"/>
                  <a:gd name="T24" fmla="*/ 956 w 966"/>
                  <a:gd name="T25" fmla="*/ 14 h 1614"/>
                  <a:gd name="T26" fmla="*/ 948 w 966"/>
                  <a:gd name="T27" fmla="*/ 8 h 1614"/>
                  <a:gd name="T28" fmla="*/ 948 w 966"/>
                  <a:gd name="T29" fmla="*/ 8 h 1614"/>
                  <a:gd name="T30" fmla="*/ 938 w 966"/>
                  <a:gd name="T31" fmla="*/ 4 h 1614"/>
                  <a:gd name="T32" fmla="*/ 928 w 966"/>
                  <a:gd name="T33" fmla="*/ 0 h 1614"/>
                  <a:gd name="T34" fmla="*/ 918 w 966"/>
                  <a:gd name="T35" fmla="*/ 0 h 1614"/>
                  <a:gd name="T36" fmla="*/ 908 w 966"/>
                  <a:gd name="T37" fmla="*/ 4 h 1614"/>
                  <a:gd name="T38" fmla="*/ 0 w 966"/>
                  <a:gd name="T39" fmla="*/ 356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6" h="1614">
                    <a:moveTo>
                      <a:pt x="0" y="356"/>
                    </a:moveTo>
                    <a:lnTo>
                      <a:pt x="0" y="1614"/>
                    </a:lnTo>
                    <a:lnTo>
                      <a:pt x="938" y="1214"/>
                    </a:lnTo>
                    <a:lnTo>
                      <a:pt x="938" y="1214"/>
                    </a:lnTo>
                    <a:lnTo>
                      <a:pt x="950" y="1208"/>
                    </a:lnTo>
                    <a:lnTo>
                      <a:pt x="958" y="1200"/>
                    </a:lnTo>
                    <a:lnTo>
                      <a:pt x="964" y="1190"/>
                    </a:lnTo>
                    <a:lnTo>
                      <a:pt x="966" y="1178"/>
                    </a:lnTo>
                    <a:lnTo>
                      <a:pt x="966" y="40"/>
                    </a:lnTo>
                    <a:lnTo>
                      <a:pt x="966" y="40"/>
                    </a:lnTo>
                    <a:lnTo>
                      <a:pt x="966" y="30"/>
                    </a:lnTo>
                    <a:lnTo>
                      <a:pt x="962" y="22"/>
                    </a:lnTo>
                    <a:lnTo>
                      <a:pt x="956" y="14"/>
                    </a:lnTo>
                    <a:lnTo>
                      <a:pt x="948" y="8"/>
                    </a:lnTo>
                    <a:lnTo>
                      <a:pt x="948" y="8"/>
                    </a:lnTo>
                    <a:lnTo>
                      <a:pt x="938" y="4"/>
                    </a:lnTo>
                    <a:lnTo>
                      <a:pt x="928" y="0"/>
                    </a:lnTo>
                    <a:lnTo>
                      <a:pt x="918" y="0"/>
                    </a:lnTo>
                    <a:lnTo>
                      <a:pt x="908" y="4"/>
                    </a:lnTo>
                    <a:lnTo>
                      <a:pt x="0" y="3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5" name="Freeform 278"/>
              <p:cNvSpPr/>
              <p:nvPr/>
            </p:nvSpPr>
            <p:spPr bwMode="auto">
              <a:xfrm>
                <a:off x="2388166" y="1147763"/>
                <a:ext cx="1536700" cy="2562225"/>
              </a:xfrm>
              <a:custGeom>
                <a:avLst/>
                <a:gdLst>
                  <a:gd name="T0" fmla="*/ 60 w 968"/>
                  <a:gd name="T1" fmla="*/ 4 h 1614"/>
                  <a:gd name="T2" fmla="*/ 60 w 968"/>
                  <a:gd name="T3" fmla="*/ 4 h 1614"/>
                  <a:gd name="T4" fmla="*/ 50 w 968"/>
                  <a:gd name="T5" fmla="*/ 0 h 1614"/>
                  <a:gd name="T6" fmla="*/ 40 w 968"/>
                  <a:gd name="T7" fmla="*/ 0 h 1614"/>
                  <a:gd name="T8" fmla="*/ 28 w 968"/>
                  <a:gd name="T9" fmla="*/ 4 h 1614"/>
                  <a:gd name="T10" fmla="*/ 20 w 968"/>
                  <a:gd name="T11" fmla="*/ 8 h 1614"/>
                  <a:gd name="T12" fmla="*/ 20 w 968"/>
                  <a:gd name="T13" fmla="*/ 8 h 1614"/>
                  <a:gd name="T14" fmla="*/ 12 w 968"/>
                  <a:gd name="T15" fmla="*/ 14 h 1614"/>
                  <a:gd name="T16" fmla="*/ 6 w 968"/>
                  <a:gd name="T17" fmla="*/ 22 h 1614"/>
                  <a:gd name="T18" fmla="*/ 2 w 968"/>
                  <a:gd name="T19" fmla="*/ 30 h 1614"/>
                  <a:gd name="T20" fmla="*/ 0 w 968"/>
                  <a:gd name="T21" fmla="*/ 40 h 1614"/>
                  <a:gd name="T22" fmla="*/ 0 w 968"/>
                  <a:gd name="T23" fmla="*/ 1178 h 1614"/>
                  <a:gd name="T24" fmla="*/ 0 w 968"/>
                  <a:gd name="T25" fmla="*/ 1178 h 1614"/>
                  <a:gd name="T26" fmla="*/ 2 w 968"/>
                  <a:gd name="T27" fmla="*/ 1190 h 1614"/>
                  <a:gd name="T28" fmla="*/ 8 w 968"/>
                  <a:gd name="T29" fmla="*/ 1200 h 1614"/>
                  <a:gd name="T30" fmla="*/ 18 w 968"/>
                  <a:gd name="T31" fmla="*/ 1208 h 1614"/>
                  <a:gd name="T32" fmla="*/ 30 w 968"/>
                  <a:gd name="T33" fmla="*/ 1214 h 1614"/>
                  <a:gd name="T34" fmla="*/ 968 w 968"/>
                  <a:gd name="T35" fmla="*/ 1614 h 1614"/>
                  <a:gd name="T36" fmla="*/ 968 w 968"/>
                  <a:gd name="T37" fmla="*/ 356 h 1614"/>
                  <a:gd name="T38" fmla="*/ 60 w 968"/>
                  <a:gd name="T39" fmla="*/ 4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8" h="1614">
                    <a:moveTo>
                      <a:pt x="60" y="4"/>
                    </a:moveTo>
                    <a:lnTo>
                      <a:pt x="60" y="4"/>
                    </a:lnTo>
                    <a:lnTo>
                      <a:pt x="50" y="0"/>
                    </a:lnTo>
                    <a:lnTo>
                      <a:pt x="40" y="0"/>
                    </a:lnTo>
                    <a:lnTo>
                      <a:pt x="28" y="4"/>
                    </a:lnTo>
                    <a:lnTo>
                      <a:pt x="20" y="8"/>
                    </a:lnTo>
                    <a:lnTo>
                      <a:pt x="20" y="8"/>
                    </a:lnTo>
                    <a:lnTo>
                      <a:pt x="12" y="14"/>
                    </a:lnTo>
                    <a:lnTo>
                      <a:pt x="6" y="22"/>
                    </a:lnTo>
                    <a:lnTo>
                      <a:pt x="2" y="30"/>
                    </a:lnTo>
                    <a:lnTo>
                      <a:pt x="0" y="40"/>
                    </a:lnTo>
                    <a:lnTo>
                      <a:pt x="0" y="1178"/>
                    </a:lnTo>
                    <a:lnTo>
                      <a:pt x="0" y="1178"/>
                    </a:lnTo>
                    <a:lnTo>
                      <a:pt x="2" y="1190"/>
                    </a:lnTo>
                    <a:lnTo>
                      <a:pt x="8" y="1200"/>
                    </a:lnTo>
                    <a:lnTo>
                      <a:pt x="18" y="1208"/>
                    </a:lnTo>
                    <a:lnTo>
                      <a:pt x="30" y="1214"/>
                    </a:lnTo>
                    <a:lnTo>
                      <a:pt x="968" y="1614"/>
                    </a:lnTo>
                    <a:lnTo>
                      <a:pt x="968" y="356"/>
                    </a:lnTo>
                    <a:lnTo>
                      <a:pt x="6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6" name="Freeform 279"/>
              <p:cNvSpPr/>
              <p:nvPr/>
            </p:nvSpPr>
            <p:spPr bwMode="auto">
              <a:xfrm>
                <a:off x="4070916" y="1493838"/>
                <a:ext cx="1892300" cy="2257425"/>
              </a:xfrm>
              <a:custGeom>
                <a:avLst/>
                <a:gdLst>
                  <a:gd name="T0" fmla="*/ 0 w 1192"/>
                  <a:gd name="T1" fmla="*/ 1422 h 1422"/>
                  <a:gd name="T2" fmla="*/ 1156 w 1192"/>
                  <a:gd name="T3" fmla="*/ 1162 h 1422"/>
                  <a:gd name="T4" fmla="*/ 1156 w 1192"/>
                  <a:gd name="T5" fmla="*/ 1162 h 1422"/>
                  <a:gd name="T6" fmla="*/ 1170 w 1192"/>
                  <a:gd name="T7" fmla="*/ 1156 h 1422"/>
                  <a:gd name="T8" fmla="*/ 1182 w 1192"/>
                  <a:gd name="T9" fmla="*/ 1148 h 1422"/>
                  <a:gd name="T10" fmla="*/ 1186 w 1192"/>
                  <a:gd name="T11" fmla="*/ 1142 h 1422"/>
                  <a:gd name="T12" fmla="*/ 1190 w 1192"/>
                  <a:gd name="T13" fmla="*/ 1136 h 1422"/>
                  <a:gd name="T14" fmla="*/ 1192 w 1192"/>
                  <a:gd name="T15" fmla="*/ 1130 h 1422"/>
                  <a:gd name="T16" fmla="*/ 1192 w 1192"/>
                  <a:gd name="T17" fmla="*/ 1124 h 1422"/>
                  <a:gd name="T18" fmla="*/ 1192 w 1192"/>
                  <a:gd name="T19" fmla="*/ 38 h 1422"/>
                  <a:gd name="T20" fmla="*/ 1192 w 1192"/>
                  <a:gd name="T21" fmla="*/ 38 h 1422"/>
                  <a:gd name="T22" fmla="*/ 1190 w 1192"/>
                  <a:gd name="T23" fmla="*/ 30 h 1422"/>
                  <a:gd name="T24" fmla="*/ 1186 w 1192"/>
                  <a:gd name="T25" fmla="*/ 20 h 1422"/>
                  <a:gd name="T26" fmla="*/ 1182 w 1192"/>
                  <a:gd name="T27" fmla="*/ 14 h 1422"/>
                  <a:gd name="T28" fmla="*/ 1174 w 1192"/>
                  <a:gd name="T29" fmla="*/ 6 h 1422"/>
                  <a:gd name="T30" fmla="*/ 1174 w 1192"/>
                  <a:gd name="T31" fmla="*/ 6 h 1422"/>
                  <a:gd name="T32" fmla="*/ 1164 w 1192"/>
                  <a:gd name="T33" fmla="*/ 2 h 1422"/>
                  <a:gd name="T34" fmla="*/ 1154 w 1192"/>
                  <a:gd name="T35" fmla="*/ 0 h 1422"/>
                  <a:gd name="T36" fmla="*/ 1144 w 1192"/>
                  <a:gd name="T37" fmla="*/ 0 h 1422"/>
                  <a:gd name="T38" fmla="*/ 1134 w 1192"/>
                  <a:gd name="T39" fmla="*/ 2 h 1422"/>
                  <a:gd name="T40" fmla="*/ 1038 w 1192"/>
                  <a:gd name="T41" fmla="*/ 30 h 1422"/>
                  <a:gd name="T42" fmla="*/ 1038 w 1192"/>
                  <a:gd name="T43" fmla="*/ 1030 h 1422"/>
                  <a:gd name="T44" fmla="*/ 1038 w 1192"/>
                  <a:gd name="T45" fmla="*/ 1030 h 1422"/>
                  <a:gd name="T46" fmla="*/ 1036 w 1192"/>
                  <a:gd name="T47" fmla="*/ 1042 h 1422"/>
                  <a:gd name="T48" fmla="*/ 1030 w 1192"/>
                  <a:gd name="T49" fmla="*/ 1052 h 1422"/>
                  <a:gd name="T50" fmla="*/ 1020 w 1192"/>
                  <a:gd name="T51" fmla="*/ 1060 h 1422"/>
                  <a:gd name="T52" fmla="*/ 1010 w 1192"/>
                  <a:gd name="T53" fmla="*/ 1066 h 1422"/>
                  <a:gd name="T54" fmla="*/ 0 w 1192"/>
                  <a:gd name="T55" fmla="*/ 1422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92" h="1422">
                    <a:moveTo>
                      <a:pt x="0" y="1422"/>
                    </a:moveTo>
                    <a:lnTo>
                      <a:pt x="1156" y="1162"/>
                    </a:lnTo>
                    <a:lnTo>
                      <a:pt x="1156" y="1162"/>
                    </a:lnTo>
                    <a:lnTo>
                      <a:pt x="1170" y="1156"/>
                    </a:lnTo>
                    <a:lnTo>
                      <a:pt x="1182" y="1148"/>
                    </a:lnTo>
                    <a:lnTo>
                      <a:pt x="1186" y="1142"/>
                    </a:lnTo>
                    <a:lnTo>
                      <a:pt x="1190" y="1136"/>
                    </a:lnTo>
                    <a:lnTo>
                      <a:pt x="1192" y="1130"/>
                    </a:lnTo>
                    <a:lnTo>
                      <a:pt x="1192" y="1124"/>
                    </a:lnTo>
                    <a:lnTo>
                      <a:pt x="1192" y="38"/>
                    </a:lnTo>
                    <a:lnTo>
                      <a:pt x="1192" y="38"/>
                    </a:lnTo>
                    <a:lnTo>
                      <a:pt x="1190" y="30"/>
                    </a:lnTo>
                    <a:lnTo>
                      <a:pt x="1186" y="20"/>
                    </a:lnTo>
                    <a:lnTo>
                      <a:pt x="1182" y="14"/>
                    </a:lnTo>
                    <a:lnTo>
                      <a:pt x="1174" y="6"/>
                    </a:lnTo>
                    <a:lnTo>
                      <a:pt x="1174" y="6"/>
                    </a:lnTo>
                    <a:lnTo>
                      <a:pt x="1164" y="2"/>
                    </a:lnTo>
                    <a:lnTo>
                      <a:pt x="1154" y="0"/>
                    </a:lnTo>
                    <a:lnTo>
                      <a:pt x="1144" y="0"/>
                    </a:lnTo>
                    <a:lnTo>
                      <a:pt x="1134" y="2"/>
                    </a:lnTo>
                    <a:lnTo>
                      <a:pt x="1038" y="30"/>
                    </a:lnTo>
                    <a:lnTo>
                      <a:pt x="1038" y="1030"/>
                    </a:lnTo>
                    <a:lnTo>
                      <a:pt x="1038" y="1030"/>
                    </a:lnTo>
                    <a:lnTo>
                      <a:pt x="1036" y="1042"/>
                    </a:lnTo>
                    <a:lnTo>
                      <a:pt x="1030" y="1052"/>
                    </a:lnTo>
                    <a:lnTo>
                      <a:pt x="1020" y="1060"/>
                    </a:lnTo>
                    <a:lnTo>
                      <a:pt x="1010" y="1066"/>
                    </a:lnTo>
                    <a:lnTo>
                      <a:pt x="0" y="14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7" name="Freeform 280"/>
              <p:cNvSpPr/>
              <p:nvPr/>
            </p:nvSpPr>
            <p:spPr bwMode="auto">
              <a:xfrm>
                <a:off x="1969066" y="1493838"/>
                <a:ext cx="1892300" cy="2257425"/>
              </a:xfrm>
              <a:custGeom>
                <a:avLst/>
                <a:gdLst>
                  <a:gd name="T0" fmla="*/ 182 w 1192"/>
                  <a:gd name="T1" fmla="*/ 1066 h 1422"/>
                  <a:gd name="T2" fmla="*/ 182 w 1192"/>
                  <a:gd name="T3" fmla="*/ 1066 h 1422"/>
                  <a:gd name="T4" fmla="*/ 170 w 1192"/>
                  <a:gd name="T5" fmla="*/ 1060 h 1422"/>
                  <a:gd name="T6" fmla="*/ 162 w 1192"/>
                  <a:gd name="T7" fmla="*/ 1052 h 1422"/>
                  <a:gd name="T8" fmla="*/ 156 w 1192"/>
                  <a:gd name="T9" fmla="*/ 1042 h 1422"/>
                  <a:gd name="T10" fmla="*/ 154 w 1192"/>
                  <a:gd name="T11" fmla="*/ 1030 h 1422"/>
                  <a:gd name="T12" fmla="*/ 154 w 1192"/>
                  <a:gd name="T13" fmla="*/ 30 h 1422"/>
                  <a:gd name="T14" fmla="*/ 60 w 1192"/>
                  <a:gd name="T15" fmla="*/ 2 h 1422"/>
                  <a:gd name="T16" fmla="*/ 60 w 1192"/>
                  <a:gd name="T17" fmla="*/ 2 h 1422"/>
                  <a:gd name="T18" fmla="*/ 48 w 1192"/>
                  <a:gd name="T19" fmla="*/ 0 h 1422"/>
                  <a:gd name="T20" fmla="*/ 38 w 1192"/>
                  <a:gd name="T21" fmla="*/ 0 h 1422"/>
                  <a:gd name="T22" fmla="*/ 28 w 1192"/>
                  <a:gd name="T23" fmla="*/ 2 h 1422"/>
                  <a:gd name="T24" fmla="*/ 20 w 1192"/>
                  <a:gd name="T25" fmla="*/ 6 h 1422"/>
                  <a:gd name="T26" fmla="*/ 20 w 1192"/>
                  <a:gd name="T27" fmla="*/ 6 h 1422"/>
                  <a:gd name="T28" fmla="*/ 12 w 1192"/>
                  <a:gd name="T29" fmla="*/ 14 h 1422"/>
                  <a:gd name="T30" fmla="*/ 6 w 1192"/>
                  <a:gd name="T31" fmla="*/ 20 h 1422"/>
                  <a:gd name="T32" fmla="*/ 2 w 1192"/>
                  <a:gd name="T33" fmla="*/ 30 h 1422"/>
                  <a:gd name="T34" fmla="*/ 0 w 1192"/>
                  <a:gd name="T35" fmla="*/ 38 h 1422"/>
                  <a:gd name="T36" fmla="*/ 0 w 1192"/>
                  <a:gd name="T37" fmla="*/ 1124 h 1422"/>
                  <a:gd name="T38" fmla="*/ 0 w 1192"/>
                  <a:gd name="T39" fmla="*/ 1124 h 1422"/>
                  <a:gd name="T40" fmla="*/ 2 w 1192"/>
                  <a:gd name="T41" fmla="*/ 1130 h 1422"/>
                  <a:gd name="T42" fmla="*/ 4 w 1192"/>
                  <a:gd name="T43" fmla="*/ 1136 h 1422"/>
                  <a:gd name="T44" fmla="*/ 6 w 1192"/>
                  <a:gd name="T45" fmla="*/ 1142 h 1422"/>
                  <a:gd name="T46" fmla="*/ 10 w 1192"/>
                  <a:gd name="T47" fmla="*/ 1148 h 1422"/>
                  <a:gd name="T48" fmla="*/ 22 w 1192"/>
                  <a:gd name="T49" fmla="*/ 1156 h 1422"/>
                  <a:gd name="T50" fmla="*/ 36 w 1192"/>
                  <a:gd name="T51" fmla="*/ 1162 h 1422"/>
                  <a:gd name="T52" fmla="*/ 60 w 1192"/>
                  <a:gd name="T53" fmla="*/ 1166 h 1422"/>
                  <a:gd name="T54" fmla="*/ 1192 w 1192"/>
                  <a:gd name="T55" fmla="*/ 1422 h 1422"/>
                  <a:gd name="T56" fmla="*/ 182 w 1192"/>
                  <a:gd name="T57" fmla="*/ 1066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92" h="1422">
                    <a:moveTo>
                      <a:pt x="182" y="1066"/>
                    </a:moveTo>
                    <a:lnTo>
                      <a:pt x="182" y="1066"/>
                    </a:lnTo>
                    <a:lnTo>
                      <a:pt x="170" y="1060"/>
                    </a:lnTo>
                    <a:lnTo>
                      <a:pt x="162" y="1052"/>
                    </a:lnTo>
                    <a:lnTo>
                      <a:pt x="156" y="1042"/>
                    </a:lnTo>
                    <a:lnTo>
                      <a:pt x="154" y="1030"/>
                    </a:lnTo>
                    <a:lnTo>
                      <a:pt x="154" y="30"/>
                    </a:lnTo>
                    <a:lnTo>
                      <a:pt x="60" y="2"/>
                    </a:lnTo>
                    <a:lnTo>
                      <a:pt x="60" y="2"/>
                    </a:lnTo>
                    <a:lnTo>
                      <a:pt x="48" y="0"/>
                    </a:lnTo>
                    <a:lnTo>
                      <a:pt x="38" y="0"/>
                    </a:lnTo>
                    <a:lnTo>
                      <a:pt x="28" y="2"/>
                    </a:lnTo>
                    <a:lnTo>
                      <a:pt x="20" y="6"/>
                    </a:lnTo>
                    <a:lnTo>
                      <a:pt x="20" y="6"/>
                    </a:lnTo>
                    <a:lnTo>
                      <a:pt x="12" y="14"/>
                    </a:lnTo>
                    <a:lnTo>
                      <a:pt x="6" y="20"/>
                    </a:lnTo>
                    <a:lnTo>
                      <a:pt x="2" y="30"/>
                    </a:lnTo>
                    <a:lnTo>
                      <a:pt x="0" y="38"/>
                    </a:lnTo>
                    <a:lnTo>
                      <a:pt x="0" y="1124"/>
                    </a:lnTo>
                    <a:lnTo>
                      <a:pt x="0" y="1124"/>
                    </a:lnTo>
                    <a:lnTo>
                      <a:pt x="2" y="1130"/>
                    </a:lnTo>
                    <a:lnTo>
                      <a:pt x="4" y="1136"/>
                    </a:lnTo>
                    <a:lnTo>
                      <a:pt x="6" y="1142"/>
                    </a:lnTo>
                    <a:lnTo>
                      <a:pt x="10" y="1148"/>
                    </a:lnTo>
                    <a:lnTo>
                      <a:pt x="22" y="1156"/>
                    </a:lnTo>
                    <a:lnTo>
                      <a:pt x="36" y="1162"/>
                    </a:lnTo>
                    <a:lnTo>
                      <a:pt x="60" y="1166"/>
                    </a:lnTo>
                    <a:lnTo>
                      <a:pt x="1192" y="1422"/>
                    </a:lnTo>
                    <a:lnTo>
                      <a:pt x="182" y="106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8" name="Freeform 281"/>
              <p:cNvSpPr/>
              <p:nvPr/>
            </p:nvSpPr>
            <p:spPr bwMode="auto">
              <a:xfrm>
                <a:off x="1969066" y="3494088"/>
                <a:ext cx="3994150" cy="501650"/>
              </a:xfrm>
              <a:custGeom>
                <a:avLst/>
                <a:gdLst>
                  <a:gd name="T0" fmla="*/ 1364 w 2516"/>
                  <a:gd name="T1" fmla="*/ 198 h 316"/>
                  <a:gd name="T2" fmla="*/ 1356 w 2516"/>
                  <a:gd name="T3" fmla="*/ 206 h 316"/>
                  <a:gd name="T4" fmla="*/ 1318 w 2516"/>
                  <a:gd name="T5" fmla="*/ 230 h 316"/>
                  <a:gd name="T6" fmla="*/ 1280 w 2516"/>
                  <a:gd name="T7" fmla="*/ 242 h 316"/>
                  <a:gd name="T8" fmla="*/ 1258 w 2516"/>
                  <a:gd name="T9" fmla="*/ 244 h 316"/>
                  <a:gd name="T10" fmla="*/ 1216 w 2516"/>
                  <a:gd name="T11" fmla="*/ 236 h 316"/>
                  <a:gd name="T12" fmla="*/ 1182 w 2516"/>
                  <a:gd name="T13" fmla="*/ 220 h 316"/>
                  <a:gd name="T14" fmla="*/ 1152 w 2516"/>
                  <a:gd name="T15" fmla="*/ 198 h 316"/>
                  <a:gd name="T16" fmla="*/ 0 w 2516"/>
                  <a:gd name="T17" fmla="*/ 100 h 316"/>
                  <a:gd name="T18" fmla="*/ 2 w 2516"/>
                  <a:gd name="T19" fmla="*/ 106 h 316"/>
                  <a:gd name="T20" fmla="*/ 6 w 2516"/>
                  <a:gd name="T21" fmla="*/ 118 h 316"/>
                  <a:gd name="T22" fmla="*/ 16 w 2516"/>
                  <a:gd name="T23" fmla="*/ 128 h 316"/>
                  <a:gd name="T24" fmla="*/ 30 w 2516"/>
                  <a:gd name="T25" fmla="*/ 134 h 316"/>
                  <a:gd name="T26" fmla="*/ 1084 w 2516"/>
                  <a:gd name="T27" fmla="*/ 246 h 316"/>
                  <a:gd name="T28" fmla="*/ 1094 w 2516"/>
                  <a:gd name="T29" fmla="*/ 248 h 316"/>
                  <a:gd name="T30" fmla="*/ 1118 w 2516"/>
                  <a:gd name="T31" fmla="*/ 268 h 316"/>
                  <a:gd name="T32" fmla="*/ 1130 w 2516"/>
                  <a:gd name="T33" fmla="*/ 276 h 316"/>
                  <a:gd name="T34" fmla="*/ 1158 w 2516"/>
                  <a:gd name="T35" fmla="*/ 292 h 316"/>
                  <a:gd name="T36" fmla="*/ 1196 w 2516"/>
                  <a:gd name="T37" fmla="*/ 306 h 316"/>
                  <a:gd name="T38" fmla="*/ 1238 w 2516"/>
                  <a:gd name="T39" fmla="*/ 314 h 316"/>
                  <a:gd name="T40" fmla="*/ 1258 w 2516"/>
                  <a:gd name="T41" fmla="*/ 316 h 316"/>
                  <a:gd name="T42" fmla="*/ 1258 w 2516"/>
                  <a:gd name="T43" fmla="*/ 316 h 316"/>
                  <a:gd name="T44" fmla="*/ 1258 w 2516"/>
                  <a:gd name="T45" fmla="*/ 316 h 316"/>
                  <a:gd name="T46" fmla="*/ 1258 w 2516"/>
                  <a:gd name="T47" fmla="*/ 316 h 316"/>
                  <a:gd name="T48" fmla="*/ 1300 w 2516"/>
                  <a:gd name="T49" fmla="*/ 312 h 316"/>
                  <a:gd name="T50" fmla="*/ 1340 w 2516"/>
                  <a:gd name="T51" fmla="*/ 300 h 316"/>
                  <a:gd name="T52" fmla="*/ 1372 w 2516"/>
                  <a:gd name="T53" fmla="*/ 284 h 316"/>
                  <a:gd name="T54" fmla="*/ 1398 w 2516"/>
                  <a:gd name="T55" fmla="*/ 268 h 316"/>
                  <a:gd name="T56" fmla="*/ 1412 w 2516"/>
                  <a:gd name="T57" fmla="*/ 254 h 316"/>
                  <a:gd name="T58" fmla="*/ 1430 w 2516"/>
                  <a:gd name="T59" fmla="*/ 246 h 316"/>
                  <a:gd name="T60" fmla="*/ 2480 w 2516"/>
                  <a:gd name="T61" fmla="*/ 134 h 316"/>
                  <a:gd name="T62" fmla="*/ 2494 w 2516"/>
                  <a:gd name="T63" fmla="*/ 130 h 316"/>
                  <a:gd name="T64" fmla="*/ 2506 w 2516"/>
                  <a:gd name="T65" fmla="*/ 124 h 316"/>
                  <a:gd name="T66" fmla="*/ 2512 w 2516"/>
                  <a:gd name="T67" fmla="*/ 112 h 316"/>
                  <a:gd name="T68" fmla="*/ 2516 w 2516"/>
                  <a:gd name="T69" fmla="*/ 10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16" h="316">
                    <a:moveTo>
                      <a:pt x="2516" y="0"/>
                    </a:moveTo>
                    <a:lnTo>
                      <a:pt x="1364" y="198"/>
                    </a:lnTo>
                    <a:lnTo>
                      <a:pt x="1364" y="198"/>
                    </a:lnTo>
                    <a:lnTo>
                      <a:pt x="1356" y="206"/>
                    </a:lnTo>
                    <a:lnTo>
                      <a:pt x="1334" y="220"/>
                    </a:lnTo>
                    <a:lnTo>
                      <a:pt x="1318" y="230"/>
                    </a:lnTo>
                    <a:lnTo>
                      <a:pt x="1300" y="236"/>
                    </a:lnTo>
                    <a:lnTo>
                      <a:pt x="1280" y="242"/>
                    </a:lnTo>
                    <a:lnTo>
                      <a:pt x="1258" y="244"/>
                    </a:lnTo>
                    <a:lnTo>
                      <a:pt x="1258" y="244"/>
                    </a:lnTo>
                    <a:lnTo>
                      <a:pt x="1236" y="242"/>
                    </a:lnTo>
                    <a:lnTo>
                      <a:pt x="1216" y="236"/>
                    </a:lnTo>
                    <a:lnTo>
                      <a:pt x="1198" y="230"/>
                    </a:lnTo>
                    <a:lnTo>
                      <a:pt x="1182" y="220"/>
                    </a:lnTo>
                    <a:lnTo>
                      <a:pt x="1160" y="206"/>
                    </a:lnTo>
                    <a:lnTo>
                      <a:pt x="1152" y="198"/>
                    </a:lnTo>
                    <a:lnTo>
                      <a:pt x="0" y="0"/>
                    </a:lnTo>
                    <a:lnTo>
                      <a:pt x="0" y="100"/>
                    </a:lnTo>
                    <a:lnTo>
                      <a:pt x="0" y="100"/>
                    </a:lnTo>
                    <a:lnTo>
                      <a:pt x="2" y="106"/>
                    </a:lnTo>
                    <a:lnTo>
                      <a:pt x="4" y="112"/>
                    </a:lnTo>
                    <a:lnTo>
                      <a:pt x="6" y="118"/>
                    </a:lnTo>
                    <a:lnTo>
                      <a:pt x="12" y="124"/>
                    </a:lnTo>
                    <a:lnTo>
                      <a:pt x="16" y="128"/>
                    </a:lnTo>
                    <a:lnTo>
                      <a:pt x="24" y="130"/>
                    </a:lnTo>
                    <a:lnTo>
                      <a:pt x="30" y="134"/>
                    </a:lnTo>
                    <a:lnTo>
                      <a:pt x="38" y="134"/>
                    </a:lnTo>
                    <a:lnTo>
                      <a:pt x="1084" y="246"/>
                    </a:lnTo>
                    <a:lnTo>
                      <a:pt x="1084" y="246"/>
                    </a:lnTo>
                    <a:lnTo>
                      <a:pt x="1094" y="248"/>
                    </a:lnTo>
                    <a:lnTo>
                      <a:pt x="1102" y="254"/>
                    </a:lnTo>
                    <a:lnTo>
                      <a:pt x="1118" y="268"/>
                    </a:lnTo>
                    <a:lnTo>
                      <a:pt x="1118" y="268"/>
                    </a:lnTo>
                    <a:lnTo>
                      <a:pt x="1130" y="276"/>
                    </a:lnTo>
                    <a:lnTo>
                      <a:pt x="1142" y="284"/>
                    </a:lnTo>
                    <a:lnTo>
                      <a:pt x="1158" y="292"/>
                    </a:lnTo>
                    <a:lnTo>
                      <a:pt x="1176" y="300"/>
                    </a:lnTo>
                    <a:lnTo>
                      <a:pt x="1196" y="306"/>
                    </a:lnTo>
                    <a:lnTo>
                      <a:pt x="1216" y="312"/>
                    </a:lnTo>
                    <a:lnTo>
                      <a:pt x="1238" y="314"/>
                    </a:lnTo>
                    <a:lnTo>
                      <a:pt x="1258" y="316"/>
                    </a:lnTo>
                    <a:lnTo>
                      <a:pt x="1258" y="316"/>
                    </a:lnTo>
                    <a:lnTo>
                      <a:pt x="1258" y="316"/>
                    </a:lnTo>
                    <a:lnTo>
                      <a:pt x="1258" y="316"/>
                    </a:lnTo>
                    <a:lnTo>
                      <a:pt x="1258" y="316"/>
                    </a:lnTo>
                    <a:lnTo>
                      <a:pt x="1258" y="316"/>
                    </a:lnTo>
                    <a:lnTo>
                      <a:pt x="1258" y="316"/>
                    </a:lnTo>
                    <a:lnTo>
                      <a:pt x="1258" y="316"/>
                    </a:lnTo>
                    <a:lnTo>
                      <a:pt x="1280" y="314"/>
                    </a:lnTo>
                    <a:lnTo>
                      <a:pt x="1300" y="312"/>
                    </a:lnTo>
                    <a:lnTo>
                      <a:pt x="1320" y="306"/>
                    </a:lnTo>
                    <a:lnTo>
                      <a:pt x="1340" y="300"/>
                    </a:lnTo>
                    <a:lnTo>
                      <a:pt x="1356" y="292"/>
                    </a:lnTo>
                    <a:lnTo>
                      <a:pt x="1372" y="284"/>
                    </a:lnTo>
                    <a:lnTo>
                      <a:pt x="1386" y="276"/>
                    </a:lnTo>
                    <a:lnTo>
                      <a:pt x="1398" y="268"/>
                    </a:lnTo>
                    <a:lnTo>
                      <a:pt x="1398" y="268"/>
                    </a:lnTo>
                    <a:lnTo>
                      <a:pt x="1412" y="254"/>
                    </a:lnTo>
                    <a:lnTo>
                      <a:pt x="1422" y="248"/>
                    </a:lnTo>
                    <a:lnTo>
                      <a:pt x="1430" y="246"/>
                    </a:lnTo>
                    <a:lnTo>
                      <a:pt x="2480" y="134"/>
                    </a:lnTo>
                    <a:lnTo>
                      <a:pt x="2480" y="134"/>
                    </a:lnTo>
                    <a:lnTo>
                      <a:pt x="2486" y="134"/>
                    </a:lnTo>
                    <a:lnTo>
                      <a:pt x="2494" y="130"/>
                    </a:lnTo>
                    <a:lnTo>
                      <a:pt x="2500" y="128"/>
                    </a:lnTo>
                    <a:lnTo>
                      <a:pt x="2506" y="124"/>
                    </a:lnTo>
                    <a:lnTo>
                      <a:pt x="2510" y="118"/>
                    </a:lnTo>
                    <a:lnTo>
                      <a:pt x="2512" y="112"/>
                    </a:lnTo>
                    <a:lnTo>
                      <a:pt x="2516" y="106"/>
                    </a:lnTo>
                    <a:lnTo>
                      <a:pt x="2516" y="100"/>
                    </a:lnTo>
                    <a:lnTo>
                      <a:pt x="25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grpSp>
      </p:grpSp>
      <p:sp>
        <p:nvSpPr>
          <p:cNvPr id="44073" name="文本框 13"/>
          <p:cNvSpPr txBox="1"/>
          <p:nvPr/>
        </p:nvSpPr>
        <p:spPr>
          <a:xfrm>
            <a:off x="4224338" y="3732213"/>
            <a:ext cx="1836737" cy="1409700"/>
          </a:xfrm>
          <a:prstGeom prst="rect">
            <a:avLst/>
          </a:prstGeom>
          <a:noFill/>
          <a:ln w="9525">
            <a:noFill/>
          </a:ln>
        </p:spPr>
        <p:txBody>
          <a:bodyPr wrap="square" anchor="t" anchorCtr="0">
            <a:spAutoFit/>
          </a:bodyPr>
          <a:p>
            <a:pPr marL="71755" indent="-71755">
              <a:lnSpc>
                <a:spcPct val="130000"/>
              </a:lnSpc>
              <a:buFont typeface="Arial" panose="020B0604020202090204" pitchFamily="34" charset="0"/>
              <a:buChar char="•"/>
            </a:pP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共产酶</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KPC+MBL</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的</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分离株对氨曲南</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阿维巴坦的耐药率为</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0%</a:t>
            </a:r>
            <a:r>
              <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rPr>
              <a:t>5</a:t>
            </a:r>
            <a:endPar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endParaRPr>
          </a:p>
          <a:p>
            <a:pPr marL="71755" indent="-71755">
              <a:lnSpc>
                <a:spcPct val="130000"/>
              </a:lnSpc>
              <a:buFont typeface="Arial" panose="020B0604020202090204" pitchFamily="34" charset="0"/>
              <a:buChar char="•"/>
            </a:pP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对不同酶型</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及“三剑客”耐药</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的敏感率近</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100%</a:t>
            </a:r>
            <a:r>
              <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rPr>
              <a:t>6</a:t>
            </a:r>
            <a:endParaRPr lang="zh-CN" altLang="zh-CN" sz="11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4" name="文本框 13"/>
          <p:cNvSpPr txBox="1"/>
          <p:nvPr/>
        </p:nvSpPr>
        <p:spPr>
          <a:xfrm>
            <a:off x="7989888" y="3819525"/>
            <a:ext cx="1747837" cy="1028700"/>
          </a:xfrm>
          <a:prstGeom prst="rect">
            <a:avLst/>
          </a:prstGeom>
          <a:noFill/>
          <a:ln w="9525">
            <a:noFill/>
          </a:ln>
        </p:spPr>
        <p:txBody>
          <a:bodyPr wrap="square" anchor="t" anchorCtr="0">
            <a:spAutoFit/>
          </a:bodyPr>
          <a:p>
            <a:pPr algn="ctr">
              <a:lnSpc>
                <a:spcPct val="130000"/>
              </a:lnSpc>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治疗</a:t>
            </a:r>
            <a:r>
              <a:rPr lang="en-US" altLang="zh-CN" sz="1200" dirty="0" err="1">
                <a:solidFill>
                  <a:srgbClr val="3C3C3C"/>
                </a:solidFill>
                <a:latin typeface="微软雅黑" panose="020B0503020204020204" charset="-122"/>
                <a:ea typeface="微软雅黑" panose="020B0503020204020204" charset="-122"/>
                <a:sym typeface="微软雅黑" panose="020B0503020204020204" charset="-122"/>
              </a:rPr>
              <a:t>cIAI</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及</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HAP/VAP</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患者在首次给药间隔和稳态时的联合</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PTA</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超</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96.7%* </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9,10</a:t>
            </a:r>
            <a:endPar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5" name="文本框 13"/>
          <p:cNvSpPr txBox="1"/>
          <p:nvPr/>
        </p:nvSpPr>
        <p:spPr>
          <a:xfrm>
            <a:off x="6081713" y="3819525"/>
            <a:ext cx="1909762" cy="1268413"/>
          </a:xfrm>
          <a:prstGeom prst="rect">
            <a:avLst/>
          </a:prstGeom>
          <a:noFill/>
          <a:ln w="9525">
            <a:noFill/>
          </a:ln>
        </p:spPr>
        <p:txBody>
          <a:bodyPr wrap="square" anchor="t" anchorCtr="0">
            <a:spAutoFit/>
          </a:bodyPr>
          <a:p>
            <a:pPr algn="ctr">
              <a:lnSpc>
                <a:spcPct val="130000"/>
              </a:lnSpc>
            </a:pP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REVISI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SSEMBL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研究中治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MBL-CR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的临床治愈率分别高达</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68.4%</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和</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41.7%</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全因死亡率低，耐受性良好</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7,8</a:t>
            </a:r>
            <a:endParaRPr lang="zh-CN"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6" name="文本框 13"/>
          <p:cNvSpPr txBox="1"/>
          <p:nvPr/>
        </p:nvSpPr>
        <p:spPr>
          <a:xfrm>
            <a:off x="9871075" y="3819525"/>
            <a:ext cx="1824038" cy="1445895"/>
          </a:xfrm>
          <a:prstGeom prst="rect">
            <a:avLst/>
          </a:prstGeom>
          <a:noFill/>
          <a:ln w="9525">
            <a:noFill/>
          </a:ln>
        </p:spPr>
        <p:txBody>
          <a:bodyPr wrap="square" anchor="t" anchorCtr="0">
            <a:spAutoFit/>
          </a:bodyPr>
          <a:p>
            <a:pPr algn="ctr">
              <a:lnSpc>
                <a:spcPct val="130000"/>
              </a:lnSpc>
              <a:buClrTx/>
              <a:buSzTx/>
              <a:buFontTx/>
            </a:pP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2025</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新版</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细菌药物敏感试验执行标准和典型报告解读</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推荐氨曲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是有药敏结果产金属酶CRE首选之一</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11</a:t>
            </a:r>
            <a:endParaRPr lang="zh-CN"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7" name="文本框 262"/>
          <p:cNvSpPr txBox="1"/>
          <p:nvPr/>
        </p:nvSpPr>
        <p:spPr>
          <a:xfrm>
            <a:off x="784225" y="5491163"/>
            <a:ext cx="11168063" cy="708025"/>
          </a:xfrm>
          <a:prstGeom prst="rect">
            <a:avLst/>
          </a:prstGeom>
          <a:noFill/>
          <a:ln w="9525">
            <a:noFill/>
          </a:ln>
        </p:spPr>
        <p:txBody>
          <a:bodyPr wrap="square" anchor="t" anchorCtr="0">
            <a:spAutoFit/>
          </a:bodyPr>
          <a:p>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临床治愈率</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68.4%</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分析集人群；临床治愈率</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41.7%</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m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人群</a:t>
            </a:r>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7,8</a:t>
            </a:r>
            <a:endPar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endParaRPr>
          </a:p>
          <a:p>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肾功能正常患者</a:t>
            </a:r>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9,10</a:t>
            </a:r>
            <a:endPar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endParaRPr>
          </a:p>
          <a:p>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MBL</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金属</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β-</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内酰胺酶；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KPC</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肺炎克雷伯菌碳青霉烯酶；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CRE</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碳青霉烯类耐药肠杆菌目细菌；</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TA</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达标概率；</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cIAI</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复杂性腹腔感染；</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HAP</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医院获得性肺炎；</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VAP</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呼吸机相关性肺炎；</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D</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药效学；</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K</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药代动力学；</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mITT</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微生物学意向治疗；</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 </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意向性治疗（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分析集包括所有随机分组患者）</a:t>
            </a:r>
            <a:endParaRPr lang="zh-CN" altLang="en-US" sz="1000" dirty="0">
              <a:solidFill>
                <a:srgbClr val="7F7F7F"/>
              </a:solidFill>
              <a:latin typeface="微软雅黑" panose="020B0503020204020204" charset="-122"/>
              <a:ea typeface="微软雅黑" panose="020B0503020204020204" charset="-122"/>
              <a:sym typeface="微软雅黑" panose="020B0503020204020204" charset="-122"/>
            </a:endParaRPr>
          </a:p>
        </p:txBody>
      </p:sp>
      <p:sp>
        <p:nvSpPr>
          <p:cNvPr id="44078" name="文本框 66"/>
          <p:cNvSpPr txBox="1"/>
          <p:nvPr/>
        </p:nvSpPr>
        <p:spPr>
          <a:xfrm>
            <a:off x="2401888" y="3167063"/>
            <a:ext cx="162242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作用机制</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效杀菌</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79" name="文本框 77"/>
          <p:cNvSpPr txBox="1"/>
          <p:nvPr/>
        </p:nvSpPr>
        <p:spPr>
          <a:xfrm>
            <a:off x="9966325" y="3167063"/>
            <a:ext cx="1677988"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指南共识</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推荐</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80" name="文本框 13"/>
          <p:cNvSpPr txBox="1"/>
          <p:nvPr/>
        </p:nvSpPr>
        <p:spPr>
          <a:xfrm>
            <a:off x="2336800" y="3871913"/>
            <a:ext cx="1785938" cy="1270000"/>
          </a:xfrm>
          <a:prstGeom prst="rect">
            <a:avLst/>
          </a:prstGeom>
          <a:noFill/>
          <a:ln w="9525">
            <a:noFill/>
          </a:ln>
        </p:spPr>
        <p:txBody>
          <a:bodyPr wrap="square" anchor="t" anchorCtr="0">
            <a:spAutoFit/>
          </a:bodyPr>
          <a:p>
            <a:pPr marL="71755" indent="-71755">
              <a:lnSpc>
                <a:spcPct val="130000"/>
              </a:lnSpc>
              <a:buFont typeface="Arial" panose="020B0604020202090204" pitchFamily="34" charset="0"/>
              <a:buChar char="•"/>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氨曲南对</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MBL</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稳定，可使细菌裂解和死亡</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2</a:t>
            </a:r>
            <a:endParaRPr lang="en-US" altLang="zh-CN" sz="1200" dirty="0">
              <a:solidFill>
                <a:srgbClr val="3C3C3C"/>
              </a:solidFill>
              <a:latin typeface="微软雅黑" panose="020B0503020204020204" charset="-122"/>
              <a:ea typeface="微软雅黑" panose="020B0503020204020204" charset="-122"/>
              <a:sym typeface="微软雅黑" panose="020B0503020204020204" charset="-122"/>
            </a:endParaRPr>
          </a:p>
          <a:p>
            <a:pPr marL="71755" indent="-71755">
              <a:lnSpc>
                <a:spcPct val="130000"/>
              </a:lnSpc>
              <a:buFont typeface="Arial" panose="020B0604020202090204" pitchFamily="34" charset="0"/>
              <a:buChar char="•"/>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保护氨曲南不被水解，恢复氨曲南杀菌活性</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3,4</a:t>
            </a:r>
            <a:endParaRPr lang="zh-CN" altLang="en-US"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grpSp>
        <p:nvGrpSpPr>
          <p:cNvPr id="44081" name="组合 279"/>
          <p:cNvGrpSpPr/>
          <p:nvPr/>
        </p:nvGrpSpPr>
        <p:grpSpPr>
          <a:xfrm>
            <a:off x="2576513" y="1889125"/>
            <a:ext cx="1273175" cy="1271588"/>
            <a:chOff x="2576554" y="1888797"/>
            <a:chExt cx="1272540" cy="1272538"/>
          </a:xfrm>
        </p:grpSpPr>
        <p:grpSp>
          <p:nvGrpSpPr>
            <p:cNvPr id="44082" name="组合 273"/>
            <p:cNvGrpSpPr/>
            <p:nvPr/>
          </p:nvGrpSpPr>
          <p:grpSpPr>
            <a:xfrm>
              <a:off x="2576554" y="1888797"/>
              <a:ext cx="1272540" cy="1272538"/>
              <a:chOff x="1211580" y="2028917"/>
              <a:chExt cx="1272540" cy="1272538"/>
            </a:xfrm>
          </p:grpSpPr>
          <p:sp>
            <p:nvSpPr>
              <p:cNvPr id="276" name="椭圆 275"/>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77" name="椭圆 276"/>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pic>
          <p:nvPicPr>
            <p:cNvPr id="44085" name="图形 278" descr="原子"/>
            <p:cNvPicPr>
              <a:picLocks noChangeAspect="1"/>
            </p:cNvPicPr>
            <p:nvPr/>
          </p:nvPicPr>
          <p:blipFill>
            <a:blip r:embed="rId1"/>
            <a:stretch>
              <a:fillRect/>
            </a:stretch>
          </p:blipFill>
          <p:spPr>
            <a:xfrm>
              <a:off x="2886146" y="2232643"/>
              <a:ext cx="643051" cy="643051"/>
            </a:xfrm>
            <a:prstGeom prst="rect">
              <a:avLst/>
            </a:prstGeom>
            <a:noFill/>
            <a:ln w="9525">
              <a:noFill/>
            </a:ln>
          </p:spPr>
        </p:pic>
      </p:grpSp>
      <p:sp>
        <p:nvSpPr>
          <p:cNvPr id="44086" name="文本框 281"/>
          <p:cNvSpPr txBox="1"/>
          <p:nvPr/>
        </p:nvSpPr>
        <p:spPr>
          <a:xfrm>
            <a:off x="762000" y="6080125"/>
            <a:ext cx="5648325" cy="831850"/>
          </a:xfrm>
          <a:prstGeom prst="rect">
            <a:avLst/>
          </a:prstGeom>
          <a:noFill/>
          <a:ln w="9525">
            <a:noFill/>
          </a:ln>
        </p:spPr>
        <p:txBody>
          <a:bodyPr wrap="square" anchor="t" anchorCtr="0">
            <a:spAutoFit/>
          </a:bodyPr>
          <a:p>
            <a:pPr marL="144780" indent="-144780">
              <a:buFont typeface="宋体" pitchFamily="2" charset="-122"/>
              <a:buAutoNum type="arabicPeriod"/>
            </a:pPr>
            <a:r>
              <a:rPr lang="fr-FR" altLang="zh-CN" sz="800" dirty="0">
                <a:latin typeface="Pfizer Tomorrow" charset="0"/>
                <a:ea typeface="微软雅黑" panose="020B0503020204020204" charset="-122"/>
                <a:sym typeface="Pfizer Tomorrow" charset="0"/>
              </a:rPr>
              <a:t>Nenad Macesic,et al. Lancet 2025; 405: 257–72 .</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zh-CN" altLang="en-US" sz="800" dirty="0">
                <a:latin typeface="Pfizer Tomorrow" charset="0"/>
                <a:ea typeface="微软雅黑" panose="020B0503020204020204" charset="-122"/>
                <a:sym typeface="Pfizer Tomorrow" charset="0"/>
              </a:rPr>
              <a:t>注射用氨曲南阿维巴坦钠说明书</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核准日期：</a:t>
            </a:r>
            <a:r>
              <a:rPr lang="en-US" altLang="zh-CN" sz="800" dirty="0">
                <a:latin typeface="Pfizer Tomorrow" charset="0"/>
                <a:ea typeface="微软雅黑" panose="020B0503020204020204" charset="-122"/>
                <a:sym typeface="Pfizer Tomorrow" charset="0"/>
              </a:rPr>
              <a:t>2025</a:t>
            </a:r>
            <a:r>
              <a:rPr lang="zh-CN" altLang="en-US" sz="800" dirty="0">
                <a:latin typeface="Pfizer Tomorrow" charset="0"/>
                <a:ea typeface="微软雅黑" panose="020B0503020204020204" charset="-122"/>
                <a:sym typeface="Pfizer Tomorrow" charset="0"/>
              </a:rPr>
              <a:t>年</a:t>
            </a:r>
            <a:r>
              <a:rPr lang="en-US" altLang="zh-CN" sz="800" dirty="0">
                <a:latin typeface="Pfizer Tomorrow" charset="0"/>
                <a:ea typeface="微软雅黑" panose="020B0503020204020204" charset="-122"/>
                <a:sym typeface="Pfizer Tomorrow" charset="0"/>
              </a:rPr>
              <a:t>7</a:t>
            </a:r>
            <a:r>
              <a:rPr lang="zh-CN" altLang="en-US" sz="800" dirty="0">
                <a:latin typeface="Pfizer Tomorrow" charset="0"/>
                <a:ea typeface="微软雅黑" panose="020B0503020204020204" charset="-122"/>
                <a:sym typeface="Pfizer Tomorrow" charset="0"/>
              </a:rPr>
              <a:t>月</a:t>
            </a:r>
            <a:r>
              <a:rPr lang="en-US" altLang="zh-CN" sz="800" dirty="0">
                <a:latin typeface="Pfizer Tomorrow" charset="0"/>
                <a:ea typeface="微软雅黑" panose="020B0503020204020204" charset="-122"/>
                <a:sym typeface="Pfizer Tomorrow" charset="0"/>
              </a:rPr>
              <a:t>01</a:t>
            </a:r>
            <a:r>
              <a:rPr lang="zh-CN" altLang="en-US" sz="800" dirty="0">
                <a:latin typeface="Pfizer Tomorrow" charset="0"/>
                <a:ea typeface="微软雅黑" panose="020B0503020204020204" charset="-122"/>
                <a:sym typeface="Pfizer Tomorrow" charset="0"/>
              </a:rPr>
              <a:t>日）</a:t>
            </a:r>
            <a:r>
              <a:rPr lang="en-US" altLang="zh-CN" sz="800" dirty="0">
                <a:latin typeface="Pfizer Tomorrow" charset="0"/>
                <a:ea typeface="微软雅黑" panose="020B0503020204020204" charset="-122"/>
                <a:sym typeface="Pfizer Tomorrow" charset="0"/>
              </a:rPr>
              <a:t>.</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Mauri C, et al. Antibiotics (Basel). 2021 Aug 20;10(8): 1012. </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ader HS, et al. JAC </a:t>
            </a:r>
            <a:r>
              <a:rPr lang="en-US" altLang="zh-CN" sz="800" dirty="0" err="1">
                <a:latin typeface="Pfizer Tomorrow" charset="0"/>
                <a:ea typeface="微软雅黑" panose="020B0503020204020204" charset="-122"/>
                <a:sym typeface="Pfizer Tomorrow" charset="0"/>
              </a:rPr>
              <a:t>Antimicrob</a:t>
            </a:r>
            <a:r>
              <a:rPr lang="en-US" altLang="zh-CN" sz="800" dirty="0">
                <a:latin typeface="Pfizer Tomorrow" charset="0"/>
                <a:ea typeface="微软雅黑" panose="020B0503020204020204" charset="-122"/>
                <a:sym typeface="Pfizer Tomorrow" charset="0"/>
              </a:rPr>
              <a:t> Resist. 2023 Mar 22;5(2).</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ader HS, et al. JAC </a:t>
            </a:r>
            <a:r>
              <a:rPr lang="en-US" altLang="zh-CN" sz="800" dirty="0" err="1">
                <a:latin typeface="Pfizer Tomorrow" charset="0"/>
                <a:ea typeface="微软雅黑" panose="020B0503020204020204" charset="-122"/>
                <a:sym typeface="Pfizer Tomorrow" charset="0"/>
              </a:rPr>
              <a:t>Antimicrob</a:t>
            </a:r>
            <a:r>
              <a:rPr lang="en-US" altLang="zh-CN" sz="800" dirty="0">
                <a:latin typeface="Pfizer Tomorrow" charset="0"/>
                <a:ea typeface="微软雅黑" panose="020B0503020204020204" charset="-122"/>
                <a:sym typeface="Pfizer Tomorrow" charset="0"/>
              </a:rPr>
              <a:t> Resist. 2023 Mar 22;5(2) dlad032.</a:t>
            </a:r>
            <a:endParaRPr lang="en-US" altLang="zh-CN" sz="800" dirty="0">
              <a:latin typeface="Pfizer Tomorrow" charset="0"/>
              <a:ea typeface="微软雅黑" panose="020B0503020204020204" charset="-122"/>
              <a:sym typeface="Pfizer Tomorrow" charset="0"/>
            </a:endParaRPr>
          </a:p>
        </p:txBody>
      </p:sp>
      <p:sp>
        <p:nvSpPr>
          <p:cNvPr id="44087" name="文本框 2"/>
          <p:cNvSpPr txBox="1"/>
          <p:nvPr/>
        </p:nvSpPr>
        <p:spPr>
          <a:xfrm>
            <a:off x="4200525" y="6080125"/>
            <a:ext cx="5648325" cy="831850"/>
          </a:xfrm>
          <a:prstGeom prst="rect">
            <a:avLst/>
          </a:prstGeom>
          <a:noFill/>
          <a:ln w="9525">
            <a:noFill/>
          </a:ln>
        </p:spPr>
        <p:txBody>
          <a:bodyPr wrap="square" anchor="t" anchorCtr="0">
            <a:spAutoFit/>
          </a:bodyPr>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Yehuda Carmeli, et al. Lancet Infect Dis. 2025 Feb;25(2):218-230.</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ClinicalTrials.gov. https://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Xie R, et al. Antimicrob Agents Chemother. 2025 Jun 18:e0195024.</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 Xie R, et al. Antimicrob Agents Chemother. 2025 Jun 18:e0195024.Supplemental appendix</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zh-CN" altLang="en-US" sz="800" dirty="0">
                <a:latin typeface="Pfizer Tomorrow" charset="0"/>
                <a:ea typeface="微软雅黑" panose="020B0503020204020204" charset="-122"/>
                <a:sym typeface="Pfizer Tomorrow" charset="0"/>
              </a:rPr>
              <a:t>胡付品</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细菌药物敏感试验执行标准和典型报告解读（第三版）</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上海：上海科学技术出版社</a:t>
            </a:r>
            <a:r>
              <a:rPr lang="en-US" altLang="zh-CN" sz="800" dirty="0">
                <a:latin typeface="Pfizer Tomorrow" charset="0"/>
                <a:ea typeface="微软雅黑" panose="020B0503020204020204" charset="-122"/>
                <a:sym typeface="Pfizer Tomorrow" charset="0"/>
              </a:rPr>
              <a:t>[M], 2025.</a:t>
            </a:r>
            <a:endParaRPr lang="en-US" altLang="zh-CN" sz="800" dirty="0">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Rectangle 22"/>
          <p:cNvSpPr/>
          <p:nvPr/>
        </p:nvSpPr>
        <p:spPr bwMode="gray">
          <a:xfrm>
            <a:off x="8812213" y="2609850"/>
            <a:ext cx="2166938" cy="1884363"/>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46081" name="标题 1"/>
          <p:cNvSpPr>
            <a:spLocks noGrp="1"/>
          </p:cNvSpPr>
          <p:nvPr>
            <p:ph type="title"/>
          </p:nvPr>
        </p:nvSpPr>
        <p:spPr>
          <a:xfrm>
            <a:off x="838200" y="508318"/>
            <a:ext cx="10515600" cy="460375"/>
          </a:xfrm>
        </p:spPr>
        <p:txBody>
          <a:bodyPr lIns="91440" tIns="45720" rIns="91440" bIns="45720" anchor="b" anchorCtr="0">
            <a:spAutoFit/>
          </a:bodyPr>
          <a:p>
            <a:pPr defTabSz="914400">
              <a:buNone/>
            </a:pPr>
            <a:r>
              <a:rPr lang="zh-CN" altLang="en-US" b="1" kern="1200" dirty="0">
                <a:solidFill>
                  <a:srgbClr val="000D45"/>
                </a:solidFill>
                <a:latin typeface="微软雅黑" panose="020B0503020204020204" charset="-122"/>
                <a:ea typeface="微软雅黑" panose="020B0503020204020204" charset="-122"/>
                <a:cs typeface="+mj-cs"/>
                <a:sym typeface="Pfizer Tomorrow" charset="0"/>
              </a:rPr>
              <a:t>抑酶谱</a:t>
            </a:r>
            <a:r>
              <a:rPr lang="zh-CN" altLang="en-US" b="1" kern="1200" dirty="0">
                <a:solidFill>
                  <a:srgbClr val="000D45"/>
                </a:solidFill>
                <a:latin typeface="Pfizer Tomorrow" charset="0"/>
                <a:ea typeface="微软雅黑" panose="020B0503020204020204" charset="-122"/>
                <a:cs typeface="+mj-cs"/>
                <a:sym typeface="Pfizer Tomorrow" charset="0"/>
              </a:rPr>
              <a:t>：氨曲南</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阿维巴坦抑酶谱广，全面覆盖</a:t>
            </a:r>
            <a:r>
              <a:rPr lang="en-US" altLang="zh-CN" b="1" kern="1200" dirty="0">
                <a:solidFill>
                  <a:srgbClr val="000D45"/>
                </a:solidFill>
                <a:latin typeface="Pfizer Tomorrow" charset="0"/>
                <a:ea typeface="微软雅黑" panose="020B0503020204020204" charset="-122"/>
                <a:cs typeface="+mj-cs"/>
                <a:sym typeface="Pfizer Tomorrow" charset="0"/>
              </a:rPr>
              <a:t>CRE</a:t>
            </a:r>
            <a:r>
              <a:rPr lang="zh-CN" altLang="en-US" b="1" kern="1200" dirty="0">
                <a:solidFill>
                  <a:srgbClr val="000D45"/>
                </a:solidFill>
                <a:latin typeface="Pfizer Tomorrow" charset="0"/>
                <a:ea typeface="微软雅黑" panose="020B0503020204020204" charset="-122"/>
                <a:cs typeface="+mj-cs"/>
                <a:sym typeface="Pfizer Tomorrow" charset="0"/>
              </a:rPr>
              <a:t>全酶型</a:t>
            </a:r>
            <a:r>
              <a:rPr lang="en-US" altLang="zh-CN" b="1" kern="1200" dirty="0">
                <a:solidFill>
                  <a:srgbClr val="000D45"/>
                </a:solidFill>
                <a:latin typeface="Pfizer Tomorrow" charset="0"/>
                <a:ea typeface="微软雅黑" panose="020B0503020204020204" charset="-122"/>
                <a:cs typeface="+mj-cs"/>
                <a:sym typeface="Pfizer Tomorrow" charset="0"/>
              </a:rPr>
              <a:t>—ABCD</a:t>
            </a:r>
            <a:endParaRPr lang="zh-CN" altLang="en-US" b="1" kern="1200" dirty="0">
              <a:latin typeface="Pfizer Tomorrow" charset="0"/>
              <a:ea typeface="微软雅黑" panose="020B0503020204020204" charset="-122"/>
              <a:cs typeface="+mj-cs"/>
              <a:sym typeface="Pfizer Tomorrow" charset="0"/>
            </a:endParaRPr>
          </a:p>
        </p:txBody>
      </p:sp>
      <p:sp>
        <p:nvSpPr>
          <p:cNvPr id="41" name="Rounded Rectangle 8"/>
          <p:cNvSpPr/>
          <p:nvPr/>
        </p:nvSpPr>
        <p:spPr>
          <a:xfrm>
            <a:off x="638175" y="1816100"/>
            <a:ext cx="10915650" cy="3525838"/>
          </a:xfrm>
          <a:prstGeom prst="roundRect">
            <a:avLst>
              <a:gd name="adj" fmla="val 4167"/>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endParaRPr 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42" name="矩形: 圆顶角 41"/>
          <p:cNvSpPr/>
          <p:nvPr/>
        </p:nvSpPr>
        <p:spPr>
          <a:xfrm>
            <a:off x="1662113" y="1438275"/>
            <a:ext cx="9117013" cy="377825"/>
          </a:xfrm>
          <a:prstGeom prst="round2SameRect">
            <a:avLst>
              <a:gd name="adj1" fmla="val 30983"/>
              <a:gd name="adj2" fmla="val 0"/>
            </a:avLst>
          </a:prstGeom>
          <a:solidFill>
            <a:srgbClr val="000D4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阿维巴坦具有广谱抑酶活性，能抑制</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A</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C</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和某些</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D</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β-</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内酰胺酶；氨曲南对</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B</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碳青霉烯酶（金属酶）稳定</a:t>
            </a:r>
            <a:endPar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endParaRPr>
          </a:p>
        </p:txBody>
      </p:sp>
      <p:sp>
        <p:nvSpPr>
          <p:cNvPr id="44" name="文本占位符 2"/>
          <p:cNvSpPr txBox="1"/>
          <p:nvPr/>
        </p:nvSpPr>
        <p:spPr>
          <a:xfrm>
            <a:off x="742950" y="6330950"/>
            <a:ext cx="8207375" cy="393700"/>
          </a:xfrm>
          <a:prstGeom prst="rect">
            <a:avLst/>
          </a:prstGeom>
        </p:spPr>
        <p:txBody>
          <a:bodyPr vert="horz" wrap="square" lIns="0" tIns="0" rIns="0" bIns="0" rtlCol="0">
            <a:spAutoFit/>
          </a:bodyPr>
          <a:p>
            <a:pPr defTabSz="914400">
              <a:lnSpc>
                <a:spcPct val="110000"/>
              </a:lnSpc>
              <a:buFont typeface="宋体" pitchFamily="2" charset="-122"/>
              <a:buAutoNum type="arabicPeriod"/>
            </a:pPr>
            <a:r>
              <a:rPr lang="en-US" altLang="zh-CN" sz="800" baseline="0" dirty="0">
                <a:latin typeface="Pfizer Tomorrow" charset="0"/>
                <a:ea typeface="微软雅黑" panose="020B0503020204020204" charset="-122"/>
                <a:sym typeface="Pfizer Tomorrow" charset="0"/>
              </a:rPr>
              <a:t>Reynolds </a:t>
            </a:r>
            <a:r>
              <a:rPr lang="en-US" altLang="zh-CN" sz="800" baseline="0" dirty="0" err="1">
                <a:latin typeface="Pfizer Tomorrow" charset="0"/>
                <a:ea typeface="微软雅黑" panose="020B0503020204020204" charset="-122"/>
                <a:sym typeface="Pfizer Tomorrow" charset="0"/>
              </a:rPr>
              <a:t>D,et</a:t>
            </a:r>
            <a:r>
              <a:rPr lang="en-US" altLang="zh-CN" sz="800" baseline="0" dirty="0">
                <a:latin typeface="Pfizer Tomorrow" charset="0"/>
                <a:ea typeface="微软雅黑" panose="020B0503020204020204" charset="-122"/>
                <a:sym typeface="Pfizer Tomorrow" charset="0"/>
              </a:rPr>
              <a:t> al. </a:t>
            </a:r>
            <a:r>
              <a:rPr lang="en-US" altLang="zh-CN" sz="800" baseline="0" dirty="0" err="1">
                <a:latin typeface="Pfizer Tomorrow" charset="0"/>
                <a:ea typeface="微软雅黑" panose="020B0503020204020204" charset="-122"/>
                <a:sym typeface="Pfizer Tomorrow" charset="0"/>
              </a:rPr>
              <a:t>Eur</a:t>
            </a:r>
            <a:r>
              <a:rPr lang="en-US" altLang="zh-CN" sz="800" baseline="0" dirty="0">
                <a:latin typeface="Pfizer Tomorrow" charset="0"/>
                <a:ea typeface="微软雅黑" panose="020B0503020204020204" charset="-122"/>
                <a:sym typeface="Pfizer Tomorrow" charset="0"/>
              </a:rPr>
              <a:t> Respir Rev. 2022 Oct 19;31(166):220068.</a:t>
            </a:r>
            <a:r>
              <a:rPr lang="zh-CN" altLang="en-US" sz="800" baseline="0" dirty="0">
                <a:latin typeface="Pfizer Tomorrow" charset="0"/>
                <a:ea typeface="微软雅黑" panose="020B0503020204020204" charset="-122"/>
                <a:sym typeface="Pfizer Tomorrow" charset="0"/>
              </a:rPr>
              <a:t> </a:t>
            </a:r>
            <a:endParaRPr lang="en-US" altLang="zh-CN" sz="800" baseline="0" dirty="0">
              <a:latin typeface="Pfizer Tomorrow" charset="0"/>
              <a:ea typeface="微软雅黑" panose="020B0503020204020204" charset="-122"/>
              <a:sym typeface="Pfizer Tomorrow" charset="0"/>
            </a:endParaRPr>
          </a:p>
          <a:p>
            <a:pPr defTabSz="914400">
              <a:lnSpc>
                <a:spcPct val="110000"/>
              </a:lnSpc>
              <a:buFont typeface="宋体" pitchFamily="2" charset="-122"/>
              <a:buAutoNum type="arabicPeriod"/>
            </a:pPr>
            <a:r>
              <a:rPr lang="en-US" altLang="zh-CN" sz="800" baseline="0" dirty="0">
                <a:latin typeface="Pfizer Tomorrow" charset="0"/>
                <a:ea typeface="微软雅黑" panose="020B0503020204020204" charset="-122"/>
                <a:sym typeface="Pfizer Tomorrow" charset="0"/>
              </a:rPr>
              <a:t>《β-</a:t>
            </a:r>
            <a:r>
              <a:rPr lang="zh-CN" altLang="en-US" sz="800" baseline="0" dirty="0">
                <a:latin typeface="Pfizer Tomorrow" charset="0"/>
                <a:ea typeface="微软雅黑" panose="020B0503020204020204" charset="-122"/>
                <a:sym typeface="Pfizer Tomorrow" charset="0"/>
              </a:rPr>
              <a:t>内酰胺类抗生素</a:t>
            </a:r>
            <a:r>
              <a:rPr lang="en-US" altLang="zh-CN" sz="800" baseline="0" dirty="0">
                <a:latin typeface="Pfizer Tomorrow" charset="0"/>
                <a:ea typeface="微软雅黑" panose="020B0503020204020204" charset="-122"/>
                <a:sym typeface="Pfizer Tomorrow" charset="0"/>
              </a:rPr>
              <a:t>/β-</a:t>
            </a:r>
            <a:r>
              <a:rPr lang="zh-CN" altLang="en-US" sz="800" baseline="0" dirty="0">
                <a:latin typeface="Pfizer Tomorrow" charset="0"/>
                <a:ea typeface="微软雅黑" panose="020B0503020204020204" charset="-122"/>
                <a:sym typeface="Pfizer Tomorrow" charset="0"/>
              </a:rPr>
              <a:t>内酰胺酶抑制剂复方制剂临床应用专家共识</a:t>
            </a:r>
            <a:r>
              <a:rPr lang="en-US" altLang="zh-CN" sz="800" baseline="0" dirty="0">
                <a:latin typeface="Pfizer Tomorrow" charset="0"/>
                <a:ea typeface="微软雅黑" panose="020B0503020204020204" charset="-122"/>
                <a:sym typeface="Pfizer Tomorrow" charset="0"/>
              </a:rPr>
              <a:t>》</a:t>
            </a:r>
            <a:r>
              <a:rPr lang="zh-CN" altLang="en-US" sz="800" baseline="0" dirty="0">
                <a:latin typeface="Pfizer Tomorrow" charset="0"/>
                <a:ea typeface="微软雅黑" panose="020B0503020204020204" charset="-122"/>
                <a:sym typeface="Pfizer Tomorrow" charset="0"/>
              </a:rPr>
              <a:t>编写专家组</a:t>
            </a:r>
            <a:r>
              <a:rPr lang="en-US" altLang="zh-CN" sz="800" baseline="0" dirty="0">
                <a:latin typeface="Pfizer Tomorrow" charset="0"/>
                <a:ea typeface="微软雅黑" panose="020B0503020204020204" charset="-122"/>
                <a:sym typeface="Pfizer Tomorrow" charset="0"/>
              </a:rPr>
              <a:t>. </a:t>
            </a:r>
            <a:r>
              <a:rPr lang="zh-CN" altLang="en-US" sz="800" baseline="0" dirty="0">
                <a:latin typeface="Pfizer Tomorrow" charset="0"/>
                <a:ea typeface="微软雅黑" panose="020B0503020204020204" charset="-122"/>
                <a:sym typeface="Pfizer Tomorrow" charset="0"/>
              </a:rPr>
              <a:t>中华医学杂志</a:t>
            </a:r>
            <a:r>
              <a:rPr lang="en-US" altLang="zh-CN" sz="800" baseline="0" dirty="0">
                <a:latin typeface="Pfizer Tomorrow" charset="0"/>
                <a:ea typeface="微软雅黑" panose="020B0503020204020204" charset="-122"/>
                <a:sym typeface="Pfizer Tomorrow" charset="0"/>
              </a:rPr>
              <a:t>, 2020, 100(10) : 738-747.</a:t>
            </a:r>
            <a:endParaRPr lang="en-US" altLang="zh-CN" sz="800" baseline="0" dirty="0">
              <a:latin typeface="Pfizer Tomorrow" charset="0"/>
              <a:ea typeface="微软雅黑" panose="020B0503020204020204" charset="-122"/>
              <a:sym typeface="Pfizer Tomorrow" charset="0"/>
            </a:endParaRPr>
          </a:p>
          <a:p>
            <a:pPr defTabSz="914400">
              <a:lnSpc>
                <a:spcPct val="110000"/>
              </a:lnSpc>
              <a:buFont typeface="宋体" pitchFamily="2" charset="-122"/>
              <a:buAutoNum type="arabicPeriod"/>
            </a:pPr>
            <a:endParaRPr lang="zh-CN" altLang="en-US" sz="800" baseline="0" dirty="0">
              <a:latin typeface="Pfizer Tomorrow" charset="0"/>
              <a:ea typeface="微软雅黑" panose="020B0503020204020204" charset="-122"/>
              <a:sym typeface="Pfizer Tomorrow" charset="0"/>
            </a:endParaRPr>
          </a:p>
        </p:txBody>
      </p:sp>
      <p:sp>
        <p:nvSpPr>
          <p:cNvPr id="45" name="Text Placeholder 3"/>
          <p:cNvSpPr txBox="1"/>
          <p:nvPr/>
        </p:nvSpPr>
        <p:spPr>
          <a:xfrm>
            <a:off x="638175" y="5507038"/>
            <a:ext cx="11115675" cy="339725"/>
          </a:xfrm>
          <a:prstGeom prst="rect">
            <a:avLst/>
          </a:prstGeom>
        </p:spPr>
        <p:txBody>
          <a:bodyPr wrap="square" lIns="0" tIns="0" rIns="0" bIns="0" anchor="b">
            <a:spAutoFit/>
          </a:bodyPr>
          <a:p>
            <a:pPr>
              <a:buSzPct val="100000"/>
              <a:buFont typeface="Arial" panose="020B0604020202090204" pitchFamily="34" charset="0"/>
              <a:buNone/>
            </a:pP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GB" altLang="en-US" sz="1100" baseline="0" dirty="0">
                <a:solidFill>
                  <a:srgbClr val="595959"/>
                </a:solidFill>
                <a:latin typeface="Pfizer Tomorrow" charset="0"/>
                <a:ea typeface="微软雅黑" panose="020B0503020204020204" charset="-122"/>
                <a:sym typeface="Pfizer Tomorrow" charset="0"/>
              </a:rPr>
              <a:t>BLIs</a:t>
            </a:r>
            <a:r>
              <a:rPr lang="zh-CN" altLang="en-US" sz="1100" baseline="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抑制剂；</a:t>
            </a:r>
            <a:r>
              <a:rPr lang="en-GB" altLang="en-US" sz="1100" baseline="0" dirty="0" err="1">
                <a:solidFill>
                  <a:srgbClr val="595959"/>
                </a:solidFill>
                <a:latin typeface="Pfizer Tomorrow" charset="0"/>
                <a:ea typeface="微软雅黑" panose="020B0503020204020204" charset="-122"/>
                <a:sym typeface="Pfizer Tomorrow" charset="0"/>
              </a:rPr>
              <a:t>ESBL</a:t>
            </a:r>
            <a:r>
              <a:rPr lang="zh-CN" altLang="en-US" sz="1100" dirty="0">
                <a:solidFill>
                  <a:srgbClr val="595959"/>
                </a:solidFill>
                <a:latin typeface="Pfizer Tomorrow" charset="0"/>
                <a:ea typeface="微软雅黑" panose="020B0503020204020204" charset="-122"/>
                <a:sym typeface="Pfizer Tomorrow" charset="0"/>
              </a:rPr>
              <a:t>：</a:t>
            </a:r>
            <a:r>
              <a:rPr lang="zh-CN" altLang="en-US" sz="1100" baseline="0" dirty="0">
                <a:solidFill>
                  <a:srgbClr val="595959"/>
                </a:solidFill>
                <a:latin typeface="Pfizer Tomorrow" charset="0"/>
                <a:ea typeface="微软雅黑" panose="020B0503020204020204" charset="-122"/>
                <a:sym typeface="Pfizer Tomorrow" charset="0"/>
              </a:rPr>
              <a:t>超广谱</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en-GB" altLang="en-US" sz="1100" baseline="0" dirty="0" err="1">
                <a:solidFill>
                  <a:srgbClr val="595959"/>
                </a:solidFill>
                <a:latin typeface="Pfizer Tomorrow" charset="0"/>
                <a:ea typeface="微软雅黑" panose="020B0503020204020204" charset="-122"/>
                <a:sym typeface="Pfizer Tomorrow" charset="0"/>
              </a:rPr>
              <a:t>MBL</a:t>
            </a:r>
            <a:r>
              <a:rPr lang="zh-CN" altLang="en-US" sz="1100" baseline="0" dirty="0">
                <a:solidFill>
                  <a:srgbClr val="595959"/>
                </a:solidFill>
                <a:latin typeface="Pfizer Tomorrow" charset="0"/>
                <a:ea typeface="微软雅黑" panose="020B0503020204020204" charset="-122"/>
                <a:sym typeface="Pfizer Tomorrow" charset="0"/>
              </a:rPr>
              <a:t>：金属</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a:solidFill>
                  <a:srgbClr val="595959"/>
                </a:solidFill>
                <a:latin typeface="Pfizer Tomorrow" charset="0"/>
                <a:ea typeface="微软雅黑" panose="020B0503020204020204" charset="-122"/>
                <a:sym typeface="Pfizer Tomorrow" charset="0"/>
              </a:rPr>
              <a:t>IMP</a:t>
            </a:r>
            <a:r>
              <a:rPr lang="zh-CN" altLang="en-US" sz="1100" dirty="0">
                <a:solidFill>
                  <a:srgbClr val="595959"/>
                </a:solidFill>
                <a:latin typeface="Pfizer Tomorrow" charset="0"/>
                <a:ea typeface="微软雅黑" panose="020B0503020204020204" charset="-122"/>
                <a:sym typeface="Pfizer Tomorrow" charset="0"/>
              </a:rPr>
              <a:t>：耐亚胺培南碳青霉烯酶；</a:t>
            </a:r>
            <a:r>
              <a:rPr lang="en-US" altLang="zh-CN" sz="1100" dirty="0">
                <a:solidFill>
                  <a:srgbClr val="595959"/>
                </a:solidFill>
                <a:latin typeface="Pfizer Tomorrow" charset="0"/>
                <a:ea typeface="微软雅黑" panose="020B0503020204020204" charset="-122"/>
                <a:sym typeface="Pfizer Tomorrow" charset="0"/>
              </a:rPr>
              <a:t>NDM</a:t>
            </a:r>
            <a:r>
              <a:rPr lang="zh-CN" altLang="en-US" sz="1100" dirty="0">
                <a:solidFill>
                  <a:srgbClr val="595959"/>
                </a:solidFill>
                <a:latin typeface="Pfizer Tomorrow" charset="0"/>
                <a:ea typeface="微软雅黑" panose="020B0503020204020204" charset="-122"/>
                <a:sym typeface="Pfizer Tomorrow" charset="0"/>
              </a:rPr>
              <a:t>：新德里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VIM</a:t>
            </a:r>
            <a:r>
              <a:rPr lang="zh-CN" altLang="en-US" sz="1100" dirty="0">
                <a:solidFill>
                  <a:srgbClr val="595959"/>
                </a:solidFill>
                <a:latin typeface="Pfizer Tomorrow" charset="0"/>
                <a:ea typeface="微软雅黑" panose="020B0503020204020204" charset="-122"/>
                <a:sym typeface="Pfizer Tomorrow" charset="0"/>
              </a:rPr>
              <a:t>：维罗纳整合子携带的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OXA</a:t>
            </a:r>
            <a:r>
              <a:rPr lang="en-US" altLang="zh-CN" sz="1100" dirty="0">
                <a:solidFill>
                  <a:srgbClr val="595959"/>
                </a:solidFill>
                <a:latin typeface="Pfizer Tomorrow" charset="0"/>
                <a:ea typeface="微软雅黑" panose="020B0503020204020204" charset="-122"/>
                <a:sym typeface="Pfizer Tomorrow" charset="0"/>
              </a:rPr>
              <a:t>-48</a:t>
            </a:r>
            <a:r>
              <a:rPr lang="zh-CN" altLang="en-US" sz="1100" dirty="0">
                <a:solidFill>
                  <a:srgbClr val="595959"/>
                </a:solidFill>
                <a:latin typeface="Pfizer Tomorrow" charset="0"/>
                <a:ea typeface="微软雅黑" panose="020B0503020204020204" charset="-122"/>
                <a:sym typeface="Pfizer Tomorrow" charset="0"/>
              </a:rPr>
              <a:t>：苯唑西林酶</a:t>
            </a:r>
            <a:r>
              <a:rPr lang="en-US" altLang="zh-CN" sz="1100" dirty="0">
                <a:solidFill>
                  <a:srgbClr val="595959"/>
                </a:solidFill>
                <a:latin typeface="Pfizer Tomorrow" charset="0"/>
                <a:ea typeface="微软雅黑" panose="020B0503020204020204" charset="-122"/>
                <a:sym typeface="Pfizer Tomorrow" charset="0"/>
              </a:rPr>
              <a:t>-48</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err="1">
                <a:solidFill>
                  <a:srgbClr val="595959"/>
                </a:solidFill>
                <a:latin typeface="Pfizer Tomorrow" charset="0"/>
                <a:ea typeface="微软雅黑" panose="020B0503020204020204" charset="-122"/>
                <a:sym typeface="Pfizer Tomorrow" charset="0"/>
              </a:rPr>
              <a:t>AmpC</a:t>
            </a:r>
            <a:r>
              <a:rPr lang="zh-CN" altLang="en-US" sz="1100" dirty="0">
                <a:solidFill>
                  <a:srgbClr val="595959"/>
                </a:solidFill>
                <a:latin typeface="Pfizer Tomorrow" charset="0"/>
                <a:ea typeface="微软雅黑" panose="020B0503020204020204" charset="-122"/>
                <a:sym typeface="Pfizer Tomorrow" charset="0"/>
              </a:rPr>
              <a:t>：头孢菌素酶；</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endParaRPr lang="en-GB" altLang="en-US" sz="1100" baseline="0" dirty="0">
              <a:solidFill>
                <a:srgbClr val="595959"/>
              </a:solidFill>
              <a:latin typeface="Pfizer Tomorrow" charset="0"/>
              <a:ea typeface="微软雅黑" panose="020B0503020204020204" charset="-122"/>
              <a:sym typeface="Pfizer Tomorrow" charset="0"/>
            </a:endParaRPr>
          </a:p>
        </p:txBody>
      </p:sp>
      <p:grpSp>
        <p:nvGrpSpPr>
          <p:cNvPr id="46086" name="组合 45"/>
          <p:cNvGrpSpPr/>
          <p:nvPr/>
        </p:nvGrpSpPr>
        <p:grpSpPr>
          <a:xfrm>
            <a:off x="1166813" y="1970088"/>
            <a:ext cx="9761537" cy="3108325"/>
            <a:chOff x="418339" y="2317340"/>
            <a:chExt cx="11273108" cy="2923961"/>
          </a:xfrm>
        </p:grpSpPr>
        <p:cxnSp>
          <p:nvCxnSpPr>
            <p:cNvPr id="46087" name="Straight Arrow Connector 45"/>
            <p:cNvCxnSpPr>
              <a:stCxn id="68" idx="0"/>
            </p:cNvCxnSpPr>
            <p:nvPr/>
          </p:nvCxnSpPr>
          <p:spPr>
            <a:xfrm flipV="1">
              <a:off x="10538669" y="4707409"/>
              <a:ext cx="0" cy="223673"/>
            </a:xfrm>
            <a:prstGeom prst="straightConnector1">
              <a:avLst/>
            </a:prstGeom>
            <a:ln w="25400" cap="rnd" cmpd="sng">
              <a:solidFill>
                <a:srgbClr val="00C987"/>
              </a:solidFill>
              <a:prstDash val="solid"/>
              <a:round/>
              <a:headEnd type="none" w="med" len="med"/>
              <a:tailEnd type="triangle" w="med" len="med"/>
            </a:ln>
          </p:spPr>
        </p:cxnSp>
        <p:sp>
          <p:nvSpPr>
            <p:cNvPr id="48" name="Rectangle 40"/>
            <p:cNvSpPr/>
            <p:nvPr/>
          </p:nvSpPr>
          <p:spPr bwMode="gray">
            <a:xfrm>
              <a:off x="6519054" y="3576699"/>
              <a:ext cx="2503025" cy="1121482"/>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49" name="Rectangle 37"/>
            <p:cNvSpPr/>
            <p:nvPr/>
          </p:nvSpPr>
          <p:spPr bwMode="gray">
            <a:xfrm>
              <a:off x="418339" y="3580836"/>
              <a:ext cx="5639561" cy="1616004"/>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cxnSp>
          <p:nvCxnSpPr>
            <p:cNvPr id="46090" name="Straight Connector 2"/>
            <p:cNvCxnSpPr/>
            <p:nvPr/>
          </p:nvCxnSpPr>
          <p:spPr>
            <a:xfrm>
              <a:off x="4846671" y="3481888"/>
              <a:ext cx="0" cy="396000"/>
            </a:xfrm>
            <a:prstGeom prst="line">
              <a:avLst/>
            </a:prstGeom>
            <a:ln w="19050" cap="flat" cmpd="sng">
              <a:solidFill>
                <a:srgbClr val="808080"/>
              </a:solidFill>
              <a:prstDash val="solid"/>
              <a:round/>
              <a:headEnd type="none" w="med" len="med"/>
              <a:tailEnd type="none" w="med" len="med"/>
            </a:ln>
          </p:spPr>
        </p:cxnSp>
        <p:sp>
          <p:nvSpPr>
            <p:cNvPr id="52" name="Right Bracket 3"/>
            <p:cNvSpPr/>
            <p:nvPr/>
          </p:nvSpPr>
          <p:spPr>
            <a:xfrm rot="16200000">
              <a:off x="4802068" y="741260"/>
              <a:ext cx="226349" cy="5728673"/>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a:ln>
                  <a:noFill/>
                </a:ln>
                <a:solidFill>
                  <a:srgbClr val="000000"/>
                </a:solidFill>
                <a:effectLst/>
                <a:uLnTx/>
                <a:uFillTx/>
                <a:latin typeface="Pfizer Tomorrow" charset="0"/>
                <a:ea typeface="微软雅黑" panose="020B0503020204020204" charset="-122"/>
                <a:sym typeface="Pfizer Tomorrow" charset="0"/>
              </a:endParaRPr>
            </a:p>
          </p:txBody>
        </p:sp>
        <p:cxnSp>
          <p:nvCxnSpPr>
            <p:cNvPr id="46092" name="Straight Connector 4"/>
            <p:cNvCxnSpPr/>
            <p:nvPr/>
          </p:nvCxnSpPr>
          <p:spPr>
            <a:xfrm>
              <a:off x="10558887" y="3322774"/>
              <a:ext cx="0" cy="396000"/>
            </a:xfrm>
            <a:prstGeom prst="line">
              <a:avLst/>
            </a:prstGeom>
            <a:ln w="19050" cap="flat" cmpd="sng">
              <a:solidFill>
                <a:srgbClr val="808080"/>
              </a:solidFill>
              <a:prstDash val="solid"/>
              <a:round/>
              <a:headEnd type="none" w="med" len="med"/>
              <a:tailEnd type="none" w="med" len="med"/>
            </a:ln>
          </p:spPr>
        </p:cxnSp>
        <p:cxnSp>
          <p:nvCxnSpPr>
            <p:cNvPr id="46093" name="Straight Connector 5"/>
            <p:cNvCxnSpPr/>
            <p:nvPr/>
          </p:nvCxnSpPr>
          <p:spPr>
            <a:xfrm>
              <a:off x="3174287" y="3372564"/>
              <a:ext cx="0" cy="124378"/>
            </a:xfrm>
            <a:prstGeom prst="line">
              <a:avLst/>
            </a:prstGeom>
            <a:ln w="19050" cap="flat" cmpd="sng">
              <a:solidFill>
                <a:srgbClr val="808080"/>
              </a:solidFill>
              <a:prstDash val="solid"/>
              <a:round/>
              <a:headEnd type="none" w="med" len="med"/>
              <a:tailEnd type="none" w="med" len="med"/>
            </a:ln>
          </p:spPr>
        </p:cxnSp>
        <p:cxnSp>
          <p:nvCxnSpPr>
            <p:cNvPr id="46094" name="Straight Connector 6"/>
            <p:cNvCxnSpPr/>
            <p:nvPr/>
          </p:nvCxnSpPr>
          <p:spPr>
            <a:xfrm>
              <a:off x="6171531" y="2680402"/>
              <a:ext cx="0" cy="228969"/>
            </a:xfrm>
            <a:prstGeom prst="line">
              <a:avLst/>
            </a:prstGeom>
            <a:ln w="19050" cap="flat" cmpd="sng">
              <a:solidFill>
                <a:srgbClr val="808080"/>
              </a:solidFill>
              <a:prstDash val="solid"/>
              <a:round/>
              <a:headEnd type="none" w="med" len="med"/>
              <a:tailEnd type="none" w="med" len="med"/>
            </a:ln>
          </p:spPr>
        </p:cxnSp>
        <p:sp>
          <p:nvSpPr>
            <p:cNvPr id="56" name="Right Bracket 7"/>
            <p:cNvSpPr/>
            <p:nvPr/>
          </p:nvSpPr>
          <p:spPr>
            <a:xfrm rot="16200000">
              <a:off x="7197946" y="-342710"/>
              <a:ext cx="117461" cy="6604420"/>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a:ln>
                  <a:noFill/>
                </a:ln>
                <a:solidFill>
                  <a:srgbClr val="000000"/>
                </a:solidFill>
                <a:effectLst/>
                <a:uLnTx/>
                <a:uFillTx/>
                <a:latin typeface="Pfizer Tomorrow" charset="0"/>
                <a:ea typeface="微软雅黑" panose="020B0503020204020204" charset="-122"/>
                <a:sym typeface="Pfizer Tomorrow" charset="0"/>
              </a:endParaRPr>
            </a:p>
          </p:txBody>
        </p:sp>
        <p:sp>
          <p:nvSpPr>
            <p:cNvPr id="57" name="Rectangle: Rounded Corners 8"/>
            <p:cNvSpPr/>
            <p:nvPr/>
          </p:nvSpPr>
          <p:spPr>
            <a:xfrm>
              <a:off x="4903270" y="2317340"/>
              <a:ext cx="2569946" cy="455518"/>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Arial" panose="020B0604020202090204" pitchFamily="34" charset="0"/>
                  <a:sym typeface="Pfizer Tomorrow" charset="0"/>
                </a:rPr>
                <a:t>β</a:t>
              </a: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内酰胺酶</a:t>
              </a:r>
              <a:r>
                <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cs typeface="+mn-cs"/>
                  <a:sym typeface="Pfizer Tomorrow" charset="0"/>
                </a:rPr>
                <a:t>1</a:t>
              </a:r>
              <a:endPar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58" name="Rectangle: Rounded Corners 9"/>
            <p:cNvSpPr/>
            <p:nvPr/>
          </p:nvSpPr>
          <p:spPr>
            <a:xfrm>
              <a:off x="1902655" y="2972046"/>
              <a:ext cx="2378294" cy="418085"/>
            </a:xfrm>
            <a:prstGeom prst="roundRect">
              <a:avLst>
                <a:gd name="adj" fmla="val 0"/>
              </a:avLst>
            </a:prstGeom>
            <a:solidFill>
              <a:srgbClr val="000548"/>
            </a:solidFill>
            <a:ln w="25400" cap="flat" cmpd="sng" algn="ctr">
              <a:noFill/>
              <a:prstDash val="solid"/>
            </a:ln>
            <a:effectLst/>
          </p:spPr>
          <p:txBody>
            <a:bodyPr lIns="72000" rIns="7200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丝氨酸酶</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59" name="Rectangle: Rounded Corners 10"/>
            <p:cNvSpPr/>
            <p:nvPr/>
          </p:nvSpPr>
          <p:spPr>
            <a:xfrm>
              <a:off x="9425965" y="2972046"/>
              <a:ext cx="2265121" cy="418085"/>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金属酶</a:t>
              </a:r>
              <a:endPar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endParaRPr>
            </a:p>
          </p:txBody>
        </p:sp>
        <p:sp>
          <p:nvSpPr>
            <p:cNvPr id="60" name="Rectangle: Rounded Corners 11"/>
            <p:cNvSpPr/>
            <p:nvPr/>
          </p:nvSpPr>
          <p:spPr>
            <a:xfrm>
              <a:off x="554504" y="3688301"/>
              <a:ext cx="2634391"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A</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1" name="Rectangle: Rounded Corners 12"/>
            <p:cNvSpPr/>
            <p:nvPr/>
          </p:nvSpPr>
          <p:spPr>
            <a:xfrm>
              <a:off x="3650049" y="3688301"/>
              <a:ext cx="2265120"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C</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2" name="Rectangle: Rounded Corners 14"/>
            <p:cNvSpPr/>
            <p:nvPr/>
          </p:nvSpPr>
          <p:spPr>
            <a:xfrm>
              <a:off x="554864" y="4653546"/>
              <a:ext cx="2633554"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6ADDDC"/>
                  </a:solidFill>
                  <a:effectLst/>
                  <a:uLnTx/>
                  <a:uFillTx/>
                  <a:latin typeface="Pfizer Tomorrow" charset="0"/>
                  <a:ea typeface="微软雅黑" panose="020B0503020204020204" charset="-122"/>
                  <a:cs typeface="+mn-cs"/>
                  <a:sym typeface="Pfizer Tomorrow" charset="0"/>
                </a:rPr>
                <a:t>KPC</a:t>
              </a:r>
              <a:endParaRPr kumimoji="0" lang="en-GB" sz="1400" b="1" i="0" u="none" strike="noStrike" kern="0" cap="none" spc="0" normalizeH="0" baseline="0" noProof="0">
                <a:ln>
                  <a:noFill/>
                </a:ln>
                <a:solidFill>
                  <a:srgbClr val="6ADDDC"/>
                </a:solidFill>
                <a:effectLst/>
                <a:uLnTx/>
                <a:uFillTx/>
                <a:latin typeface="Pfizer Tomorrow" charset="0"/>
                <a:ea typeface="微软雅黑" panose="020B0503020204020204" charset="-122"/>
                <a:sym typeface="Pfizer Tomorrow" charset="0"/>
              </a:endParaRPr>
            </a:p>
          </p:txBody>
        </p:sp>
        <p:sp>
          <p:nvSpPr>
            <p:cNvPr id="63" name="Rectangle: Rounded Corners 15"/>
            <p:cNvSpPr/>
            <p:nvPr/>
          </p:nvSpPr>
          <p:spPr>
            <a:xfrm>
              <a:off x="3650409" y="4159187"/>
              <a:ext cx="2264400"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err="1">
                  <a:ln>
                    <a:noFill/>
                  </a:ln>
                  <a:solidFill>
                    <a:srgbClr val="6ADDDC"/>
                  </a:solidFill>
                  <a:effectLst/>
                  <a:uLnTx/>
                  <a:uFillTx/>
                  <a:latin typeface="Pfizer Tomorrow" charset="0"/>
                  <a:ea typeface="微软雅黑" panose="020B0503020204020204" charset="-122"/>
                  <a:cs typeface="+mn-cs"/>
                  <a:sym typeface="Pfizer Tomorrow" charset="0"/>
                </a:rPr>
                <a:t>AmpC</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sp>
          <p:nvSpPr>
            <p:cNvPr id="64" name="Rectangle: Rounded Corners 16"/>
            <p:cNvSpPr/>
            <p:nvPr/>
          </p:nvSpPr>
          <p:spPr>
            <a:xfrm>
              <a:off x="6647020" y="3688301"/>
              <a:ext cx="2265120" cy="420624"/>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D</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5" name="Rectangle: Rounded Corners 17"/>
            <p:cNvSpPr/>
            <p:nvPr/>
          </p:nvSpPr>
          <p:spPr>
            <a:xfrm>
              <a:off x="6647380" y="4159187"/>
              <a:ext cx="2264400"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err="1">
                  <a:ln>
                    <a:noFill/>
                  </a:ln>
                  <a:solidFill>
                    <a:srgbClr val="6ADDDC"/>
                  </a:solidFill>
                  <a:effectLst/>
                  <a:uLnTx/>
                  <a:uFillTx/>
                  <a:latin typeface="Pfizer Tomorrow" charset="0"/>
                  <a:ea typeface="微软雅黑" panose="020B0503020204020204" charset="-122"/>
                  <a:cs typeface="+mn-cs"/>
                  <a:sym typeface="Pfizer Tomorrow" charset="0"/>
                </a:rPr>
                <a:t>OXA</a:t>
              </a:r>
              <a:r>
                <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cs typeface="+mn-cs"/>
                  <a:sym typeface="Pfizer Tomorrow" charset="0"/>
                </a:rPr>
                <a:t>-48</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sp>
          <p:nvSpPr>
            <p:cNvPr id="66" name="Rectangle: Rounded Corners 18"/>
            <p:cNvSpPr/>
            <p:nvPr/>
          </p:nvSpPr>
          <p:spPr>
            <a:xfrm>
              <a:off x="9426687" y="4159187"/>
              <a:ext cx="2264400" cy="420624"/>
            </a:xfrm>
            <a:prstGeom prst="roundRect">
              <a:avLst>
                <a:gd name="adj" fmla="val 0"/>
              </a:avLst>
            </a:prstGeom>
            <a:solidFill>
              <a:srgbClr val="6ADCD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a:ln>
                    <a:noFill/>
                  </a:ln>
                  <a:solidFill>
                    <a:srgbClr val="3E5884"/>
                  </a:solidFill>
                  <a:effectLst/>
                  <a:uLnTx/>
                  <a:uFillTx/>
                  <a:latin typeface="Pfizer Tomorrow" charset="0"/>
                  <a:ea typeface="微软雅黑" panose="020B0503020204020204" charset="-122"/>
                  <a:cs typeface="+mn-cs"/>
                  <a:sym typeface="Pfizer Tomorrow" charset="0"/>
                </a:rPr>
                <a:t>IMP, NDM, VIM</a:t>
              </a:r>
              <a:endParaRPr kumimoji="0" lang="en-GB" sz="1400" b="1" i="0" u="none" strike="noStrike" kern="0" cap="none" spc="0" normalizeH="0" baseline="0" noProof="0" dirty="0">
                <a:ln>
                  <a:noFill/>
                </a:ln>
                <a:solidFill>
                  <a:srgbClr val="3E5884"/>
                </a:solidFill>
                <a:effectLst/>
                <a:uLnTx/>
                <a:uFillTx/>
                <a:latin typeface="Pfizer Tomorrow" charset="0"/>
                <a:ea typeface="微软雅黑" panose="020B0503020204020204" charset="-122"/>
                <a:sym typeface="Pfizer Tomorrow" charset="0"/>
              </a:endParaRPr>
            </a:p>
          </p:txBody>
        </p:sp>
        <p:sp>
          <p:nvSpPr>
            <p:cNvPr id="67" name="Rectangle: Rounded Corners 19"/>
            <p:cNvSpPr/>
            <p:nvPr/>
          </p:nvSpPr>
          <p:spPr>
            <a:xfrm>
              <a:off x="9426327" y="3688301"/>
              <a:ext cx="2265120" cy="420624"/>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B</a:t>
              </a:r>
              <a:r>
                <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类</a:t>
              </a:r>
              <a:endPar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endParaRPr>
            </a:p>
          </p:txBody>
        </p:sp>
        <p:sp>
          <p:nvSpPr>
            <p:cNvPr id="68" name="TextBox 21"/>
            <p:cNvSpPr txBox="1"/>
            <p:nvPr/>
          </p:nvSpPr>
          <p:spPr bwMode="gray">
            <a:xfrm>
              <a:off x="9776669" y="4931081"/>
              <a:ext cx="1524000" cy="310220"/>
            </a:xfrm>
            <a:prstGeom prst="rect">
              <a:avLst/>
            </a:prstGeom>
            <a:solidFill>
              <a:srgbClr val="00C987"/>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R="0" algn="ctr" defTabSz="914400" fontAlgn="auto">
                <a:lnSpc>
                  <a:spcPct val="90000"/>
                </a:lnSpc>
                <a:spcBef>
                  <a:spcPts val="1000"/>
                </a:spcBef>
                <a:spcAft>
                  <a:spcPts val="0"/>
                </a:spcAft>
                <a:buClrTx/>
                <a:buSzTx/>
                <a:buFontTx/>
                <a:buNone/>
                <a:defRPr/>
              </a:pPr>
              <a:r>
                <a:rPr kumimoji="0" lang="zh-CN" altLang="en-US" sz="1600" b="1" i="0" kern="0" cap="none" spc="0" normalizeH="0" baseline="0" noProof="0" dirty="0">
                  <a:solidFill>
                    <a:schemeClr val="bg1"/>
                  </a:solidFill>
                  <a:latin typeface="Pfizer Tomorrow" charset="0"/>
                  <a:ea typeface="微软雅黑" panose="020B0503020204020204" charset="-122"/>
                  <a:cs typeface="+mn-cs"/>
                  <a:sym typeface="Pfizer Tomorrow" charset="0"/>
                </a:rPr>
                <a:t>氨曲南</a:t>
              </a:r>
              <a:r>
                <a:rPr kumimoji="0" lang="en-US" altLang="zh-CN" sz="1600" b="1" i="0" kern="0" cap="none" spc="0" normalizeH="0" baseline="30000" noProof="0" dirty="0">
                  <a:solidFill>
                    <a:schemeClr val="bg1"/>
                  </a:solidFill>
                  <a:latin typeface="Pfizer Tomorrow" charset="0"/>
                  <a:ea typeface="微软雅黑" panose="020B0503020204020204" charset="-122"/>
                  <a:cs typeface="+mn-cs"/>
                  <a:sym typeface="Pfizer Tomorrow" charset="0"/>
                </a:rPr>
                <a:t>2</a:t>
              </a:r>
              <a:endParaRPr kumimoji="0" lang="en-US" altLang="zh-CN" sz="1600" b="1" i="0" kern="0" cap="none" spc="0" normalizeH="0" baseline="30000" noProof="0" dirty="0">
                <a:solidFill>
                  <a:schemeClr val="bg1"/>
                </a:solidFill>
                <a:latin typeface="Pfizer Tomorrow" charset="0"/>
                <a:ea typeface="微软雅黑" panose="020B0503020204020204" charset="-122"/>
                <a:cs typeface="+mn-cs"/>
                <a:sym typeface="Pfizer Tomorrow" charset="0"/>
              </a:endParaRPr>
            </a:p>
          </p:txBody>
        </p:sp>
        <p:sp>
          <p:nvSpPr>
            <p:cNvPr id="69" name="TextBox 36"/>
            <p:cNvSpPr txBox="1"/>
            <p:nvPr/>
          </p:nvSpPr>
          <p:spPr bwMode="gray">
            <a:xfrm>
              <a:off x="7044413" y="4931081"/>
              <a:ext cx="1524000" cy="310220"/>
            </a:xfrm>
            <a:prstGeom prst="rect">
              <a:avLst/>
            </a:prstGeom>
            <a:solidFill>
              <a:srgbClr val="000D45"/>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R="0" algn="ctr" defTabSz="914400" fontAlgn="auto">
                <a:lnSpc>
                  <a:spcPct val="90000"/>
                </a:lnSpc>
                <a:spcBef>
                  <a:spcPts val="1000"/>
                </a:spcBef>
                <a:spcAft>
                  <a:spcPts val="0"/>
                </a:spcAft>
                <a:buClrTx/>
                <a:buSzTx/>
                <a:buFontTx/>
                <a:buNone/>
                <a:defRPr/>
              </a:pPr>
              <a:r>
                <a:rPr kumimoji="0" lang="zh-CN" altLang="en-US" sz="1600" b="1" i="0" kern="0" cap="none" spc="0" normalizeH="0" baseline="0" noProof="0">
                  <a:solidFill>
                    <a:srgbClr val="FFFFFF"/>
                  </a:solidFill>
                  <a:latin typeface="Pfizer Tomorrow" charset="0"/>
                  <a:ea typeface="微软雅黑" panose="020B0503020204020204" charset="-122"/>
                  <a:cs typeface="+mn-cs"/>
                  <a:sym typeface="Pfizer Tomorrow" charset="0"/>
                </a:rPr>
                <a:t>阿维巴坦</a:t>
              </a:r>
              <a:r>
                <a:rPr kumimoji="0" lang="en-US" altLang="zh-CN" sz="1600" b="1" i="0" kern="0" cap="none" spc="0" normalizeH="0" baseline="30000" noProof="0">
                  <a:solidFill>
                    <a:srgbClr val="FFFFFF"/>
                  </a:solidFill>
                  <a:latin typeface="Pfizer Tomorrow" charset="0"/>
                  <a:ea typeface="微软雅黑" panose="020B0503020204020204" charset="-122"/>
                  <a:cs typeface="+mn-cs"/>
                  <a:sym typeface="Pfizer Tomorrow" charset="0"/>
                </a:rPr>
                <a:t>2</a:t>
              </a:r>
              <a:endParaRPr kumimoji="0" lang="en-GB" sz="1600" b="1" i="0" kern="0" cap="none" spc="0" normalizeH="0" baseline="30000" noProof="0">
                <a:solidFill>
                  <a:srgbClr val="FFFFFF"/>
                </a:solidFill>
                <a:latin typeface="Pfizer Tomorrow" charset="0"/>
                <a:ea typeface="微软雅黑" panose="020B0503020204020204" charset="-122"/>
                <a:sym typeface="Pfizer Tomorrow" charset="0"/>
              </a:endParaRPr>
            </a:p>
          </p:txBody>
        </p:sp>
        <p:cxnSp>
          <p:nvCxnSpPr>
            <p:cNvPr id="46109" name="Straight Arrow Connector 38"/>
            <p:cNvCxnSpPr/>
            <p:nvPr/>
          </p:nvCxnSpPr>
          <p:spPr>
            <a:xfrm flipH="1">
              <a:off x="6167516" y="5106759"/>
              <a:ext cx="909297" cy="1"/>
            </a:xfrm>
            <a:prstGeom prst="straightConnector1">
              <a:avLst/>
            </a:prstGeom>
            <a:ln w="25400" cap="rnd" cmpd="sng">
              <a:solidFill>
                <a:srgbClr val="000D45"/>
              </a:solidFill>
              <a:prstDash val="solid"/>
              <a:round/>
              <a:headEnd type="none" w="med" len="med"/>
              <a:tailEnd type="triangle" w="med" len="med"/>
            </a:ln>
          </p:spPr>
        </p:cxnSp>
        <p:cxnSp>
          <p:nvCxnSpPr>
            <p:cNvPr id="46110" name="Straight Arrow Connector 41"/>
            <p:cNvCxnSpPr>
              <a:stCxn id="69" idx="0"/>
            </p:cNvCxnSpPr>
            <p:nvPr/>
          </p:nvCxnSpPr>
          <p:spPr>
            <a:xfrm flipH="1" flipV="1">
              <a:off x="7806412" y="4707409"/>
              <a:ext cx="2" cy="223673"/>
            </a:xfrm>
            <a:prstGeom prst="straightConnector1">
              <a:avLst/>
            </a:prstGeom>
            <a:ln w="25400" cap="rnd" cmpd="sng">
              <a:solidFill>
                <a:srgbClr val="000D45"/>
              </a:solidFill>
              <a:prstDash val="sysDot"/>
              <a:round/>
              <a:headEnd type="none" w="med" len="med"/>
              <a:tailEnd type="triangle" w="med" len="med"/>
            </a:ln>
          </p:spPr>
        </p:cxnSp>
        <p:sp>
          <p:nvSpPr>
            <p:cNvPr id="73" name="Rectangle: Rounded Corners 13"/>
            <p:cNvSpPr/>
            <p:nvPr/>
          </p:nvSpPr>
          <p:spPr>
            <a:xfrm>
              <a:off x="554864" y="4156649"/>
              <a:ext cx="2633554" cy="420623"/>
            </a:xfrm>
            <a:prstGeom prst="roundRect">
              <a:avLst>
                <a:gd name="adj" fmla="val 0"/>
              </a:avLst>
            </a:prstGeom>
            <a:solidFill>
              <a:srgbClr val="405D87"/>
            </a:solidFill>
            <a:ln w="12700" cap="flat" cmpd="sng" algn="ctr">
              <a:solidFill>
                <a:srgbClr val="0000C9"/>
              </a:solidFill>
              <a:prstDash val="dash"/>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cs typeface="+mn-cs"/>
                  <a:sym typeface="Pfizer Tomorrow" charset="0"/>
                </a:rPr>
                <a:t>ESBLs: TEM, SHV, CTX-M</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grpSp>
      <p:grpSp>
        <p:nvGrpSpPr>
          <p:cNvPr id="46113" name="组合 3"/>
          <p:cNvGrpSpPr/>
          <p:nvPr/>
        </p:nvGrpSpPr>
        <p:grpSpPr>
          <a:xfrm rot="-642761">
            <a:off x="193675" y="1720850"/>
            <a:ext cx="1157288"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6" name="文本框 5"/>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全酶覆盖</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圆角矩形 1"/>
          <p:cNvSpPr/>
          <p:nvPr/>
        </p:nvSpPr>
        <p:spPr>
          <a:xfrm>
            <a:off x="8722360" y="2452370"/>
            <a:ext cx="2401570" cy="2782570"/>
          </a:xfrm>
          <a:prstGeom prst="roundRect">
            <a:avLst/>
          </a:prstGeom>
          <a:no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8129" name="标题 1"/>
          <p:cNvSpPr>
            <a:spLocks noGrp="1"/>
          </p:cNvSpPr>
          <p:nvPr>
            <p:ph type="title"/>
          </p:nvPr>
        </p:nvSpPr>
        <p:spPr>
          <a:xfrm>
            <a:off x="638175" y="352743"/>
            <a:ext cx="11134725" cy="829945"/>
          </a:xfrm>
        </p:spPr>
        <p:txBody>
          <a:bodyPr lIns="91440" tIns="45720" rIns="91440" bIns="45720" anchor="b" anchorCtr="0">
            <a:spAutoFit/>
          </a:bodyPr>
          <a:p>
            <a:pPr defTabSz="914400">
              <a:buNone/>
            </a:pPr>
            <a:r>
              <a:rPr lang="zh-CN" altLang="en-US" b="1" kern="1200" dirty="0">
                <a:solidFill>
                  <a:srgbClr val="000D45"/>
                </a:solidFill>
                <a:latin typeface="Arial" panose="020B0604020202090204" pitchFamily="34" charset="0"/>
                <a:ea typeface="微软雅黑" panose="020B0503020204020204" charset="-122"/>
                <a:cs typeface="+mj-cs"/>
                <a:sym typeface="Pfizer Tomorrow" charset="0"/>
              </a:rPr>
              <a:t>抑酶谱：</a:t>
            </a:r>
            <a:r>
              <a:rPr lang="zh-CN" altLang="en-US" b="1" kern="1200" dirty="0">
                <a:latin typeface="微软雅黑" panose="020B0503020204020204" charset="-122"/>
                <a:ea typeface="微软雅黑" panose="020B0503020204020204" charset="-122"/>
                <a:cs typeface="+mj-cs"/>
              </a:rPr>
              <a:t>目前新型抗生素中仅</a:t>
            </a:r>
            <a:r>
              <a:rPr lang="zh-CN" altLang="en-US" b="1" kern="1200" dirty="0">
                <a:solidFill>
                  <a:srgbClr val="000D45"/>
                </a:solidFill>
                <a:latin typeface="Pfizer Tomorrow" charset="0"/>
                <a:ea typeface="微软雅黑" panose="020B0503020204020204" charset="-122"/>
                <a:cs typeface="+mj-cs"/>
                <a:sym typeface="Pfizer Tomorrow" charset="0"/>
              </a:rPr>
              <a:t>氨曲南</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阿维巴坦</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全酶型覆盖</a:t>
            </a:r>
            <a:r>
              <a:rPr lang="en-US" altLang="zh-CN" b="1" kern="1200" dirty="0">
                <a:solidFill>
                  <a:srgbClr val="000D45"/>
                </a:solidFill>
                <a:latin typeface="Pfizer Tomorrow" charset="0"/>
                <a:ea typeface="微软雅黑" panose="020B0503020204020204" charset="-122"/>
                <a:cs typeface="+mj-cs"/>
                <a:sym typeface="Pfizer Tomorrow" charset="0"/>
              </a:rPr>
              <a:t>CRE</a:t>
            </a:r>
            <a:r>
              <a:rPr lang="zh-CN" altLang="en-US"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latin typeface="微软雅黑" panose="020B0503020204020204" charset="-122"/>
                <a:ea typeface="微软雅黑" panose="020B0503020204020204" charset="-122"/>
                <a:cs typeface="+mj-cs"/>
              </a:rPr>
              <a:t>具有可靠活性且指南推荐</a:t>
            </a:r>
            <a:endParaRPr lang="zh-CN" altLang="en-US" b="1" kern="1200" dirty="0">
              <a:latin typeface="微软雅黑" panose="020B0503020204020204" charset="-122"/>
              <a:ea typeface="微软雅黑" panose="020B0503020204020204" charset="-122"/>
              <a:cs typeface="+mj-cs"/>
            </a:endParaRPr>
          </a:p>
        </p:txBody>
      </p:sp>
      <p:sp>
        <p:nvSpPr>
          <p:cNvPr id="33" name="文本占位符 2"/>
          <p:cNvSpPr txBox="1"/>
          <p:nvPr/>
        </p:nvSpPr>
        <p:spPr>
          <a:xfrm>
            <a:off x="1082675" y="6505575"/>
            <a:ext cx="8205788" cy="122238"/>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0"/>
              </a:spcBef>
              <a:buFont typeface="+mj-lt"/>
              <a:buAutoNum type="arabicPeriod"/>
              <a:defRPr sz="800" b="0" kern="1200">
                <a:solidFill>
                  <a:schemeClr val="tx1">
                    <a:lumMod val="50000"/>
                    <a:lumOff val="50000"/>
                  </a:schemeClr>
                </a:solidFill>
                <a:latin typeface="Arial" panose="020B0604020202090204" pitchFamily="34" charset="0"/>
                <a:ea typeface="+mn-ea"/>
                <a:cs typeface="Arial" panose="020B0604020202090204" pitchFamily="34" charset="0"/>
              </a:defRPr>
            </a:lvl1pPr>
            <a:lvl2pPr marL="0" indent="0" algn="l" defTabSz="914400" rtl="0" eaLnBrk="1" latinLnBrk="0" hangingPunct="1">
              <a:lnSpc>
                <a:spcPct val="110000"/>
              </a:lnSpc>
              <a:spcBef>
                <a:spcPts val="600"/>
              </a:spcBef>
              <a:buFont typeface="Arial" panose="020B0604020202090204" pitchFamily="34" charset="0"/>
              <a:buNone/>
              <a:defRPr sz="1200" kern="1200">
                <a:solidFill>
                  <a:schemeClr val="tx1"/>
                </a:solidFill>
                <a:latin typeface="Arial" panose="020B0604020202090204" pitchFamily="34" charset="0"/>
                <a:ea typeface="+mn-ea"/>
                <a:cs typeface="Arial" panose="020B0604020202090204" pitchFamily="34" charset="0"/>
              </a:defRPr>
            </a:lvl2pPr>
            <a:lvl3pPr marL="116205" indent="-116205" algn="l" defTabSz="914400" rtl="0" eaLnBrk="1" latinLnBrk="0" hangingPunct="1">
              <a:lnSpc>
                <a:spcPct val="110000"/>
              </a:lnSpc>
              <a:spcBef>
                <a:spcPts val="5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3pPr>
            <a:lvl4pPr marL="285750" indent="-170180" algn="l" defTabSz="914400" rtl="0" eaLnBrk="1" latinLnBrk="0" hangingPunct="1">
              <a:lnSpc>
                <a:spcPct val="110000"/>
              </a:lnSpc>
              <a:spcBef>
                <a:spcPts val="4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4pPr>
            <a:lvl5pPr marL="457200" indent="-171450" algn="l" defTabSz="914400" rtl="0" eaLnBrk="1" latinLnBrk="0" hangingPunct="1">
              <a:lnSpc>
                <a:spcPct val="110000"/>
              </a:lnSpc>
              <a:spcBef>
                <a:spcPts val="300"/>
              </a:spcBef>
              <a:buClr>
                <a:schemeClr val="bg2"/>
              </a:buClr>
              <a:buFont typeface="Courier New" panose="02070409020205090404" pitchFamily="49" charset="0"/>
              <a:buChar char="o"/>
              <a:defRPr sz="1200" kern="1200">
                <a:solidFill>
                  <a:schemeClr val="tx1"/>
                </a:solidFill>
                <a:latin typeface="Arial" panose="020B0604020202090204" pitchFamily="34" charset="0"/>
                <a:ea typeface="+mn-ea"/>
                <a:cs typeface="Arial" panose="020B060402020209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None/>
              <a:defRPr/>
            </a:pPr>
            <a:r>
              <a:rPr kumimoji="0" lang="fr-FR" altLang="zh-CN"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Arial" panose="020B0604020202090204" pitchFamily="34" charset="0"/>
                <a:sym typeface="Pfizer Tomorrow" charset="0"/>
              </a:rPr>
              <a:t>Nenad Macesic,et al. Lancet 2025; 405: 257–72 .</a:t>
            </a:r>
            <a:endParaRPr kumimoji="0" lang="zh-CN" altLang="en-US" b="0" i="0" u="none" strike="noStrike" kern="1200" cap="none" spc="0" normalizeH="0" baseline="0" noProof="0" dirty="0">
              <a:ln>
                <a:noFill/>
              </a:ln>
              <a:solidFill>
                <a:schemeClr val="tx1"/>
              </a:solidFill>
              <a:effectLst/>
              <a:uLnTx/>
              <a:uFillTx/>
              <a:latin typeface="Pfizer Tomorrow" charset="0"/>
              <a:ea typeface="微软雅黑" panose="020B0503020204020204" charset="-122"/>
              <a:sym typeface="Pfizer Tomorrow" charset="0"/>
            </a:endParaRPr>
          </a:p>
        </p:txBody>
      </p:sp>
      <p:sp>
        <p:nvSpPr>
          <p:cNvPr id="48131" name="文本框 50"/>
          <p:cNvSpPr txBox="1"/>
          <p:nvPr/>
        </p:nvSpPr>
        <p:spPr>
          <a:xfrm>
            <a:off x="652463" y="1476375"/>
            <a:ext cx="10929937" cy="311150"/>
          </a:xfrm>
          <a:prstGeom prst="rect">
            <a:avLst/>
          </a:prstGeom>
          <a:noFill/>
          <a:ln w="9525">
            <a:noFill/>
          </a:ln>
        </p:spPr>
        <p:txBody>
          <a:bodyPr wrap="square" anchor="t" anchorCtr="0">
            <a:spAutoFit/>
          </a:bodyPr>
          <a:p>
            <a:pPr marL="285750" indent="-285750">
              <a:lnSpc>
                <a:spcPct val="110000"/>
              </a:lnSpc>
              <a:buFont typeface="Arial" panose="020B0604020202090204" pitchFamily="34" charset="0"/>
              <a:buChar char="•"/>
            </a:pPr>
            <a:r>
              <a:rPr lang="zh-CN" altLang="en-US" sz="1400" dirty="0">
                <a:latin typeface="Arial" panose="020B0604020202090204" pitchFamily="34" charset="0"/>
                <a:ea typeface="微软雅黑" panose="020B0503020204020204" charset="-122"/>
              </a:rPr>
              <a:t>新型β-内酰胺类抗菌药物中，</a:t>
            </a:r>
            <a:r>
              <a:rPr lang="zh-CN" altLang="en-US" sz="1400" b="1" dirty="0">
                <a:solidFill>
                  <a:srgbClr val="00C987"/>
                </a:solidFill>
                <a:latin typeface="Arial" panose="020B0604020202090204" pitchFamily="34" charset="0"/>
                <a:ea typeface="微软雅黑" panose="020B0503020204020204" charset="-122"/>
              </a:rPr>
              <a:t>仅氨曲南-阿维巴坦可实现CRE全酶型覆盖</a:t>
            </a:r>
            <a:r>
              <a:rPr lang="zh-CN" altLang="en-US" sz="1400" dirty="0">
                <a:latin typeface="Arial" panose="020B0604020202090204" pitchFamily="34" charset="0"/>
                <a:ea typeface="微软雅黑" panose="020B0503020204020204" charset="-122"/>
              </a:rPr>
              <a:t>，仅氨曲南-阿维巴坦对产金属酶的CRE具有可靠活性</a:t>
            </a:r>
            <a:endParaRPr lang="zh-CN" altLang="en-US" sz="1400" dirty="0">
              <a:latin typeface="Arial" panose="020B0604020202090204" pitchFamily="34" charset="0"/>
              <a:ea typeface="微软雅黑" panose="020B0503020204020204" charset="-122"/>
            </a:endParaRPr>
          </a:p>
        </p:txBody>
      </p:sp>
      <p:sp>
        <p:nvSpPr>
          <p:cNvPr id="48132" name="文本框 15"/>
          <p:cNvSpPr txBox="1"/>
          <p:nvPr/>
        </p:nvSpPr>
        <p:spPr>
          <a:xfrm>
            <a:off x="1082675" y="6016625"/>
            <a:ext cx="11334750" cy="138113"/>
          </a:xfrm>
          <a:prstGeom prst="rect">
            <a:avLst/>
          </a:prstGeom>
          <a:noFill/>
          <a:ln w="9525">
            <a:noFill/>
          </a:ln>
        </p:spPr>
        <p:txBody>
          <a:bodyPr wrap="square" lIns="0" tIns="0" rIns="0" bIns="0" anchor="t" anchorCtr="0">
            <a:spAutoFit/>
          </a:bodyPr>
          <a:p>
            <a:r>
              <a:rPr lang="zh-CN" altLang="en-US" sz="900" dirty="0">
                <a:solidFill>
                  <a:srgbClr val="262626"/>
                </a:solidFill>
                <a:latin typeface="Arial" panose="020B0604020202090204" pitchFamily="34" charset="0"/>
                <a:ea typeface="微软雅黑" panose="020B0503020204020204" charset="-122"/>
                <a:sym typeface="Arial" panose="020B0604020202090204" pitchFamily="34" charset="0"/>
              </a:rPr>
              <a:t>*该产品尚未在中国⼤陆上市，相关信息来源于科学⽂献，仅供学术探讨。</a:t>
            </a:r>
            <a:endParaRPr lang="en-US" altLang="zh-CN" sz="900" dirty="0">
              <a:solidFill>
                <a:srgbClr val="262626"/>
              </a:solidFill>
              <a:latin typeface="Arial" panose="020B0604020202090204" pitchFamily="34" charset="0"/>
              <a:ea typeface="微软雅黑" panose="020B0503020204020204" charset="-122"/>
              <a:sym typeface="Arial" panose="020B0604020202090204" pitchFamily="34" charset="0"/>
            </a:endParaRPr>
          </a:p>
        </p:txBody>
      </p:sp>
      <p:graphicFrame>
        <p:nvGraphicFramePr>
          <p:cNvPr id="17" name="表格 16"/>
          <p:cNvGraphicFramePr>
            <a:graphicFrameLocks noGrp="1"/>
          </p:cNvGraphicFramePr>
          <p:nvPr/>
        </p:nvGraphicFramePr>
        <p:xfrm>
          <a:off x="1268413" y="2081213"/>
          <a:ext cx="9655175" cy="3520219"/>
        </p:xfrm>
        <a:graphic>
          <a:graphicData uri="http://schemas.openxmlformats.org/drawingml/2006/table">
            <a:tbl>
              <a:tblPr firstRow="1" bandRow="1"/>
              <a:tblGrid>
                <a:gridCol w="1997601"/>
                <a:gridCol w="1333282"/>
                <a:gridCol w="1665441"/>
                <a:gridCol w="1326898"/>
                <a:gridCol w="1691969"/>
                <a:gridCol w="1638913"/>
              </a:tblGrid>
              <a:tr h="320322">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r>
                        <a:rPr lang="zh-CN" altLang="en-US" sz="1300" b="1" dirty="0">
                          <a:solidFill>
                            <a:schemeClr val="bg1"/>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300" b="1" dirty="0">
                        <a:solidFill>
                          <a:schemeClr val="bg1"/>
                        </a:solidFill>
                        <a:latin typeface="Arial" panose="020B0604020202090204" pitchFamily="34" charset="0"/>
                        <a:ea typeface="微软雅黑" panose="020B0503020204020204" charset="-122"/>
                        <a:cs typeface="+mn-ea"/>
                        <a:sym typeface="Arial" panose="020B0604020202090204" pitchFamily="34" charset="0"/>
                      </a:endParaRPr>
                    </a:p>
                  </a:txBody>
                  <a:tcPr marL="84784" marR="84784" marT="42392" marB="42392" anchor="ctr">
                    <a:lnL w="12700" cap="flat" cmpd="sng" algn="ctr">
                      <a:solidFill>
                        <a:schemeClr val="tx1"/>
                      </a:solidFill>
                      <a:prstDash val="solid"/>
                      <a:round/>
                      <a:headEnd type="none" w="med" len="med"/>
                      <a:tailEnd type="none" w="med" len="med"/>
                    </a:lnL>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marL="36000" marR="36000" anchor="ctr">
                    <a:lnL w="3175" cap="flat" cmpd="sng" algn="ctr">
                      <a:solidFill>
                        <a:srgbClr val="0000C9"/>
                      </a:solidFill>
                      <a:prstDash val="sysDash"/>
                      <a:round/>
                      <a:headEnd type="none" w="med" len="med"/>
                      <a:tailEnd type="none" w="med" len="med"/>
                    </a:lnL>
                    <a:lnR w="3175" cap="flat" cmpd="sng" algn="ctr">
                      <a:solidFill>
                        <a:sysClr val="window" lastClr="FFFFFF"/>
                      </a:solidFill>
                      <a:prstDash val="sysDash"/>
                      <a:round/>
                      <a:headEnd type="none" w="med" len="med"/>
                      <a:tailEnd type="none" w="med" len="med"/>
                    </a:lnR>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a:solidFill>
                      <a:schemeClr val="tx1">
                        <a:lumMod val="50000"/>
                        <a:lumOff val="50000"/>
                      </a:schemeClr>
                    </a:solidFill>
                  </a:tcPr>
                </a:tc>
                <a:tc hMerge="1">
                  <a:tcPr>
                    <a:lnL w="3175" cap="flat" cmpd="sng" algn="ctr">
                      <a:solidFill>
                        <a:sysClr val="window" lastClr="FFFFFF"/>
                      </a:solidFill>
                      <a:prstDash val="sysDash"/>
                      <a:round/>
                      <a:headEnd type="none" w="med" len="med"/>
                      <a:tailEnd type="none" w="med" len="med"/>
                    </a:lnL>
                    <a:solidFill>
                      <a:schemeClr val="tx1">
                        <a:lumMod val="50000"/>
                        <a:lumOff val="50000"/>
                      </a:schemeClr>
                    </a:solidFill>
                  </a:tcPr>
                </a:tc>
                <a:tc hMerge="1">
                  <a:tcPr/>
                </a:tc>
                <a:tc hMerge="1">
                  <a:tcPr>
                    <a:solidFill>
                      <a:schemeClr val="tx1">
                        <a:lumMod val="50000"/>
                        <a:lumOff val="50000"/>
                      </a:schemeClr>
                    </a:solidFill>
                  </a:tcPr>
                </a:tc>
              </a:tr>
              <a:tr h="907435">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产</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ESBLs</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的</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产</a:t>
                      </a:r>
                      <a:r>
                        <a:rPr lang="en-US" altLang="zh-CN" sz="1100" b="1" dirty="0" err="1">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mpC</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的</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类碳青霉烯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KPC</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IMI</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金属</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β-</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内酰胺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NDM</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VIM</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IMP</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D</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类碳青霉烯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OXA-48</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r>
              <a:tr h="665862">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氨曲南</a:t>
                      </a:r>
                      <a:r>
                        <a:rPr lang="en-US" altLang="zh-CN"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a:t>
                      </a:r>
                      <a:r>
                        <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阿维巴坦</a:t>
                      </a:r>
                      <a:endPar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00C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r>
              <a:tr h="331843">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洛生</a:t>
                      </a:r>
                      <a:r>
                        <a:rPr lang="en-US" altLang="zh-CN"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他唑巴坦</a:t>
                      </a:r>
                      <a:endPar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亚胺培南</a:t>
                      </a:r>
                      <a:r>
                        <a:rPr lang="en-US" altLang="zh-CN"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瑞来巴坦</a:t>
                      </a:r>
                      <a:endPar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美罗培南</a:t>
                      </a:r>
                      <a:r>
                        <a:rPr lang="en-US" altLang="zh-CN"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法硼巴坦</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地尔</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r>
              <a:tr h="319826">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吡肟</a:t>
                      </a:r>
                      <a:r>
                        <a:rPr lang="en-US" altLang="zh-CN"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恩美唑巴坦</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FBD58D"/>
                    </a:solidFill>
                  </a:tcPr>
                </a:tc>
              </a:tr>
            </a:tbl>
          </a:graphicData>
        </a:graphic>
      </p:graphicFrame>
      <p:grpSp>
        <p:nvGrpSpPr>
          <p:cNvPr id="48207" name="组合 17"/>
          <p:cNvGrpSpPr/>
          <p:nvPr/>
        </p:nvGrpSpPr>
        <p:grpSpPr>
          <a:xfrm>
            <a:off x="1085850" y="5710238"/>
            <a:ext cx="2451100" cy="254000"/>
            <a:chOff x="2082524" y="5475456"/>
            <a:chExt cx="2451624" cy="253916"/>
          </a:xfrm>
        </p:grpSpPr>
        <p:sp>
          <p:nvSpPr>
            <p:cNvPr id="19" name="矩形 18"/>
            <p:cNvSpPr/>
            <p:nvPr/>
          </p:nvSpPr>
          <p:spPr>
            <a:xfrm>
              <a:off x="2082524" y="5531220"/>
              <a:ext cx="144000" cy="142422"/>
            </a:xfrm>
            <a:prstGeom prst="rect">
              <a:avLst/>
            </a:prstGeom>
            <a:solidFill>
              <a:srgbClr val="8FB7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0" name="文本框 19"/>
            <p:cNvSpPr txBox="1"/>
            <p:nvPr/>
          </p:nvSpPr>
          <p:spPr>
            <a:xfrm>
              <a:off x="2223195" y="5475456"/>
              <a:ext cx="2310953"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在体外具有可靠的活性，指南推荐</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grpSp>
        <p:nvGrpSpPr>
          <p:cNvPr id="48210" name="组合 20"/>
          <p:cNvGrpSpPr/>
          <p:nvPr/>
        </p:nvGrpSpPr>
        <p:grpSpPr>
          <a:xfrm>
            <a:off x="3402013" y="5710238"/>
            <a:ext cx="5778500" cy="254000"/>
            <a:chOff x="-593747" y="6505556"/>
            <a:chExt cx="5778227" cy="253916"/>
          </a:xfrm>
        </p:grpSpPr>
        <p:sp>
          <p:nvSpPr>
            <p:cNvPr id="22" name="矩形 21"/>
            <p:cNvSpPr/>
            <p:nvPr/>
          </p:nvSpPr>
          <p:spPr>
            <a:xfrm>
              <a:off x="-593747" y="6557333"/>
              <a:ext cx="144000" cy="142422"/>
            </a:xfrm>
            <a:prstGeom prst="rect">
              <a:avLst/>
            </a:prstGeom>
            <a:solidFill>
              <a:srgbClr val="FBD5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3" name="文本框 22"/>
            <p:cNvSpPr txBox="1"/>
            <p:nvPr/>
          </p:nvSpPr>
          <p:spPr>
            <a:xfrm>
              <a:off x="-401673" y="6505556"/>
              <a:ext cx="5586153"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可变活性，如果显示体外敏感性，抗菌药物可能有效，可能缺乏临床数据来支持常规使用</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grpSp>
        <p:nvGrpSpPr>
          <p:cNvPr id="48213" name="组合 23"/>
          <p:cNvGrpSpPr/>
          <p:nvPr/>
        </p:nvGrpSpPr>
        <p:grpSpPr>
          <a:xfrm>
            <a:off x="9012238" y="5710238"/>
            <a:ext cx="3160712" cy="254000"/>
            <a:chOff x="-1847633" y="7268798"/>
            <a:chExt cx="3159803" cy="253916"/>
          </a:xfrm>
        </p:grpSpPr>
        <p:sp>
          <p:nvSpPr>
            <p:cNvPr id="25" name="矩形 24"/>
            <p:cNvSpPr/>
            <p:nvPr/>
          </p:nvSpPr>
          <p:spPr>
            <a:xfrm>
              <a:off x="-1847633" y="7324545"/>
              <a:ext cx="144000" cy="142422"/>
            </a:xfrm>
            <a:prstGeom prst="rect">
              <a:avLst/>
            </a:prstGeom>
            <a:solidFill>
              <a:srgbClr val="DAA09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6" name="文本框 25"/>
            <p:cNvSpPr txBox="1"/>
            <p:nvPr/>
          </p:nvSpPr>
          <p:spPr>
            <a:xfrm>
              <a:off x="-1639541" y="7268798"/>
              <a:ext cx="2951711"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不推荐，可能没有体外敏感性</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sp>
        <p:nvSpPr>
          <p:cNvPr id="4" name="Rectangle 22"/>
          <p:cNvSpPr/>
          <p:nvPr/>
        </p:nvSpPr>
        <p:spPr bwMode="gray">
          <a:xfrm>
            <a:off x="1268413" y="3352800"/>
            <a:ext cx="9655175" cy="592138"/>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grpSp>
        <p:nvGrpSpPr>
          <p:cNvPr id="48217" name="组合 2"/>
          <p:cNvGrpSpPr/>
          <p:nvPr/>
        </p:nvGrpSpPr>
        <p:grpSpPr>
          <a:xfrm rot="-642761">
            <a:off x="750888" y="1998663"/>
            <a:ext cx="1158875"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6" name="文本框 5"/>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全酶覆盖</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矩形: 圆角 11"/>
          <p:cNvSpPr/>
          <p:nvPr/>
        </p:nvSpPr>
        <p:spPr>
          <a:xfrm>
            <a:off x="588963" y="1771650"/>
            <a:ext cx="11187113" cy="428783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dirty="0">
              <a:solidFill>
                <a:prstClr val="white"/>
              </a:solidFill>
              <a:effectLst>
                <a:outerShdw blurRad="50800" dist="850900" dir="5400000" algn="t" rotWithShape="0">
                  <a:prstClr val="black">
                    <a:alpha val="40000"/>
                  </a:prstClr>
                </a:outerShdw>
              </a:effectLst>
              <a:latin typeface="Pfizer Tomorrow" charset="0"/>
              <a:cs typeface="+mn-ea"/>
              <a:sym typeface="Pfizer Tomorrow" charset="0"/>
            </a:endParaRPr>
          </a:p>
        </p:txBody>
      </p:sp>
      <p:sp>
        <p:nvSpPr>
          <p:cNvPr id="8" name="矩形: 圆角 7"/>
          <p:cNvSpPr/>
          <p:nvPr/>
        </p:nvSpPr>
        <p:spPr>
          <a:xfrm>
            <a:off x="814388" y="3322638"/>
            <a:ext cx="6135688" cy="1828800"/>
          </a:xfrm>
          <a:prstGeom prst="roundRect">
            <a:avLst>
              <a:gd name="adj" fmla="val 3223"/>
            </a:avLst>
          </a:prstGeom>
          <a:solidFill>
            <a:srgbClr val="E5E6EC">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sym typeface="Pfizer Tomorrow" charset="0"/>
            </a:endParaRPr>
          </a:p>
        </p:txBody>
      </p:sp>
      <p:sp>
        <p:nvSpPr>
          <p:cNvPr id="50179" name="标题 6"/>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作用机制：氨曲南对MBL稳定，可使细菌裂解和死亡，</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阿维巴坦保护氨曲南不被水解，高效杀菌</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11" name="矩形: 圆顶角 10"/>
          <p:cNvSpPr/>
          <p:nvPr/>
        </p:nvSpPr>
        <p:spPr>
          <a:xfrm>
            <a:off x="1930400" y="1381125"/>
            <a:ext cx="8331200" cy="396875"/>
          </a:xfrm>
          <a:prstGeom prst="round2SameRect">
            <a:avLst>
              <a:gd name="adj1" fmla="val 32812"/>
              <a:gd name="adj2" fmla="val 0"/>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lvl="0" algn="ctr" fontAlgn="auto">
              <a:defRPr/>
            </a:pPr>
            <a:r>
              <a:rPr lang="zh-CN" altLang="en-US" sz="1600" b="1" strike="noStrike" noProof="1" dirty="0">
                <a:solidFill>
                  <a:srgbClr val="F2F2F2"/>
                </a:solidFill>
                <a:latin typeface="Pfizer Tomorrow" charset="0"/>
                <a:ea typeface="微软雅黑" panose="020B0503020204020204" charset="-122"/>
                <a:cs typeface="+mn-ea"/>
                <a:sym typeface="Pfizer Tomorrow" charset="0"/>
              </a:rPr>
              <a:t>氨曲南</a:t>
            </a:r>
            <a:r>
              <a:rPr lang="en-US" altLang="zh-CN" sz="1600" b="1" strike="noStrike" noProof="1" dirty="0">
                <a:solidFill>
                  <a:srgbClr val="F2F2F2"/>
                </a:solidFill>
                <a:latin typeface="Pfizer Tomorrow" charset="0"/>
                <a:ea typeface="微软雅黑" panose="020B0503020204020204" charset="-122"/>
                <a:cs typeface="+mn-ea"/>
                <a:sym typeface="Pfizer Tomorrow" charset="0"/>
              </a:rPr>
              <a:t>-</a:t>
            </a:r>
            <a:r>
              <a:rPr lang="zh-CN" altLang="en-US" sz="1600" b="1" strike="noStrike" noProof="1" dirty="0">
                <a:solidFill>
                  <a:srgbClr val="F2F2F2"/>
                </a:solidFill>
                <a:latin typeface="Pfizer Tomorrow" charset="0"/>
                <a:ea typeface="微软雅黑" panose="020B0503020204020204" charset="-122"/>
                <a:cs typeface="+mn-ea"/>
                <a:sym typeface="Pfizer Tomorrow" charset="0"/>
              </a:rPr>
              <a:t>阿维巴坦“高效杀菌”作用机制图</a:t>
            </a:r>
            <a:r>
              <a:rPr lang="en-US" altLang="zh-CN" sz="1600" b="1" strike="noStrike" baseline="30000" noProof="1" dirty="0">
                <a:solidFill>
                  <a:srgbClr val="F2F2F2"/>
                </a:solidFill>
                <a:latin typeface="Pfizer Tomorrow" charset="0"/>
                <a:ea typeface="微软雅黑" panose="020B0503020204020204" charset="-122"/>
                <a:cs typeface="+mn-ea"/>
                <a:sym typeface="Pfizer Tomorrow" charset="0"/>
              </a:rPr>
              <a:t>1-4</a:t>
            </a:r>
            <a:endParaRPr lang="zh-CN" altLang="en-US" sz="1600" b="1" strike="noStrike" baseline="30000" noProof="1" dirty="0">
              <a:solidFill>
                <a:srgbClr val="F2F2F2"/>
              </a:solidFill>
              <a:latin typeface="Pfizer Tomorrow" charset="0"/>
              <a:ea typeface="微软雅黑" panose="020B0503020204020204" charset="-122"/>
              <a:cs typeface="+mn-ea"/>
              <a:sym typeface="Pfizer Tomorrow" charset="0"/>
            </a:endParaRPr>
          </a:p>
        </p:txBody>
      </p:sp>
      <p:sp>
        <p:nvSpPr>
          <p:cNvPr id="21" name="文本框 20"/>
          <p:cNvSpPr txBox="1"/>
          <p:nvPr/>
        </p:nvSpPr>
        <p:spPr>
          <a:xfrm>
            <a:off x="797195" y="6270154"/>
            <a:ext cx="871130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numCol="2">
            <a:spAutoFit/>
          </a:bodyPr>
          <a:lstStyle/>
          <a:p>
            <a:pPr marL="144145" indent="-144145" fontAlgn="auto">
              <a:buFont typeface="+mj-lt"/>
              <a:buAutoNum type="arabicPeriod"/>
            </a:pPr>
            <a:r>
              <a:rPr lang="zh-CN" altLang="en-US" sz="800" strike="noStrike" noProof="1" dirty="0">
                <a:latin typeface="Pfizer Tomorrow" charset="0"/>
                <a:ea typeface="微软雅黑" panose="020B0503020204020204" charset="-122"/>
                <a:cs typeface="+mn-ea"/>
                <a:sym typeface="Pfizer Tomorrow" charset="0"/>
              </a:rPr>
              <a:t>注射用氨曲南阿维巴坦钠说明书</a:t>
            </a:r>
            <a:r>
              <a:rPr lang="en-US" altLang="zh-CN" sz="800" strike="noStrike" noProof="1" dirty="0">
                <a:latin typeface="Pfizer Tomorrow" charset="0"/>
                <a:ea typeface="微软雅黑" panose="020B0503020204020204" charset="-122"/>
                <a:cs typeface="+mn-ea"/>
                <a:sym typeface="Pfizer Tomorrow" charset="0"/>
              </a:rPr>
              <a:t>. </a:t>
            </a:r>
            <a:r>
              <a:rPr lang="zh-CN" altLang="en-US" sz="800" strike="noStrike" noProof="1" dirty="0">
                <a:latin typeface="Pfizer Tomorrow" charset="0"/>
                <a:ea typeface="微软雅黑" panose="020B0503020204020204" charset="-122"/>
                <a:cs typeface="+mn-ea"/>
                <a:sym typeface="Pfizer Tomorrow" charset="0"/>
              </a:rPr>
              <a:t>（核准日期：</a:t>
            </a:r>
            <a:r>
              <a:rPr lang="en-US" altLang="zh-CN" sz="800" strike="noStrike" noProof="1" dirty="0">
                <a:latin typeface="Pfizer Tomorrow" charset="0"/>
                <a:ea typeface="微软雅黑" panose="020B0503020204020204" charset="-122"/>
                <a:cs typeface="+mn-ea"/>
                <a:sym typeface="Pfizer Tomorrow" charset="0"/>
              </a:rPr>
              <a:t>2025</a:t>
            </a:r>
            <a:r>
              <a:rPr lang="zh-CN" altLang="en-US" sz="800" strike="noStrike" noProof="1" dirty="0">
                <a:latin typeface="Pfizer Tomorrow" charset="0"/>
                <a:ea typeface="微软雅黑" panose="020B0503020204020204" charset="-122"/>
                <a:cs typeface="+mn-ea"/>
                <a:sym typeface="Pfizer Tomorrow" charset="0"/>
              </a:rPr>
              <a:t>年</a:t>
            </a:r>
            <a:r>
              <a:rPr lang="en-US" altLang="zh-CN" sz="800" strike="noStrike" noProof="1" dirty="0">
                <a:latin typeface="Pfizer Tomorrow" charset="0"/>
                <a:ea typeface="微软雅黑" panose="020B0503020204020204" charset="-122"/>
                <a:cs typeface="+mn-ea"/>
                <a:sym typeface="Pfizer Tomorrow" charset="0"/>
              </a:rPr>
              <a:t>7</a:t>
            </a:r>
            <a:r>
              <a:rPr lang="zh-CN" altLang="en-US" sz="800" strike="noStrike" noProof="1" dirty="0">
                <a:latin typeface="Pfizer Tomorrow" charset="0"/>
                <a:ea typeface="微软雅黑" panose="020B0503020204020204" charset="-122"/>
                <a:cs typeface="+mn-ea"/>
                <a:sym typeface="Pfizer Tomorrow" charset="0"/>
              </a:rPr>
              <a:t>月</a:t>
            </a:r>
            <a:r>
              <a:rPr lang="en-US" altLang="zh-CN" sz="800" strike="noStrike" noProof="1" dirty="0">
                <a:latin typeface="Pfizer Tomorrow" charset="0"/>
                <a:ea typeface="微软雅黑" panose="020B0503020204020204" charset="-122"/>
                <a:cs typeface="+mn-ea"/>
                <a:sym typeface="Pfizer Tomorrow" charset="0"/>
              </a:rPr>
              <a:t>01</a:t>
            </a:r>
            <a:r>
              <a:rPr lang="zh-CN" altLang="en-US" sz="800" strike="noStrike" noProof="1" dirty="0">
                <a:latin typeface="Pfizer Tomorrow" charset="0"/>
                <a:ea typeface="微软雅黑" panose="020B0503020204020204" charset="-122"/>
                <a:cs typeface="+mn-ea"/>
                <a:sym typeface="Pfizer Tomorrow" charset="0"/>
              </a:rPr>
              <a:t>日）</a:t>
            </a:r>
            <a:r>
              <a:rPr lang="en-US" altLang="zh-CN" sz="800" strike="noStrike" noProof="1" dirty="0">
                <a:latin typeface="Pfizer Tomorrow" charset="0"/>
                <a:ea typeface="微软雅黑" panose="020B0503020204020204" charset="-122"/>
                <a:cs typeface="+mn-ea"/>
                <a:sym typeface="Pfizer Tomorrow" charset="0"/>
              </a:rPr>
              <a:t>.</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Alexia </a:t>
            </a:r>
            <a:r>
              <a:rPr lang="en-US" altLang="zh-CN" sz="800" strike="noStrike" noProof="1" dirty="0" err="1">
                <a:latin typeface="Pfizer Tomorrow" charset="0"/>
                <a:ea typeface="微软雅黑" panose="020B0503020204020204" charset="-122"/>
                <a:cs typeface="+mn-ea"/>
                <a:sym typeface="Pfizer Tomorrow" charset="0"/>
              </a:rPr>
              <a:t>Chauzy</a:t>
            </a:r>
            <a:r>
              <a:rPr lang="en-US" altLang="zh-CN" sz="800" strike="noStrike" noProof="1" dirty="0">
                <a:latin typeface="Pfizer Tomorrow" charset="0"/>
                <a:ea typeface="微软雅黑" panose="020B0503020204020204" charset="-122"/>
                <a:cs typeface="+mn-ea"/>
                <a:sym typeface="Pfizer Tomorrow" charset="0"/>
              </a:rPr>
              <a:t>, et al. CPT Pharmacometrics Syst </a:t>
            </a:r>
            <a:r>
              <a:rPr lang="en-US" altLang="zh-CN" sz="800" strike="noStrike" noProof="1" dirty="0" err="1">
                <a:latin typeface="Pfizer Tomorrow" charset="0"/>
                <a:ea typeface="微软雅黑" panose="020B0503020204020204" charset="-122"/>
                <a:cs typeface="+mn-ea"/>
                <a:sym typeface="Pfizer Tomorrow" charset="0"/>
              </a:rPr>
              <a:t>Pharmacol</a:t>
            </a:r>
            <a:r>
              <a:rPr lang="en-US" altLang="zh-CN" sz="800" strike="noStrike" noProof="1" dirty="0">
                <a:latin typeface="Pfizer Tomorrow" charset="0"/>
                <a:ea typeface="微软雅黑" panose="020B0503020204020204" charset="-122"/>
                <a:cs typeface="+mn-ea"/>
                <a:sym typeface="Pfizer Tomorrow" charset="0"/>
              </a:rPr>
              <a:t>. 2019 Aug 16;8(11): 815–824.</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Mauri C, et al. Antibiotics (Basel). 2021 Aug 20;10(8): 1012.</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Helio S Sader, et al. Int J </a:t>
            </a:r>
            <a:r>
              <a:rPr lang="en-US" altLang="zh-CN" sz="800" strike="noStrike" noProof="1" dirty="0" err="1">
                <a:latin typeface="Pfizer Tomorrow" charset="0"/>
                <a:ea typeface="微软雅黑" panose="020B0503020204020204" charset="-122"/>
                <a:cs typeface="+mn-ea"/>
                <a:sym typeface="Pfizer Tomorrow" charset="0"/>
              </a:rPr>
              <a:t>Antimicrob</a:t>
            </a:r>
            <a:r>
              <a:rPr lang="en-US" altLang="zh-CN" sz="800" strike="noStrike" noProof="1" dirty="0">
                <a:latin typeface="Pfizer Tomorrow" charset="0"/>
                <a:ea typeface="微软雅黑" panose="020B0503020204020204" charset="-122"/>
                <a:cs typeface="+mn-ea"/>
                <a:sym typeface="Pfizer Tomorrow" charset="0"/>
              </a:rPr>
              <a:t> Agents. 2024 Apr;63(4):107113</a:t>
            </a:r>
            <a:r>
              <a:rPr lang="en-US" altLang="zh-CN" sz="800" b="1" strike="noStrike" noProof="1" dirty="0">
                <a:latin typeface="Pfizer Tomorrow" charset="0"/>
                <a:ea typeface="微软雅黑" panose="020B0503020204020204" charset="-122"/>
                <a:cs typeface="+mn-ea"/>
                <a:sym typeface="Pfizer Tomorrow" charset="0"/>
              </a:rPr>
              <a:t>.</a:t>
            </a:r>
            <a:endParaRPr lang="en-US" altLang="zh-CN" sz="800" b="1" strike="noStrike" noProof="1" dirty="0">
              <a:latin typeface="Pfizer Tomorrow" charset="0"/>
              <a:ea typeface="微软雅黑" panose="020B0503020204020204" charset="-122"/>
              <a:cs typeface="+mn-ea"/>
              <a:sym typeface="Pfizer Tomorrow" charset="0"/>
            </a:endParaRPr>
          </a:p>
        </p:txBody>
      </p:sp>
      <p:sp>
        <p:nvSpPr>
          <p:cNvPr id="22" name="文本框 21"/>
          <p:cNvSpPr txBox="1"/>
          <p:nvPr/>
        </p:nvSpPr>
        <p:spPr>
          <a:xfrm>
            <a:off x="796925" y="5276850"/>
            <a:ext cx="6503988" cy="414338"/>
          </a:xfrm>
          <a:prstGeom prst="rect">
            <a:avLst/>
          </a:prstGeom>
          <a:noFill/>
        </p:spPr>
        <p:txBody>
          <a:bodyPr wrap="square">
            <a:spAutoFit/>
          </a:bodyPr>
          <a:lstStyle/>
          <a:p>
            <a:pPr fontAlgn="auto"/>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RE</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肠杆菌目细菌；</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ES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超广谱</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endPar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a:p>
            <a:pPr fontAlgn="auto"/>
            <a:r>
              <a:rPr lang="en-US" altLang="zh-CN" sz="1050" noProof="1" dirty="0" err="1">
                <a:solidFill>
                  <a:schemeClr val="tx1">
                    <a:lumMod val="75000"/>
                    <a:lumOff val="25000"/>
                  </a:schemeClr>
                </a:solidFill>
                <a:latin typeface="Pfizer Tomorrow" charset="0"/>
                <a:ea typeface="微软雅黑" panose="020B0503020204020204" charset="-122"/>
                <a:cs typeface="+mn-ea"/>
                <a:sym typeface="Pfizer Tomorrow" charset="0"/>
              </a:rPr>
              <a:t>AmpC</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头孢菌素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 PBP</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青霉素结合蛋白；</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OXA-48</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苯唑西林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48</a:t>
            </a:r>
            <a:endPar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23" name="矩形: 圆角 22"/>
          <p:cNvSpPr/>
          <p:nvPr/>
        </p:nvSpPr>
        <p:spPr>
          <a:xfrm>
            <a:off x="819150" y="2244725"/>
            <a:ext cx="6135688" cy="958850"/>
          </a:xfrm>
          <a:prstGeom prst="roundRect">
            <a:avLst>
              <a:gd name="adj" fmla="val 5445"/>
            </a:avLst>
          </a:prstGeom>
          <a:solidFill>
            <a:srgbClr val="E5E6EC">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dirty="0">
              <a:latin typeface="Pfizer Tomorrow" charset="0"/>
              <a:sym typeface="Pfizer Tomorrow" charset="0"/>
            </a:endParaRPr>
          </a:p>
        </p:txBody>
      </p:sp>
      <p:sp>
        <p:nvSpPr>
          <p:cNvPr id="50184" name="文本框 25"/>
          <p:cNvSpPr txBox="1"/>
          <p:nvPr/>
        </p:nvSpPr>
        <p:spPr>
          <a:xfrm>
            <a:off x="1428750" y="2366963"/>
            <a:ext cx="5340350" cy="700087"/>
          </a:xfrm>
          <a:prstGeom prst="rect">
            <a:avLst/>
          </a:prstGeom>
          <a:noFill/>
          <a:ln w="9525">
            <a:noFill/>
          </a:ln>
        </p:spPr>
        <p:txBody>
          <a:bodyPr wrap="square" anchor="t" anchorCtr="0">
            <a:spAutoFit/>
          </a:bodyPr>
          <a:p>
            <a:pPr>
              <a:lnSpc>
                <a:spcPct val="150000"/>
              </a:lnSpc>
            </a:pPr>
            <a:r>
              <a:rPr lang="zh-CN" altLang="en-US" sz="1400" b="1" dirty="0">
                <a:solidFill>
                  <a:srgbClr val="00C987"/>
                </a:solidFill>
                <a:latin typeface="Pfizer Tomorrow" charset="0"/>
                <a:ea typeface="微软雅黑" panose="020B0503020204020204" charset="-122"/>
                <a:sym typeface="Pfizer Tomorrow" charset="0"/>
              </a:rPr>
              <a:t>氨曲南对</a:t>
            </a:r>
            <a:r>
              <a:rPr lang="en-US" altLang="zh-CN" sz="1400" b="1" dirty="0">
                <a:solidFill>
                  <a:srgbClr val="00C987"/>
                </a:solidFill>
                <a:latin typeface="Pfizer Tomorrow" charset="0"/>
                <a:ea typeface="微软雅黑" panose="020B0503020204020204" charset="-122"/>
                <a:sym typeface="Pfizer Tomorrow" charset="0"/>
              </a:rPr>
              <a:t>MBL</a:t>
            </a:r>
            <a:r>
              <a:rPr lang="zh-CN" altLang="en-US" sz="1400" b="1" dirty="0">
                <a:solidFill>
                  <a:srgbClr val="00C987"/>
                </a:solidFill>
                <a:latin typeface="Pfizer Tomorrow" charset="0"/>
                <a:ea typeface="微软雅黑" panose="020B0503020204020204" charset="-122"/>
                <a:sym typeface="Pfizer Tomorrow" charset="0"/>
              </a:rPr>
              <a:t>稳定</a:t>
            </a:r>
            <a:r>
              <a:rPr lang="zh-CN" altLang="en-US" sz="1400" b="1" dirty="0">
                <a:solidFill>
                  <a:schemeClr val="accent1"/>
                </a:solidFill>
                <a:latin typeface="Pfizer Tomorrow" charset="0"/>
                <a:ea typeface="微软雅黑" panose="020B0503020204020204" charset="-122"/>
                <a:sym typeface="Pfizer Tomorrow" charset="0"/>
              </a:rPr>
              <a:t>，与</a:t>
            </a:r>
            <a:r>
              <a:rPr lang="en-US" altLang="zh-CN" sz="1400" b="1" dirty="0">
                <a:solidFill>
                  <a:schemeClr val="accent1"/>
                </a:solidFill>
                <a:latin typeface="Pfizer Tomorrow" charset="0"/>
                <a:ea typeface="微软雅黑" panose="020B0503020204020204" charset="-122"/>
                <a:sym typeface="Pfizer Tomorrow" charset="0"/>
              </a:rPr>
              <a:t>PBP3</a:t>
            </a:r>
            <a:r>
              <a:rPr lang="zh-CN" altLang="en-US" sz="1400" b="1" dirty="0">
                <a:solidFill>
                  <a:schemeClr val="accent1"/>
                </a:solidFill>
                <a:latin typeface="Pfizer Tomorrow" charset="0"/>
                <a:ea typeface="微软雅黑" panose="020B0503020204020204" charset="-122"/>
                <a:sym typeface="Pfizer Tomorrow" charset="0"/>
              </a:rPr>
              <a:t>结合可抑制细菌细胞壁肽聚糖合成，</a:t>
            </a:r>
            <a:r>
              <a:rPr lang="zh-CN" altLang="en-US" sz="1400" b="1" dirty="0">
                <a:solidFill>
                  <a:srgbClr val="00C987"/>
                </a:solidFill>
                <a:latin typeface="Pfizer Tomorrow" charset="0"/>
                <a:ea typeface="微软雅黑" panose="020B0503020204020204" charset="-122"/>
                <a:sym typeface="Pfizer Tomorrow" charset="0"/>
              </a:rPr>
              <a:t>使细菌裂解和死亡</a:t>
            </a:r>
            <a:r>
              <a:rPr lang="en-US" altLang="zh-CN" sz="1400" b="1" baseline="30000" dirty="0">
                <a:solidFill>
                  <a:srgbClr val="00C987"/>
                </a:solidFill>
                <a:latin typeface="Pfizer Tomorrow" charset="0"/>
                <a:ea typeface="微软雅黑" panose="020B0503020204020204" charset="-122"/>
                <a:sym typeface="Pfizer Tomorrow" charset="0"/>
              </a:rPr>
              <a:t>1,2</a:t>
            </a:r>
            <a:endParaRPr lang="zh-CN" altLang="en-US" sz="1200" dirty="0">
              <a:solidFill>
                <a:srgbClr val="00C987"/>
              </a:solidFill>
              <a:latin typeface="Pfizer Tomorrow" charset="0"/>
              <a:ea typeface="微软雅黑" panose="020B0503020204020204" charset="-122"/>
              <a:sym typeface="Pfizer Tomorrow" charset="0"/>
            </a:endParaRPr>
          </a:p>
        </p:txBody>
      </p:sp>
      <p:sp>
        <p:nvSpPr>
          <p:cNvPr id="50185" name="文本框 26"/>
          <p:cNvSpPr txBox="1"/>
          <p:nvPr/>
        </p:nvSpPr>
        <p:spPr>
          <a:xfrm>
            <a:off x="1460500" y="3810000"/>
            <a:ext cx="5308600" cy="1244600"/>
          </a:xfrm>
          <a:prstGeom prst="rect">
            <a:avLst/>
          </a:prstGeom>
          <a:noFill/>
          <a:ln w="9525">
            <a:noFill/>
          </a:ln>
        </p:spPr>
        <p:txBody>
          <a:bodyPr wrap="square" anchor="t" anchorCtr="0">
            <a:spAutoFit/>
          </a:bodyPr>
          <a:p>
            <a:pPr marL="171450" indent="-171450">
              <a:lnSpc>
                <a:spcPct val="150000"/>
              </a:lnSpc>
              <a:spcAft>
                <a:spcPts val="600"/>
              </a:spcAft>
              <a:buFont typeface="Arial" panose="020B0604020202090204" pitchFamily="34" charset="0"/>
              <a:buChar char="•"/>
            </a:pPr>
            <a:r>
              <a:rPr lang="zh-CN" altLang="en-US" sz="1200" dirty="0">
                <a:solidFill>
                  <a:schemeClr val="accent1"/>
                </a:solidFill>
                <a:latin typeface="Pfizer Tomorrow" charset="0"/>
                <a:ea typeface="微软雅黑" panose="020B0503020204020204" charset="-122"/>
                <a:sym typeface="Pfizer Tomorrow" charset="0"/>
              </a:rPr>
              <a:t>多数产</a:t>
            </a:r>
            <a:r>
              <a:rPr lang="en-US" altLang="zh-CN" sz="1200" dirty="0">
                <a:solidFill>
                  <a:schemeClr val="accent1"/>
                </a:solidFill>
                <a:latin typeface="Pfizer Tomorrow" charset="0"/>
                <a:ea typeface="微软雅黑" panose="020B0503020204020204" charset="-122"/>
                <a:sym typeface="Pfizer Tomorrow" charset="0"/>
              </a:rPr>
              <a:t>MBL</a:t>
            </a:r>
            <a:r>
              <a:rPr lang="zh-CN" altLang="en-US" sz="1200" dirty="0">
                <a:solidFill>
                  <a:schemeClr val="accent1"/>
                </a:solidFill>
                <a:latin typeface="Pfizer Tomorrow" charset="0"/>
                <a:ea typeface="微软雅黑" panose="020B0503020204020204" charset="-122"/>
                <a:sym typeface="Pfizer Tomorrow" charset="0"/>
              </a:rPr>
              <a:t>的菌株会同时产</a:t>
            </a:r>
            <a:r>
              <a:rPr lang="en-US" altLang="zh-CN" sz="1200" dirty="0">
                <a:solidFill>
                  <a:schemeClr val="accent1"/>
                </a:solidFill>
                <a:latin typeface="Pfizer Tomorrow" charset="0"/>
                <a:ea typeface="微软雅黑" panose="020B0503020204020204" charset="-122"/>
                <a:sym typeface="Pfizer Tomorrow" charset="0"/>
              </a:rPr>
              <a:t>ESBL</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err="1">
                <a:solidFill>
                  <a:schemeClr val="accent1"/>
                </a:solidFill>
                <a:latin typeface="Pfizer Tomorrow" charset="0"/>
                <a:ea typeface="微软雅黑" panose="020B0503020204020204" charset="-122"/>
                <a:sym typeface="Pfizer Tomorrow" charset="0"/>
              </a:rPr>
              <a:t>AmpC</a:t>
            </a:r>
            <a:r>
              <a:rPr lang="zh-CN" altLang="en-US" sz="1200" dirty="0">
                <a:solidFill>
                  <a:schemeClr val="accent1"/>
                </a:solidFill>
                <a:latin typeface="Pfizer Tomorrow" charset="0"/>
                <a:ea typeface="微软雅黑" panose="020B0503020204020204" charset="-122"/>
                <a:sym typeface="Pfizer Tomorrow" charset="0"/>
              </a:rPr>
              <a:t>及其他</a:t>
            </a:r>
            <a:r>
              <a:rPr lang="el-GR" altLang="zh-CN" sz="1200" dirty="0">
                <a:solidFill>
                  <a:schemeClr val="accent1"/>
                </a:solidFill>
                <a:latin typeface="微软雅黑" panose="020B0503020204020204" charset="-122"/>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水解氨曲南</a:t>
            </a:r>
            <a:r>
              <a:rPr lang="en-US" altLang="zh-CN" sz="1200" baseline="30000" dirty="0">
                <a:solidFill>
                  <a:schemeClr val="accent1"/>
                </a:solidFill>
                <a:latin typeface="Pfizer Tomorrow" charset="0"/>
                <a:ea typeface="微软雅黑" panose="020B0503020204020204" charset="-122"/>
                <a:sym typeface="Pfizer Tomorrow" charset="0"/>
              </a:rPr>
              <a:t>3</a:t>
            </a:r>
            <a:endParaRPr lang="en-US" altLang="zh-CN" sz="1200" baseline="30000" dirty="0">
              <a:solidFill>
                <a:schemeClr val="accent1"/>
              </a:solidFill>
              <a:latin typeface="Pfizer Tomorrow" charset="0"/>
              <a:ea typeface="微软雅黑" panose="020B0503020204020204" charset="-122"/>
              <a:sym typeface="Pfizer Tomorrow" charset="0"/>
            </a:endParaRPr>
          </a:p>
          <a:p>
            <a:pPr marL="171450" indent="-171450">
              <a:lnSpc>
                <a:spcPct val="150000"/>
              </a:lnSpc>
              <a:spcAft>
                <a:spcPts val="600"/>
              </a:spcAft>
              <a:buFont typeface="Arial" panose="020B0604020202090204" pitchFamily="34" charset="0"/>
              <a:buChar char="•"/>
            </a:pPr>
            <a:r>
              <a:rPr lang="zh-CN" altLang="en-US" sz="1200" dirty="0">
                <a:solidFill>
                  <a:schemeClr val="accent1"/>
                </a:solidFill>
                <a:latin typeface="Pfizer Tomorrow" charset="0"/>
                <a:ea typeface="微软雅黑" panose="020B0503020204020204" charset="-122"/>
                <a:sym typeface="Pfizer Tomorrow" charset="0"/>
              </a:rPr>
              <a:t>阿维巴坦可抑制</a:t>
            </a:r>
            <a:r>
              <a:rPr lang="en-US" altLang="zh-CN" sz="1200" dirty="0">
                <a:solidFill>
                  <a:schemeClr val="accent1"/>
                </a:solidFill>
                <a:latin typeface="Pfizer Tomorrow" charset="0"/>
                <a:ea typeface="微软雅黑" panose="020B0503020204020204" charset="-122"/>
                <a:sym typeface="Pfizer Tomorrow" charset="0"/>
              </a:rPr>
              <a:t>Ambler A</a:t>
            </a:r>
            <a:r>
              <a:rPr lang="zh-CN" altLang="en-US" sz="1200" dirty="0">
                <a:solidFill>
                  <a:schemeClr val="accent1"/>
                </a:solidFill>
                <a:latin typeface="Pfizer Tomorrow" charset="0"/>
                <a:ea typeface="微软雅黑" panose="020B0503020204020204" charset="-122"/>
                <a:sym typeface="Pfizer Tomorrow" charset="0"/>
              </a:rPr>
              <a:t>类、</a:t>
            </a:r>
            <a:r>
              <a:rPr lang="en-US" altLang="zh-CN" sz="1200" dirty="0">
                <a:solidFill>
                  <a:schemeClr val="accent1"/>
                </a:solidFill>
                <a:latin typeface="Pfizer Tomorrow" charset="0"/>
                <a:ea typeface="微软雅黑" panose="020B0503020204020204" charset="-122"/>
                <a:sym typeface="Pfizer Tomorrow" charset="0"/>
              </a:rPr>
              <a:t>C</a:t>
            </a:r>
            <a:r>
              <a:rPr lang="zh-CN" altLang="en-US" sz="1200" dirty="0">
                <a:solidFill>
                  <a:schemeClr val="accent1"/>
                </a:solidFill>
                <a:latin typeface="Pfizer Tomorrow" charset="0"/>
                <a:ea typeface="微软雅黑" panose="020B0503020204020204" charset="-122"/>
                <a:sym typeface="Pfizer Tomorrow" charset="0"/>
              </a:rPr>
              <a:t>类和某些</a:t>
            </a:r>
            <a:r>
              <a:rPr lang="en-US" altLang="zh-CN" sz="1200" dirty="0">
                <a:solidFill>
                  <a:schemeClr val="accent1"/>
                </a:solidFill>
                <a:latin typeface="Pfizer Tomorrow" charset="0"/>
                <a:ea typeface="微软雅黑" panose="020B0503020204020204" charset="-122"/>
                <a:sym typeface="Pfizer Tomorrow" charset="0"/>
              </a:rPr>
              <a:t>D</a:t>
            </a:r>
            <a:r>
              <a:rPr lang="zh-CN" altLang="en-US" sz="1200" dirty="0">
                <a:solidFill>
                  <a:schemeClr val="accent1"/>
                </a:solidFill>
                <a:latin typeface="Pfizer Tomorrow" charset="0"/>
                <a:ea typeface="微软雅黑" panose="020B0503020204020204" charset="-122"/>
                <a:sym typeface="Pfizer Tomorrow" charset="0"/>
              </a:rPr>
              <a:t>类</a:t>
            </a:r>
            <a:r>
              <a:rPr lang="en-US" altLang="zh-CN" sz="1200" dirty="0">
                <a:solidFill>
                  <a:schemeClr val="accent1"/>
                </a:solidFill>
                <a:latin typeface="Pfizer Tomorrow" charset="0"/>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包括</a:t>
            </a:r>
            <a:r>
              <a:rPr lang="en-US" altLang="zh-CN" sz="1200" dirty="0">
                <a:solidFill>
                  <a:schemeClr val="accent1"/>
                </a:solidFill>
                <a:latin typeface="Pfizer Tomorrow" charset="0"/>
                <a:ea typeface="微软雅黑" panose="020B0503020204020204" charset="-122"/>
                <a:sym typeface="Pfizer Tomorrow" charset="0"/>
              </a:rPr>
              <a:t>ESBL</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KPC</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 </a:t>
            </a:r>
            <a:r>
              <a:rPr lang="en-US" altLang="zh-CN" sz="1200" dirty="0" err="1">
                <a:solidFill>
                  <a:schemeClr val="accent1"/>
                </a:solidFill>
                <a:latin typeface="Pfizer Tomorrow" charset="0"/>
                <a:ea typeface="微软雅黑" panose="020B0503020204020204" charset="-122"/>
                <a:sym typeface="Pfizer Tomorrow" charset="0"/>
              </a:rPr>
              <a:t>AmpC</a:t>
            </a:r>
            <a:r>
              <a:rPr lang="en-US" altLang="zh-CN" sz="1200" dirty="0">
                <a:solidFill>
                  <a:schemeClr val="accent1"/>
                </a:solidFill>
                <a:latin typeface="Pfizer Tomorrow" charset="0"/>
                <a:ea typeface="微软雅黑" panose="020B0503020204020204" charset="-122"/>
                <a:sym typeface="Pfizer Tomorrow" charset="0"/>
              </a:rPr>
              <a:t> </a:t>
            </a:r>
            <a:r>
              <a:rPr lang="zh-CN" altLang="en-US" sz="1200" dirty="0">
                <a:solidFill>
                  <a:schemeClr val="accent1"/>
                </a:solidFill>
                <a:latin typeface="Pfizer Tomorrow" charset="0"/>
                <a:ea typeface="微软雅黑" panose="020B0503020204020204" charset="-122"/>
                <a:sym typeface="Pfizer Tomorrow" charset="0"/>
              </a:rPr>
              <a:t>和 </a:t>
            </a:r>
            <a:r>
              <a:rPr lang="en-US" altLang="zh-CN" sz="1200" dirty="0">
                <a:solidFill>
                  <a:schemeClr val="accent1"/>
                </a:solidFill>
                <a:latin typeface="Pfizer Tomorrow" charset="0"/>
                <a:ea typeface="微软雅黑" panose="020B0503020204020204" charset="-122"/>
                <a:sym typeface="Pfizer Tomorrow" charset="0"/>
              </a:rPr>
              <a:t>OXA-48</a:t>
            </a:r>
            <a:r>
              <a:rPr lang="zh-CN" altLang="en-US" sz="1200" dirty="0">
                <a:solidFill>
                  <a:schemeClr val="accent1"/>
                </a:solidFill>
                <a:latin typeface="Pfizer Tomorrow" charset="0"/>
                <a:ea typeface="微软雅黑" panose="020B0503020204020204" charset="-122"/>
                <a:sym typeface="Pfizer Tomorrow" charset="0"/>
              </a:rPr>
              <a:t>，保护氨曲南不被丝氨酸</a:t>
            </a:r>
            <a:r>
              <a:rPr lang="en-US" altLang="zh-CN" sz="1200" dirty="0">
                <a:solidFill>
                  <a:schemeClr val="accent1"/>
                </a:solidFill>
                <a:latin typeface="Pfizer Tomorrow" charset="0"/>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水解，恢复氨曲南的抗菌活性</a:t>
            </a:r>
            <a:r>
              <a:rPr lang="en-US" altLang="zh-CN" sz="1200" baseline="30000" dirty="0">
                <a:solidFill>
                  <a:schemeClr val="accent1"/>
                </a:solidFill>
                <a:latin typeface="Pfizer Tomorrow" charset="0"/>
                <a:ea typeface="微软雅黑" panose="020B0503020204020204" charset="-122"/>
                <a:sym typeface="Pfizer Tomorrow" charset="0"/>
              </a:rPr>
              <a:t>1,3,4</a:t>
            </a:r>
            <a:endParaRPr lang="zh-CN" altLang="en-US" sz="1200" baseline="30000" dirty="0">
              <a:solidFill>
                <a:schemeClr val="accent1"/>
              </a:solidFill>
              <a:latin typeface="Pfizer Tomorrow" charset="0"/>
              <a:ea typeface="微软雅黑" panose="020B0503020204020204" charset="-122"/>
              <a:sym typeface="Pfizer Tomorrow" charset="0"/>
            </a:endParaRPr>
          </a:p>
        </p:txBody>
      </p:sp>
      <p:sp>
        <p:nvSpPr>
          <p:cNvPr id="28" name="椭圆 27"/>
          <p:cNvSpPr/>
          <p:nvPr/>
        </p:nvSpPr>
        <p:spPr>
          <a:xfrm>
            <a:off x="941388" y="2438400"/>
            <a:ext cx="365125" cy="36512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b="1" strike="noStrike" noProof="1" dirty="0">
                <a:latin typeface="Pfizer Tomorrow" charset="0"/>
                <a:ea typeface="微软雅黑" panose="020B0503020204020204" charset="-122"/>
                <a:sym typeface="Pfizer Tomorrow" charset="0"/>
              </a:rPr>
              <a:t>1</a:t>
            </a:r>
            <a:endParaRPr lang="zh-CN" altLang="en-US" b="1" strike="noStrike" noProof="1" dirty="0">
              <a:latin typeface="Pfizer Tomorrow" charset="0"/>
              <a:ea typeface="微软雅黑" panose="020B0503020204020204" charset="-122"/>
              <a:sym typeface="Pfizer Tomorrow" charset="0"/>
            </a:endParaRPr>
          </a:p>
        </p:txBody>
      </p:sp>
      <p:sp>
        <p:nvSpPr>
          <p:cNvPr id="3" name="矩形 2"/>
          <p:cNvSpPr/>
          <p:nvPr/>
        </p:nvSpPr>
        <p:spPr>
          <a:xfrm>
            <a:off x="8528050" y="3565525"/>
            <a:ext cx="1103313" cy="11366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50188" name="文本框 9"/>
          <p:cNvSpPr txBox="1"/>
          <p:nvPr/>
        </p:nvSpPr>
        <p:spPr>
          <a:xfrm>
            <a:off x="1376363" y="3362325"/>
            <a:ext cx="5659437" cy="376238"/>
          </a:xfrm>
          <a:prstGeom prst="rect">
            <a:avLst/>
          </a:prstGeom>
          <a:noFill/>
          <a:ln w="9525">
            <a:noFill/>
          </a:ln>
        </p:spPr>
        <p:txBody>
          <a:bodyPr wrap="square" anchor="t" anchorCtr="0">
            <a:spAutoFit/>
          </a:bodyPr>
          <a:p>
            <a:pPr>
              <a:lnSpc>
                <a:spcPct val="150000"/>
              </a:lnSpc>
            </a:pPr>
            <a:r>
              <a:rPr lang="zh-CN" altLang="en-US" sz="1400" b="1" dirty="0">
                <a:solidFill>
                  <a:srgbClr val="00C987"/>
                </a:solidFill>
                <a:latin typeface="Pfizer Tomorrow" charset="0"/>
                <a:ea typeface="微软雅黑" panose="020B0503020204020204" charset="-122"/>
                <a:sym typeface="Pfizer Tomorrow" charset="0"/>
              </a:rPr>
              <a:t>阿维巴坦</a:t>
            </a:r>
            <a:r>
              <a:rPr lang="zh-CN" altLang="en-US" sz="1400" b="1" dirty="0">
                <a:solidFill>
                  <a:schemeClr val="accent1"/>
                </a:solidFill>
                <a:latin typeface="Pfizer Tomorrow" charset="0"/>
                <a:ea typeface="微软雅黑" panose="020B0503020204020204" charset="-122"/>
                <a:sym typeface="Pfizer Tomorrow" charset="0"/>
              </a:rPr>
              <a:t>保护氨曲南不被丝氨酸</a:t>
            </a:r>
            <a:r>
              <a:rPr lang="en-US" altLang="zh-CN" sz="1400" b="1" dirty="0">
                <a:solidFill>
                  <a:schemeClr val="accent1"/>
                </a:solidFill>
                <a:latin typeface="Pfizer Tomorrow" charset="0"/>
                <a:ea typeface="微软雅黑" panose="020B0503020204020204" charset="-122"/>
                <a:sym typeface="Pfizer Tomorrow" charset="0"/>
              </a:rPr>
              <a:t>β-</a:t>
            </a:r>
            <a:r>
              <a:rPr lang="zh-CN" altLang="en-US" sz="1400" b="1" dirty="0">
                <a:solidFill>
                  <a:schemeClr val="accent1"/>
                </a:solidFill>
                <a:latin typeface="Pfizer Tomorrow" charset="0"/>
                <a:ea typeface="微软雅黑" panose="020B0503020204020204" charset="-122"/>
                <a:sym typeface="Pfizer Tomorrow" charset="0"/>
              </a:rPr>
              <a:t>内酰胺酶水解，</a:t>
            </a:r>
            <a:r>
              <a:rPr lang="zh-CN" altLang="en-US" sz="1400" b="1" dirty="0">
                <a:solidFill>
                  <a:srgbClr val="00C987"/>
                </a:solidFill>
                <a:latin typeface="Pfizer Tomorrow" charset="0"/>
                <a:ea typeface="微软雅黑" panose="020B0503020204020204" charset="-122"/>
                <a:sym typeface="Pfizer Tomorrow" charset="0"/>
              </a:rPr>
              <a:t>恢复氨曲南活性</a:t>
            </a:r>
            <a:r>
              <a:rPr lang="en-US" altLang="zh-CN" sz="1400" b="1" baseline="30000" dirty="0">
                <a:solidFill>
                  <a:srgbClr val="00C987"/>
                </a:solidFill>
                <a:latin typeface="Pfizer Tomorrow" charset="0"/>
                <a:ea typeface="微软雅黑" panose="020B0503020204020204" charset="-122"/>
                <a:sym typeface="Pfizer Tomorrow" charset="0"/>
              </a:rPr>
              <a:t>3,4</a:t>
            </a:r>
            <a:r>
              <a:rPr lang="zh-CN" altLang="en-US" sz="1400" b="1" dirty="0">
                <a:solidFill>
                  <a:srgbClr val="00C987"/>
                </a:solidFill>
                <a:latin typeface="Pfizer Tomorrow" charset="0"/>
                <a:ea typeface="微软雅黑" panose="020B0503020204020204" charset="-122"/>
                <a:sym typeface="Pfizer Tomorrow" charset="0"/>
              </a:rPr>
              <a:t>：</a:t>
            </a:r>
            <a:endParaRPr lang="zh-CN" altLang="en-US" sz="1200" dirty="0">
              <a:solidFill>
                <a:srgbClr val="00C987"/>
              </a:solidFill>
              <a:latin typeface="Pfizer Tomorrow" charset="0"/>
              <a:ea typeface="微软雅黑" panose="020B0503020204020204" charset="-122"/>
              <a:sym typeface="Pfizer Tomorrow" charset="0"/>
            </a:endParaRPr>
          </a:p>
        </p:txBody>
      </p:sp>
      <p:grpSp>
        <p:nvGrpSpPr>
          <p:cNvPr id="50189" name="组合 37"/>
          <p:cNvGrpSpPr/>
          <p:nvPr/>
        </p:nvGrpSpPr>
        <p:grpSpPr>
          <a:xfrm>
            <a:off x="7042150" y="1785938"/>
            <a:ext cx="4705350" cy="4268787"/>
            <a:chOff x="7828196" y="2347233"/>
            <a:chExt cx="3904963" cy="3546173"/>
          </a:xfrm>
        </p:grpSpPr>
        <p:sp>
          <p:nvSpPr>
            <p:cNvPr id="6" name="椭圆 5"/>
            <p:cNvSpPr/>
            <p:nvPr/>
          </p:nvSpPr>
          <p:spPr>
            <a:xfrm>
              <a:off x="7828196" y="3924393"/>
              <a:ext cx="249515" cy="24951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600" b="1" strike="noStrike" noProof="1" dirty="0">
                  <a:latin typeface="Pfizer Tomorrow" charset="0"/>
                  <a:ea typeface="微软雅黑" panose="020B0503020204020204" charset="-122"/>
                  <a:sym typeface="Pfizer Tomorrow" charset="0"/>
                </a:rPr>
                <a:t>2</a:t>
              </a:r>
              <a:endParaRPr lang="zh-CN" altLang="en-US" sz="1600" b="1" strike="noStrike" noProof="1" dirty="0">
                <a:latin typeface="Pfizer Tomorrow" charset="0"/>
                <a:ea typeface="微软雅黑" panose="020B0503020204020204" charset="-122"/>
                <a:sym typeface="Pfizer Tomorrow" charset="0"/>
              </a:endParaRPr>
            </a:p>
          </p:txBody>
        </p:sp>
        <p:sp>
          <p:nvSpPr>
            <p:cNvPr id="4" name="椭圆 3"/>
            <p:cNvSpPr/>
            <p:nvPr/>
          </p:nvSpPr>
          <p:spPr>
            <a:xfrm>
              <a:off x="7828196" y="2891216"/>
              <a:ext cx="249515" cy="24951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600" b="1" strike="noStrike" noProof="1" dirty="0">
                  <a:latin typeface="Pfizer Tomorrow" charset="0"/>
                  <a:ea typeface="微软雅黑" panose="020B0503020204020204" charset="-122"/>
                  <a:sym typeface="Pfizer Tomorrow" charset="0"/>
                </a:rPr>
                <a:t>1</a:t>
              </a:r>
              <a:endParaRPr lang="zh-CN" altLang="en-US" sz="1600" b="1" strike="noStrike" noProof="1" dirty="0">
                <a:latin typeface="Pfizer Tomorrow" charset="0"/>
                <a:ea typeface="微软雅黑" panose="020B0503020204020204" charset="-122"/>
                <a:sym typeface="Pfizer Tomorrow" charset="0"/>
              </a:endParaRPr>
            </a:p>
          </p:txBody>
        </p:sp>
        <p:pic>
          <p:nvPicPr>
            <p:cNvPr id="50192" name="图片 35"/>
            <p:cNvPicPr>
              <a:picLocks noChangeAspect="1"/>
            </p:cNvPicPr>
            <p:nvPr/>
          </p:nvPicPr>
          <p:blipFill>
            <a:blip r:embed="rId1"/>
            <a:srcRect t="18269" b="14629"/>
            <a:stretch>
              <a:fillRect/>
            </a:stretch>
          </p:blipFill>
          <p:spPr>
            <a:xfrm>
              <a:off x="8067283" y="2347233"/>
              <a:ext cx="3665876" cy="3546173"/>
            </a:xfrm>
            <a:prstGeom prst="rect">
              <a:avLst/>
            </a:prstGeom>
            <a:noFill/>
            <a:ln w="9525">
              <a:noFill/>
            </a:ln>
          </p:spPr>
        </p:pic>
      </p:grpSp>
      <p:sp>
        <p:nvSpPr>
          <p:cNvPr id="37" name="椭圆 36"/>
          <p:cNvSpPr/>
          <p:nvPr/>
        </p:nvSpPr>
        <p:spPr>
          <a:xfrm>
            <a:off x="941388" y="3421063"/>
            <a:ext cx="365125" cy="36512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b="1" strike="noStrike" noProof="1" dirty="0">
                <a:latin typeface="Pfizer Tomorrow" charset="0"/>
                <a:ea typeface="微软雅黑" panose="020B0503020204020204" charset="-122"/>
                <a:sym typeface="Pfizer Tomorrow" charset="0"/>
              </a:rPr>
              <a:t>2</a:t>
            </a:r>
            <a:endParaRPr lang="zh-CN" altLang="en-US" b="1" strike="noStrike" noProof="1" dirty="0">
              <a:latin typeface="Pfizer Tomorrow" charset="0"/>
              <a:ea typeface="微软雅黑" panose="020B0503020204020204" charset="-122"/>
              <a:sym typeface="Pfizer Tomorrow" charset="0"/>
            </a:endParaRPr>
          </a:p>
        </p:txBody>
      </p:sp>
      <p:grpSp>
        <p:nvGrpSpPr>
          <p:cNvPr id="50194" name="组合 1"/>
          <p:cNvGrpSpPr/>
          <p:nvPr/>
        </p:nvGrpSpPr>
        <p:grpSpPr>
          <a:xfrm rot="-642761">
            <a:off x="187325" y="1617663"/>
            <a:ext cx="1157288"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效杀菌</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14"/>
          <p:cNvCxnSpPr/>
          <p:nvPr>
            <p:custDataLst>
              <p:tags r:id="rId1"/>
            </p:custDataLst>
          </p:nvPr>
        </p:nvCxnSpPr>
        <p:spPr>
          <a:xfrm>
            <a:off x="479425" y="949325"/>
            <a:ext cx="651510" cy="0"/>
          </a:xfrm>
          <a:prstGeom prst="line">
            <a:avLst/>
          </a:prstGeom>
          <a:ln w="88900" cap="flat" cmpd="sng">
            <a:solidFill>
              <a:srgbClr val="112351"/>
            </a:solidFill>
            <a:prstDash val="solid"/>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标题 8"/>
          <p:cNvSpPr>
            <a:spLocks noGrp="1"/>
          </p:cNvSpPr>
          <p:nvPr>
            <p:ph type="title"/>
          </p:nvPr>
        </p:nvSpPr>
        <p:spPr>
          <a:xfrm>
            <a:off x="479425" y="152405"/>
            <a:ext cx="10340975" cy="755646"/>
          </a:xfrm>
        </p:spPr>
        <p:txBody>
          <a:bodyPr/>
          <a:lstStyle/>
          <a:p>
            <a:r>
              <a:rPr lang="zh-CN" altLang="en-US" sz="3200"/>
              <a:t>目录</a:t>
            </a:r>
            <a:endParaRPr lang="zh-CN" altLang="en-US" sz="3200"/>
          </a:p>
        </p:txBody>
      </p:sp>
      <p:grpSp>
        <p:nvGrpSpPr>
          <p:cNvPr id="18" name="组合 17"/>
          <p:cNvGrpSpPr/>
          <p:nvPr>
            <p:custDataLst>
              <p:tags r:id="rId2"/>
            </p:custDataLst>
          </p:nvPr>
        </p:nvGrpSpPr>
        <p:grpSpPr>
          <a:xfrm>
            <a:off x="691497" y="2460333"/>
            <a:ext cx="10809006" cy="864096"/>
            <a:chOff x="691497" y="1435625"/>
            <a:chExt cx="10809006" cy="864096"/>
          </a:xfrm>
        </p:grpSpPr>
        <p:sp>
          <p:nvSpPr>
            <p:cNvPr id="55" name="矩形 54"/>
            <p:cNvSpPr/>
            <p:nvPr>
              <p:custDataLst>
                <p:tags r:id="rId3"/>
              </p:custDataLst>
            </p:nvPr>
          </p:nvSpPr>
          <p:spPr>
            <a:xfrm>
              <a:off x="1802414" y="1435625"/>
              <a:ext cx="9698089" cy="864096"/>
            </a:xfrm>
            <a:prstGeom prst="rect">
              <a:avLst/>
            </a:prstGeom>
            <a:gradFill>
              <a:gsLst>
                <a:gs pos="100000">
                  <a:schemeClr val="accent1">
                    <a:alpha val="0"/>
                  </a:schemeClr>
                </a:gs>
                <a:gs pos="0">
                  <a:schemeClr val="accent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6" name="矩形 55"/>
            <p:cNvSpPr/>
            <p:nvPr>
              <p:custDataLst>
                <p:tags r:id="rId4"/>
              </p:custDataLst>
            </p:nvPr>
          </p:nvSpPr>
          <p:spPr>
            <a:xfrm>
              <a:off x="1797345" y="1435625"/>
              <a:ext cx="204688" cy="864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57" name="Rectangle 23"/>
            <p:cNvSpPr/>
            <p:nvPr>
              <p:custDataLst>
                <p:tags r:id="rId5"/>
              </p:custDataLst>
            </p:nvPr>
          </p:nvSpPr>
          <p:spPr>
            <a:xfrm>
              <a:off x="2094266" y="1483498"/>
              <a:ext cx="8709506" cy="768350"/>
            </a:xfrm>
            <a:prstGeom prst="rect">
              <a:avLst/>
            </a:prstGeom>
          </p:spPr>
          <p:txBody>
            <a:bodyPr wrap="square" anchor="ctr">
              <a:spAutoFit/>
            </a:bodyPr>
            <a:lstStyle/>
            <a:p>
              <a:pPr marL="0" marR="0" lvl="0" indent="0" algn="l" defTabSz="914400" rtl="0" eaLnBrk="1" fontAlgn="auto" latinLnBrk="0" hangingPunct="1">
                <a:spcBef>
                  <a:spcPts val="0"/>
                </a:spcBef>
                <a:spcAft>
                  <a:spcPts val="0"/>
                </a:spcAft>
                <a:buClrTx/>
                <a:buSzTx/>
                <a:buFontTx/>
                <a:buNone/>
                <a:defRPr/>
              </a:pPr>
              <a:r>
                <a:rPr kumimoji="0" lang="zh-CN" altLang="en-US"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面临耐药难题：</a:t>
              </a:r>
              <a:endPar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indent="0" algn="l" defTabSz="914400" rtl="0" eaLnBrk="1" fontAlgn="auto" latinLnBrk="0" hangingPunct="1">
                <a:spcBef>
                  <a:spcPts val="0"/>
                </a:spcBef>
                <a:spcAft>
                  <a:spcPts val="0"/>
                </a:spcAft>
                <a:buClrTx/>
                <a:buSzTx/>
                <a:buFontTx/>
                <a:buNone/>
                <a:defRPr/>
              </a:pPr>
              <a:r>
                <a:rPr lang="zh-CN" altLang="en-US" sz="2000" b="1" dirty="0">
                  <a:solidFill>
                    <a:schemeClr val="tx2"/>
                  </a:solidFill>
                  <a:cs typeface="+mn-ea"/>
                  <a:sym typeface="+mn-lt"/>
                </a:rPr>
                <a:t>产</a:t>
              </a:r>
              <a:r>
                <a:rPr lang="en-US" altLang="zh-CN" sz="2000" b="1" dirty="0">
                  <a:solidFill>
                    <a:schemeClr val="tx2"/>
                  </a:solidFill>
                  <a:cs typeface="+mn-ea"/>
                  <a:sym typeface="+mn-lt"/>
                </a:rPr>
                <a:t>MBL-CRE/SMA</a:t>
              </a:r>
              <a:r>
                <a:rPr lang="zh-CN" altLang="en-US" sz="2000" b="1" dirty="0">
                  <a:solidFill>
                    <a:schemeClr val="tx2"/>
                  </a:solidFill>
                  <a:cs typeface="+mn-ea"/>
                  <a:sym typeface="+mn-lt"/>
                </a:rPr>
                <a:t>流行病学，分类及当前面临的治疗挑战</a:t>
              </a:r>
              <a:endPar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58" name="组合 57"/>
            <p:cNvGrpSpPr/>
            <p:nvPr/>
          </p:nvGrpSpPr>
          <p:grpSpPr>
            <a:xfrm>
              <a:off x="691497" y="1435625"/>
              <a:ext cx="864097" cy="864096"/>
              <a:chOff x="705418" y="1773516"/>
              <a:chExt cx="864097" cy="864096"/>
            </a:xfrm>
          </p:grpSpPr>
          <p:sp>
            <p:nvSpPr>
              <p:cNvPr id="69" name="弧形 68"/>
              <p:cNvSpPr/>
              <p:nvPr>
                <p:custDataLst>
                  <p:tags r:id="rId6"/>
                </p:custDataLst>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accent1">
                        <a:alpha val="0"/>
                      </a:schemeClr>
                    </a:gs>
                    <a:gs pos="0">
                      <a:schemeClr val="accent1"/>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0" name="弧形 69"/>
              <p:cNvSpPr/>
              <p:nvPr>
                <p:custDataLst>
                  <p:tags r:id="rId7"/>
                </p:custDataLst>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accent1">
                        <a:alpha val="0"/>
                      </a:schemeClr>
                    </a:gs>
                    <a:gs pos="0">
                      <a:schemeClr val="accent1"/>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1" name="弧形 70"/>
              <p:cNvSpPr/>
              <p:nvPr>
                <p:custDataLst>
                  <p:tags r:id="rId8"/>
                </p:custDataLst>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2" name="弧形 71"/>
              <p:cNvSpPr/>
              <p:nvPr>
                <p:custDataLst>
                  <p:tags r:id="rId9"/>
                </p:custDataLst>
              </p:nvPr>
            </p:nvSpPr>
            <p:spPr>
              <a:xfrm rot="16200000" flipH="1">
                <a:off x="705419"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3" name="išļíde"/>
              <p:cNvSpPr txBox="1">
                <a:spLocks noChangeArrowheads="1"/>
              </p:cNvSpPr>
              <p:nvPr>
                <p:custDataLst>
                  <p:tags r:id="rId10"/>
                </p:custDataLst>
              </p:nvPr>
            </p:nvSpPr>
            <p:spPr bwMode="auto">
              <a:xfrm>
                <a:off x="779768" y="1974732"/>
                <a:ext cx="7153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0</a:t>
                </a:r>
                <a:r>
                  <a:rPr kumimoji="0" lang="en-US" altLang="zh-CN" sz="1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 </a:t>
                </a: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1</a:t>
                </a:r>
                <a:endPar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endParaRPr>
              </a:p>
            </p:txBody>
          </p:sp>
        </p:grpSp>
        <p:grpSp>
          <p:nvGrpSpPr>
            <p:cNvPr id="59" name="组合 58"/>
            <p:cNvGrpSpPr/>
            <p:nvPr/>
          </p:nvGrpSpPr>
          <p:grpSpPr>
            <a:xfrm>
              <a:off x="10829357" y="1644429"/>
              <a:ext cx="421683" cy="446488"/>
              <a:chOff x="12548053" y="990349"/>
              <a:chExt cx="1781174" cy="1885950"/>
            </a:xfrm>
            <a:solidFill>
              <a:schemeClr val="accent1"/>
            </a:solidFill>
          </p:grpSpPr>
          <p:sp>
            <p:nvSpPr>
              <p:cNvPr id="60" name="任意多边形: 形状 59"/>
              <p:cNvSpPr/>
              <p:nvPr>
                <p:custDataLst>
                  <p:tags r:id="rId11"/>
                </p:custDataLst>
              </p:nvPr>
            </p:nvSpPr>
            <p:spPr>
              <a:xfrm>
                <a:off x="12824278" y="1314199"/>
                <a:ext cx="1489086" cy="1562100"/>
              </a:xfrm>
              <a:custGeom>
                <a:avLst/>
                <a:gdLst>
                  <a:gd name="connsiteX0" fmla="*/ 609600 w 1489086"/>
                  <a:gd name="connsiteY0" fmla="*/ 165101 h 1562100"/>
                  <a:gd name="connsiteX1" fmla="*/ 1057275 w 1489086"/>
                  <a:gd name="connsiteY1" fmla="*/ 612776 h 1562100"/>
                  <a:gd name="connsiteX2" fmla="*/ 822324 w 1489086"/>
                  <a:gd name="connsiteY2" fmla="*/ 1006474 h 1562100"/>
                  <a:gd name="connsiteX3" fmla="*/ 736599 w 1489086"/>
                  <a:gd name="connsiteY3" fmla="*/ 1054099 h 1562100"/>
                  <a:gd name="connsiteX4" fmla="*/ 736599 w 1489086"/>
                  <a:gd name="connsiteY4" fmla="*/ 1120774 h 1562100"/>
                  <a:gd name="connsiteX5" fmla="*/ 482599 w 1489086"/>
                  <a:gd name="connsiteY5" fmla="*/ 1120774 h 1562100"/>
                  <a:gd name="connsiteX6" fmla="*/ 482599 w 1489086"/>
                  <a:gd name="connsiteY6" fmla="*/ 1054099 h 1562100"/>
                  <a:gd name="connsiteX7" fmla="*/ 396874 w 1489086"/>
                  <a:gd name="connsiteY7" fmla="*/ 1006474 h 1562100"/>
                  <a:gd name="connsiteX8" fmla="*/ 161925 w 1489086"/>
                  <a:gd name="connsiteY8" fmla="*/ 612776 h 1562100"/>
                  <a:gd name="connsiteX9" fmla="*/ 609600 w 1489086"/>
                  <a:gd name="connsiteY9" fmla="*/ 165101 h 1562100"/>
                  <a:gd name="connsiteX10" fmla="*/ 609600 w 1489086"/>
                  <a:gd name="connsiteY10" fmla="*/ 0 h 1562100"/>
                  <a:gd name="connsiteX11" fmla="*/ 0 w 1489086"/>
                  <a:gd name="connsiteY11" fmla="*/ 609600 h 1562100"/>
                  <a:gd name="connsiteX12" fmla="*/ 320674 w 1489086"/>
                  <a:gd name="connsiteY12" fmla="*/ 1146176 h 1562100"/>
                  <a:gd name="connsiteX13" fmla="*/ 320674 w 1489086"/>
                  <a:gd name="connsiteY13" fmla="*/ 1222376 h 1562100"/>
                  <a:gd name="connsiteX14" fmla="*/ 377824 w 1489086"/>
                  <a:gd name="connsiteY14" fmla="*/ 1279526 h 1562100"/>
                  <a:gd name="connsiteX15" fmla="*/ 844549 w 1489086"/>
                  <a:gd name="connsiteY15" fmla="*/ 1279526 h 1562100"/>
                  <a:gd name="connsiteX16" fmla="*/ 901699 w 1489086"/>
                  <a:gd name="connsiteY16" fmla="*/ 1222376 h 1562100"/>
                  <a:gd name="connsiteX17" fmla="*/ 901699 w 1489086"/>
                  <a:gd name="connsiteY17" fmla="*/ 1149349 h 1562100"/>
                  <a:gd name="connsiteX18" fmla="*/ 1222374 w 1489086"/>
                  <a:gd name="connsiteY18" fmla="*/ 612776 h 1562100"/>
                  <a:gd name="connsiteX19" fmla="*/ 609600 w 1489086"/>
                  <a:gd name="connsiteY19" fmla="*/ 0 h 1562100"/>
                  <a:gd name="connsiteX20" fmla="*/ 892174 w 1489086"/>
                  <a:gd name="connsiteY20" fmla="*/ 1327151 h 1562100"/>
                  <a:gd name="connsiteX21" fmla="*/ 330199 w 1489086"/>
                  <a:gd name="connsiteY21" fmla="*/ 1327151 h 1562100"/>
                  <a:gd name="connsiteX22" fmla="*/ 282574 w 1489086"/>
                  <a:gd name="connsiteY22" fmla="*/ 1374776 h 1562100"/>
                  <a:gd name="connsiteX23" fmla="*/ 282574 w 1489086"/>
                  <a:gd name="connsiteY23" fmla="*/ 1377949 h 1562100"/>
                  <a:gd name="connsiteX24" fmla="*/ 330199 w 1489086"/>
                  <a:gd name="connsiteY24" fmla="*/ 1425574 h 1562100"/>
                  <a:gd name="connsiteX25" fmla="*/ 892174 w 1489086"/>
                  <a:gd name="connsiteY25" fmla="*/ 1425574 h 1562100"/>
                  <a:gd name="connsiteX26" fmla="*/ 939799 w 1489086"/>
                  <a:gd name="connsiteY26" fmla="*/ 1377949 h 1562100"/>
                  <a:gd name="connsiteX27" fmla="*/ 939799 w 1489086"/>
                  <a:gd name="connsiteY27" fmla="*/ 1374776 h 1562100"/>
                  <a:gd name="connsiteX28" fmla="*/ 892174 w 1489086"/>
                  <a:gd name="connsiteY28" fmla="*/ 1327151 h 1562100"/>
                  <a:gd name="connsiteX29" fmla="*/ 825499 w 1489086"/>
                  <a:gd name="connsiteY29" fmla="*/ 1463674 h 1562100"/>
                  <a:gd name="connsiteX30" fmla="*/ 393699 w 1489086"/>
                  <a:gd name="connsiteY30" fmla="*/ 1463674 h 1562100"/>
                  <a:gd name="connsiteX31" fmla="*/ 346074 w 1489086"/>
                  <a:gd name="connsiteY31" fmla="*/ 1511299 h 1562100"/>
                  <a:gd name="connsiteX32" fmla="*/ 346074 w 1489086"/>
                  <a:gd name="connsiteY32" fmla="*/ 1514475 h 1562100"/>
                  <a:gd name="connsiteX33" fmla="*/ 393699 w 1489086"/>
                  <a:gd name="connsiteY33" fmla="*/ 1562100 h 1562100"/>
                  <a:gd name="connsiteX34" fmla="*/ 825499 w 1489086"/>
                  <a:gd name="connsiteY34" fmla="*/ 1562100 h 1562100"/>
                  <a:gd name="connsiteX35" fmla="*/ 873124 w 1489086"/>
                  <a:gd name="connsiteY35" fmla="*/ 1514475 h 1562100"/>
                  <a:gd name="connsiteX36" fmla="*/ 873124 w 1489086"/>
                  <a:gd name="connsiteY36" fmla="*/ 1511299 h 1562100"/>
                  <a:gd name="connsiteX37" fmla="*/ 825499 w 1489086"/>
                  <a:gd name="connsiteY37" fmla="*/ 1463674 h 1562100"/>
                  <a:gd name="connsiteX38" fmla="*/ 1419225 w 1489086"/>
                  <a:gd name="connsiteY38" fmla="*/ 298451 h 1562100"/>
                  <a:gd name="connsiteX39" fmla="*/ 1400175 w 1489086"/>
                  <a:gd name="connsiteY39" fmla="*/ 339724 h 1562100"/>
                  <a:gd name="connsiteX40" fmla="*/ 1339849 w 1489086"/>
                  <a:gd name="connsiteY40" fmla="*/ 365126 h 1562100"/>
                  <a:gd name="connsiteX41" fmla="*/ 1298574 w 1489086"/>
                  <a:gd name="connsiteY41" fmla="*/ 346076 h 1562100"/>
                  <a:gd name="connsiteX42" fmla="*/ 1317624 w 1489086"/>
                  <a:gd name="connsiteY42" fmla="*/ 304800 h 1562100"/>
                  <a:gd name="connsiteX43" fmla="*/ 1377949 w 1489086"/>
                  <a:gd name="connsiteY43" fmla="*/ 279401 h 1562100"/>
                  <a:gd name="connsiteX44" fmla="*/ 1419225 w 1489086"/>
                  <a:gd name="connsiteY44" fmla="*/ 298451 h 1562100"/>
                  <a:gd name="connsiteX45" fmla="*/ 1482724 w 1489086"/>
                  <a:gd name="connsiteY45" fmla="*/ 276225 h 1562100"/>
                  <a:gd name="connsiteX46" fmla="*/ 1355724 w 1489086"/>
                  <a:gd name="connsiteY46" fmla="*/ 222251 h 1562100"/>
                  <a:gd name="connsiteX47" fmla="*/ 1295400 w 1489086"/>
                  <a:gd name="connsiteY47" fmla="*/ 247650 h 1562100"/>
                  <a:gd name="connsiteX48" fmla="*/ 1241424 w 1489086"/>
                  <a:gd name="connsiteY48" fmla="*/ 374651 h 1562100"/>
                  <a:gd name="connsiteX49" fmla="*/ 1368424 w 1489086"/>
                  <a:gd name="connsiteY49" fmla="*/ 428625 h 1562100"/>
                  <a:gd name="connsiteX50" fmla="*/ 1428750 w 1489086"/>
                  <a:gd name="connsiteY50" fmla="*/ 403226 h 1562100"/>
                  <a:gd name="connsiteX51" fmla="*/ 1482724 w 1489086"/>
                  <a:gd name="connsiteY51" fmla="*/ 276225 h 156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9086" h="1562100">
                    <a:moveTo>
                      <a:pt x="609600" y="165101"/>
                    </a:moveTo>
                    <a:cubicBezTo>
                      <a:pt x="857250" y="165101"/>
                      <a:pt x="1057275" y="365126"/>
                      <a:pt x="1057275" y="612776"/>
                    </a:cubicBezTo>
                    <a:cubicBezTo>
                      <a:pt x="1057275" y="777874"/>
                      <a:pt x="968374" y="927101"/>
                      <a:pt x="822324" y="1006474"/>
                    </a:cubicBezTo>
                    <a:lnTo>
                      <a:pt x="736599" y="1054099"/>
                    </a:lnTo>
                    <a:lnTo>
                      <a:pt x="736599" y="1120774"/>
                    </a:lnTo>
                    <a:lnTo>
                      <a:pt x="482599" y="1120774"/>
                    </a:lnTo>
                    <a:lnTo>
                      <a:pt x="482599" y="1054099"/>
                    </a:lnTo>
                    <a:lnTo>
                      <a:pt x="396874" y="1006474"/>
                    </a:lnTo>
                    <a:cubicBezTo>
                      <a:pt x="253999" y="927101"/>
                      <a:pt x="161925" y="777874"/>
                      <a:pt x="161925" y="612776"/>
                    </a:cubicBezTo>
                    <a:cubicBezTo>
                      <a:pt x="165099" y="365126"/>
                      <a:pt x="365124" y="165101"/>
                      <a:pt x="609600" y="165101"/>
                    </a:cubicBezTo>
                    <a:moveTo>
                      <a:pt x="609600" y="0"/>
                    </a:moveTo>
                    <a:cubicBezTo>
                      <a:pt x="273049" y="0"/>
                      <a:pt x="0" y="273049"/>
                      <a:pt x="0" y="609600"/>
                    </a:cubicBezTo>
                    <a:cubicBezTo>
                      <a:pt x="0" y="841376"/>
                      <a:pt x="130174" y="1044574"/>
                      <a:pt x="320674" y="1146176"/>
                    </a:cubicBezTo>
                    <a:lnTo>
                      <a:pt x="320674" y="1222376"/>
                    </a:lnTo>
                    <a:cubicBezTo>
                      <a:pt x="320674" y="1254124"/>
                      <a:pt x="346074" y="1279526"/>
                      <a:pt x="377824" y="1279526"/>
                    </a:cubicBezTo>
                    <a:lnTo>
                      <a:pt x="844549" y="1279526"/>
                    </a:lnTo>
                    <a:cubicBezTo>
                      <a:pt x="876300" y="1279526"/>
                      <a:pt x="901699" y="1254124"/>
                      <a:pt x="901699" y="1222376"/>
                    </a:cubicBezTo>
                    <a:lnTo>
                      <a:pt x="901699" y="1149349"/>
                    </a:lnTo>
                    <a:cubicBezTo>
                      <a:pt x="1092199" y="1044574"/>
                      <a:pt x="1222374" y="844549"/>
                      <a:pt x="1222374" y="612776"/>
                    </a:cubicBezTo>
                    <a:cubicBezTo>
                      <a:pt x="1222374" y="273049"/>
                      <a:pt x="946149" y="0"/>
                      <a:pt x="609600" y="0"/>
                    </a:cubicBezTo>
                    <a:close/>
                    <a:moveTo>
                      <a:pt x="892174" y="1327151"/>
                    </a:moveTo>
                    <a:lnTo>
                      <a:pt x="330199" y="1327151"/>
                    </a:lnTo>
                    <a:cubicBezTo>
                      <a:pt x="304800" y="1327151"/>
                      <a:pt x="282574" y="1349374"/>
                      <a:pt x="282574" y="1374776"/>
                    </a:cubicBezTo>
                    <a:lnTo>
                      <a:pt x="282574" y="1377949"/>
                    </a:lnTo>
                    <a:cubicBezTo>
                      <a:pt x="282574" y="1403351"/>
                      <a:pt x="304800" y="1425574"/>
                      <a:pt x="330199" y="1425574"/>
                    </a:cubicBezTo>
                    <a:lnTo>
                      <a:pt x="892174" y="1425574"/>
                    </a:lnTo>
                    <a:cubicBezTo>
                      <a:pt x="917574" y="1425574"/>
                      <a:pt x="939799" y="1403351"/>
                      <a:pt x="939799" y="1377949"/>
                    </a:cubicBezTo>
                    <a:lnTo>
                      <a:pt x="939799" y="1374776"/>
                    </a:lnTo>
                    <a:cubicBezTo>
                      <a:pt x="939799" y="1349374"/>
                      <a:pt x="917574" y="1327151"/>
                      <a:pt x="892174" y="1327151"/>
                    </a:cubicBezTo>
                    <a:close/>
                    <a:moveTo>
                      <a:pt x="825499" y="1463674"/>
                    </a:moveTo>
                    <a:lnTo>
                      <a:pt x="393699" y="1463674"/>
                    </a:lnTo>
                    <a:cubicBezTo>
                      <a:pt x="368299" y="1463674"/>
                      <a:pt x="346074" y="1485900"/>
                      <a:pt x="346074" y="1511299"/>
                    </a:cubicBezTo>
                    <a:lnTo>
                      <a:pt x="346074" y="1514475"/>
                    </a:lnTo>
                    <a:cubicBezTo>
                      <a:pt x="346074" y="1539869"/>
                      <a:pt x="368299" y="1562100"/>
                      <a:pt x="393699" y="1562100"/>
                    </a:cubicBezTo>
                    <a:lnTo>
                      <a:pt x="825499" y="1562100"/>
                    </a:lnTo>
                    <a:cubicBezTo>
                      <a:pt x="850899" y="1562100"/>
                      <a:pt x="873124" y="1539869"/>
                      <a:pt x="873124" y="1514475"/>
                    </a:cubicBezTo>
                    <a:lnTo>
                      <a:pt x="873124" y="1511299"/>
                    </a:lnTo>
                    <a:cubicBezTo>
                      <a:pt x="873124" y="1485900"/>
                      <a:pt x="850899" y="1463674"/>
                      <a:pt x="825499" y="1463674"/>
                    </a:cubicBezTo>
                    <a:close/>
                    <a:moveTo>
                      <a:pt x="1419225" y="298451"/>
                    </a:moveTo>
                    <a:cubicBezTo>
                      <a:pt x="1425574" y="314325"/>
                      <a:pt x="1416049" y="333375"/>
                      <a:pt x="1400175" y="339724"/>
                    </a:cubicBezTo>
                    <a:lnTo>
                      <a:pt x="1339849" y="365126"/>
                    </a:lnTo>
                    <a:cubicBezTo>
                      <a:pt x="1323975" y="371475"/>
                      <a:pt x="1304925" y="361950"/>
                      <a:pt x="1298574" y="346076"/>
                    </a:cubicBezTo>
                    <a:cubicBezTo>
                      <a:pt x="1292224" y="330199"/>
                      <a:pt x="1301749" y="311149"/>
                      <a:pt x="1317624" y="304800"/>
                    </a:cubicBezTo>
                    <a:lnTo>
                      <a:pt x="1377949" y="279401"/>
                    </a:lnTo>
                    <a:cubicBezTo>
                      <a:pt x="1393824" y="276225"/>
                      <a:pt x="1412874" y="282574"/>
                      <a:pt x="1419225" y="298451"/>
                    </a:cubicBezTo>
                    <a:moveTo>
                      <a:pt x="1482724" y="276225"/>
                    </a:moveTo>
                    <a:cubicBezTo>
                      <a:pt x="1463674" y="225424"/>
                      <a:pt x="1403349" y="200025"/>
                      <a:pt x="1355724" y="222251"/>
                    </a:cubicBezTo>
                    <a:lnTo>
                      <a:pt x="1295400" y="247650"/>
                    </a:lnTo>
                    <a:cubicBezTo>
                      <a:pt x="1244599" y="266700"/>
                      <a:pt x="1219200" y="327026"/>
                      <a:pt x="1241424" y="374651"/>
                    </a:cubicBezTo>
                    <a:cubicBezTo>
                      <a:pt x="1260474" y="425449"/>
                      <a:pt x="1320799" y="450851"/>
                      <a:pt x="1368424" y="428625"/>
                    </a:cubicBezTo>
                    <a:lnTo>
                      <a:pt x="1428750" y="403226"/>
                    </a:lnTo>
                    <a:cubicBezTo>
                      <a:pt x="1476375" y="384176"/>
                      <a:pt x="1501774" y="323850"/>
                      <a:pt x="1482724" y="276225"/>
                    </a:cubicBezTo>
                    <a:close/>
                  </a:path>
                </a:pathLst>
              </a:custGeom>
              <a:grpFill/>
              <a:ln w="1860" cap="flat">
                <a:noFill/>
                <a:prstDash val="solid"/>
                <a:miter/>
              </a:ln>
            </p:spPr>
            <p:txBody>
              <a:bodyPr rtlCol="0" anchor="ctr"/>
              <a:lstStyle/>
              <a:p>
                <a:endParaRPr lang="zh-CN" altLang="en-US"/>
              </a:p>
            </p:txBody>
          </p:sp>
          <p:sp>
            <p:nvSpPr>
              <p:cNvPr id="61" name="任意多边形: 形状 60"/>
              <p:cNvSpPr/>
              <p:nvPr>
                <p:custDataLst>
                  <p:tags r:id="rId12"/>
                </p:custDataLst>
              </p:nvPr>
            </p:nvSpPr>
            <p:spPr>
              <a:xfrm>
                <a:off x="13767870" y="1146542"/>
                <a:ext cx="561357" cy="618508"/>
              </a:xfrm>
              <a:custGeom>
                <a:avLst/>
                <a:gdLst>
                  <a:gd name="connsiteX0" fmla="*/ 386733 w 561357"/>
                  <a:gd name="connsiteY0" fmla="*/ 618508 h 618508"/>
                  <a:gd name="connsiteX1" fmla="*/ 278782 w 561357"/>
                  <a:gd name="connsiteY1" fmla="*/ 545482 h 618508"/>
                  <a:gd name="connsiteX2" fmla="*/ 278782 w 561357"/>
                  <a:gd name="connsiteY2" fmla="*/ 456583 h 618508"/>
                  <a:gd name="connsiteX3" fmla="*/ 342283 w 561357"/>
                  <a:gd name="connsiteY3" fmla="*/ 396258 h 618508"/>
                  <a:gd name="connsiteX4" fmla="*/ 402607 w 561357"/>
                  <a:gd name="connsiteY4" fmla="*/ 374032 h 618508"/>
                  <a:gd name="connsiteX5" fmla="*/ 491508 w 561357"/>
                  <a:gd name="connsiteY5" fmla="*/ 374032 h 618508"/>
                  <a:gd name="connsiteX6" fmla="*/ 551833 w 561357"/>
                  <a:gd name="connsiteY6" fmla="*/ 437533 h 618508"/>
                  <a:gd name="connsiteX7" fmla="*/ 551833 w 561357"/>
                  <a:gd name="connsiteY7" fmla="*/ 526432 h 618508"/>
                  <a:gd name="connsiteX8" fmla="*/ 488332 w 561357"/>
                  <a:gd name="connsiteY8" fmla="*/ 586758 h 618508"/>
                  <a:gd name="connsiteX9" fmla="*/ 428008 w 561357"/>
                  <a:gd name="connsiteY9" fmla="*/ 612157 h 618508"/>
                  <a:gd name="connsiteX10" fmla="*/ 386733 w 561357"/>
                  <a:gd name="connsiteY10" fmla="*/ 618508 h 618508"/>
                  <a:gd name="connsiteX11" fmla="*/ 447058 w 561357"/>
                  <a:gd name="connsiteY11" fmla="*/ 396258 h 618508"/>
                  <a:gd name="connsiteX12" fmla="*/ 415308 w 561357"/>
                  <a:gd name="connsiteY12" fmla="*/ 402607 h 618508"/>
                  <a:gd name="connsiteX13" fmla="*/ 354982 w 561357"/>
                  <a:gd name="connsiteY13" fmla="*/ 428008 h 618508"/>
                  <a:gd name="connsiteX14" fmla="*/ 310533 w 561357"/>
                  <a:gd name="connsiteY14" fmla="*/ 472458 h 618508"/>
                  <a:gd name="connsiteX15" fmla="*/ 310533 w 561357"/>
                  <a:gd name="connsiteY15" fmla="*/ 535957 h 618508"/>
                  <a:gd name="connsiteX16" fmla="*/ 418483 w 561357"/>
                  <a:gd name="connsiteY16" fmla="*/ 580408 h 618508"/>
                  <a:gd name="connsiteX17" fmla="*/ 478807 w 561357"/>
                  <a:gd name="connsiteY17" fmla="*/ 555007 h 618508"/>
                  <a:gd name="connsiteX18" fmla="*/ 523258 w 561357"/>
                  <a:gd name="connsiteY18" fmla="*/ 510558 h 618508"/>
                  <a:gd name="connsiteX19" fmla="*/ 523258 w 561357"/>
                  <a:gd name="connsiteY19" fmla="*/ 447058 h 618508"/>
                  <a:gd name="connsiteX20" fmla="*/ 478807 w 561357"/>
                  <a:gd name="connsiteY20" fmla="*/ 402607 h 618508"/>
                  <a:gd name="connsiteX21" fmla="*/ 447058 w 561357"/>
                  <a:gd name="connsiteY21" fmla="*/ 396258 h 618508"/>
                  <a:gd name="connsiteX22" fmla="*/ 386733 w 561357"/>
                  <a:gd name="connsiteY22" fmla="*/ 551833 h 618508"/>
                  <a:gd name="connsiteX23" fmla="*/ 367683 w 561357"/>
                  <a:gd name="connsiteY23" fmla="*/ 548658 h 618508"/>
                  <a:gd name="connsiteX24" fmla="*/ 342283 w 561357"/>
                  <a:gd name="connsiteY24" fmla="*/ 523258 h 618508"/>
                  <a:gd name="connsiteX25" fmla="*/ 342283 w 561357"/>
                  <a:gd name="connsiteY25" fmla="*/ 485158 h 618508"/>
                  <a:gd name="connsiteX26" fmla="*/ 367683 w 561357"/>
                  <a:gd name="connsiteY26" fmla="*/ 459757 h 618508"/>
                  <a:gd name="connsiteX27" fmla="*/ 428008 w 561357"/>
                  <a:gd name="connsiteY27" fmla="*/ 434358 h 618508"/>
                  <a:gd name="connsiteX28" fmla="*/ 466108 w 561357"/>
                  <a:gd name="connsiteY28" fmla="*/ 434358 h 618508"/>
                  <a:gd name="connsiteX29" fmla="*/ 491508 w 561357"/>
                  <a:gd name="connsiteY29" fmla="*/ 459757 h 618508"/>
                  <a:gd name="connsiteX30" fmla="*/ 462933 w 561357"/>
                  <a:gd name="connsiteY30" fmla="*/ 523258 h 618508"/>
                  <a:gd name="connsiteX31" fmla="*/ 402607 w 561357"/>
                  <a:gd name="connsiteY31" fmla="*/ 548658 h 618508"/>
                  <a:gd name="connsiteX32" fmla="*/ 386733 w 561357"/>
                  <a:gd name="connsiteY32" fmla="*/ 551833 h 618508"/>
                  <a:gd name="connsiteX33" fmla="*/ 447058 w 561357"/>
                  <a:gd name="connsiteY33" fmla="*/ 462933 h 618508"/>
                  <a:gd name="connsiteX34" fmla="*/ 440707 w 561357"/>
                  <a:gd name="connsiteY34" fmla="*/ 462933 h 618508"/>
                  <a:gd name="connsiteX35" fmla="*/ 380383 w 561357"/>
                  <a:gd name="connsiteY35" fmla="*/ 488332 h 618508"/>
                  <a:gd name="connsiteX36" fmla="*/ 370858 w 561357"/>
                  <a:gd name="connsiteY36" fmla="*/ 497857 h 618508"/>
                  <a:gd name="connsiteX37" fmla="*/ 370858 w 561357"/>
                  <a:gd name="connsiteY37" fmla="*/ 510558 h 618508"/>
                  <a:gd name="connsiteX38" fmla="*/ 380383 w 561357"/>
                  <a:gd name="connsiteY38" fmla="*/ 520083 h 618508"/>
                  <a:gd name="connsiteX39" fmla="*/ 393082 w 561357"/>
                  <a:gd name="connsiteY39" fmla="*/ 520083 h 618508"/>
                  <a:gd name="connsiteX40" fmla="*/ 453408 w 561357"/>
                  <a:gd name="connsiteY40" fmla="*/ 494683 h 618508"/>
                  <a:gd name="connsiteX41" fmla="*/ 462933 w 561357"/>
                  <a:gd name="connsiteY41" fmla="*/ 472458 h 618508"/>
                  <a:gd name="connsiteX42" fmla="*/ 453408 w 561357"/>
                  <a:gd name="connsiteY42" fmla="*/ 462933 h 618508"/>
                  <a:gd name="connsiteX43" fmla="*/ 447058 w 561357"/>
                  <a:gd name="connsiteY43" fmla="*/ 462933 h 618508"/>
                  <a:gd name="connsiteX44" fmla="*/ 148608 w 561357"/>
                  <a:gd name="connsiteY44" fmla="*/ 69232 h 618508"/>
                  <a:gd name="connsiteX45" fmla="*/ 158133 w 561357"/>
                  <a:gd name="connsiteY45" fmla="*/ 113683 h 618508"/>
                  <a:gd name="connsiteX46" fmla="*/ 123208 w 561357"/>
                  <a:gd name="connsiteY46" fmla="*/ 167658 h 618508"/>
                  <a:gd name="connsiteX47" fmla="*/ 78757 w 561357"/>
                  <a:gd name="connsiteY47" fmla="*/ 177183 h 618508"/>
                  <a:gd name="connsiteX48" fmla="*/ 69232 w 561357"/>
                  <a:gd name="connsiteY48" fmla="*/ 132733 h 618508"/>
                  <a:gd name="connsiteX49" fmla="*/ 104158 w 561357"/>
                  <a:gd name="connsiteY49" fmla="*/ 78757 h 618508"/>
                  <a:gd name="connsiteX50" fmla="*/ 148608 w 561357"/>
                  <a:gd name="connsiteY50" fmla="*/ 69232 h 618508"/>
                  <a:gd name="connsiteX51" fmla="*/ 186708 w 561357"/>
                  <a:gd name="connsiteY51" fmla="*/ 15258 h 618508"/>
                  <a:gd name="connsiteX52" fmla="*/ 50182 w 561357"/>
                  <a:gd name="connsiteY52" fmla="*/ 43833 h 618508"/>
                  <a:gd name="connsiteX53" fmla="*/ 15258 w 561357"/>
                  <a:gd name="connsiteY53" fmla="*/ 97807 h 618508"/>
                  <a:gd name="connsiteX54" fmla="*/ 43833 w 561357"/>
                  <a:gd name="connsiteY54" fmla="*/ 234333 h 618508"/>
                  <a:gd name="connsiteX55" fmla="*/ 180358 w 561357"/>
                  <a:gd name="connsiteY55" fmla="*/ 205758 h 618508"/>
                  <a:gd name="connsiteX56" fmla="*/ 215283 w 561357"/>
                  <a:gd name="connsiteY56" fmla="*/ 151783 h 618508"/>
                  <a:gd name="connsiteX57" fmla="*/ 186708 w 561357"/>
                  <a:gd name="connsiteY57" fmla="*/ 15258 h 61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1357" h="618508">
                    <a:moveTo>
                      <a:pt x="386733" y="618508"/>
                    </a:moveTo>
                    <a:cubicBezTo>
                      <a:pt x="342283" y="618508"/>
                      <a:pt x="297832" y="589934"/>
                      <a:pt x="278782" y="545482"/>
                    </a:cubicBezTo>
                    <a:cubicBezTo>
                      <a:pt x="266083" y="516907"/>
                      <a:pt x="266083" y="485158"/>
                      <a:pt x="278782" y="456583"/>
                    </a:cubicBezTo>
                    <a:cubicBezTo>
                      <a:pt x="291483" y="428008"/>
                      <a:pt x="313708" y="405783"/>
                      <a:pt x="342283" y="396258"/>
                    </a:cubicBezTo>
                    <a:lnTo>
                      <a:pt x="402607" y="374032"/>
                    </a:lnTo>
                    <a:cubicBezTo>
                      <a:pt x="431182" y="361333"/>
                      <a:pt x="462933" y="361333"/>
                      <a:pt x="491508" y="374032"/>
                    </a:cubicBezTo>
                    <a:cubicBezTo>
                      <a:pt x="520083" y="386733"/>
                      <a:pt x="542308" y="408958"/>
                      <a:pt x="551833" y="437533"/>
                    </a:cubicBezTo>
                    <a:cubicBezTo>
                      <a:pt x="564532" y="466108"/>
                      <a:pt x="564532" y="497857"/>
                      <a:pt x="551833" y="526432"/>
                    </a:cubicBezTo>
                    <a:cubicBezTo>
                      <a:pt x="539133" y="555007"/>
                      <a:pt x="516907" y="577233"/>
                      <a:pt x="488332" y="586758"/>
                    </a:cubicBezTo>
                    <a:lnTo>
                      <a:pt x="428008" y="612157"/>
                    </a:lnTo>
                    <a:cubicBezTo>
                      <a:pt x="415308" y="615333"/>
                      <a:pt x="399433" y="618508"/>
                      <a:pt x="386733" y="618508"/>
                    </a:cubicBezTo>
                    <a:close/>
                    <a:moveTo>
                      <a:pt x="447058" y="396258"/>
                    </a:moveTo>
                    <a:cubicBezTo>
                      <a:pt x="437533" y="396258"/>
                      <a:pt x="424833" y="399433"/>
                      <a:pt x="415308" y="402607"/>
                    </a:cubicBezTo>
                    <a:lnTo>
                      <a:pt x="354982" y="428008"/>
                    </a:lnTo>
                    <a:cubicBezTo>
                      <a:pt x="335932" y="437533"/>
                      <a:pt x="320058" y="453408"/>
                      <a:pt x="310533" y="472458"/>
                    </a:cubicBezTo>
                    <a:cubicBezTo>
                      <a:pt x="301008" y="491508"/>
                      <a:pt x="301008" y="513733"/>
                      <a:pt x="310533" y="535957"/>
                    </a:cubicBezTo>
                    <a:cubicBezTo>
                      <a:pt x="326407" y="577233"/>
                      <a:pt x="374032" y="599458"/>
                      <a:pt x="418483" y="580408"/>
                    </a:cubicBezTo>
                    <a:lnTo>
                      <a:pt x="478807" y="555007"/>
                    </a:lnTo>
                    <a:cubicBezTo>
                      <a:pt x="497857" y="545482"/>
                      <a:pt x="513733" y="529608"/>
                      <a:pt x="523258" y="510558"/>
                    </a:cubicBezTo>
                    <a:cubicBezTo>
                      <a:pt x="532783" y="491508"/>
                      <a:pt x="532783" y="469282"/>
                      <a:pt x="523258" y="447058"/>
                    </a:cubicBezTo>
                    <a:cubicBezTo>
                      <a:pt x="513733" y="428008"/>
                      <a:pt x="497857" y="412132"/>
                      <a:pt x="478807" y="402607"/>
                    </a:cubicBezTo>
                    <a:cubicBezTo>
                      <a:pt x="469282" y="399433"/>
                      <a:pt x="456583" y="396258"/>
                      <a:pt x="447058" y="396258"/>
                    </a:cubicBezTo>
                    <a:close/>
                    <a:moveTo>
                      <a:pt x="386733" y="551833"/>
                    </a:moveTo>
                    <a:cubicBezTo>
                      <a:pt x="380383" y="551833"/>
                      <a:pt x="374032" y="551833"/>
                      <a:pt x="367683" y="548658"/>
                    </a:cubicBezTo>
                    <a:cubicBezTo>
                      <a:pt x="354982" y="542308"/>
                      <a:pt x="345457" y="532784"/>
                      <a:pt x="342283" y="523258"/>
                    </a:cubicBezTo>
                    <a:cubicBezTo>
                      <a:pt x="335932" y="510558"/>
                      <a:pt x="339108" y="497857"/>
                      <a:pt x="342283" y="485158"/>
                    </a:cubicBezTo>
                    <a:cubicBezTo>
                      <a:pt x="348633" y="472458"/>
                      <a:pt x="358158" y="462933"/>
                      <a:pt x="367683" y="459757"/>
                    </a:cubicBezTo>
                    <a:lnTo>
                      <a:pt x="428008" y="434358"/>
                    </a:lnTo>
                    <a:cubicBezTo>
                      <a:pt x="440707" y="428008"/>
                      <a:pt x="453408" y="431182"/>
                      <a:pt x="466108" y="434358"/>
                    </a:cubicBezTo>
                    <a:cubicBezTo>
                      <a:pt x="478807" y="437533"/>
                      <a:pt x="488332" y="450232"/>
                      <a:pt x="491508" y="459757"/>
                    </a:cubicBezTo>
                    <a:cubicBezTo>
                      <a:pt x="501033" y="485158"/>
                      <a:pt x="488332" y="513733"/>
                      <a:pt x="462933" y="523258"/>
                    </a:cubicBezTo>
                    <a:lnTo>
                      <a:pt x="402607" y="548658"/>
                    </a:lnTo>
                    <a:cubicBezTo>
                      <a:pt x="399433" y="551833"/>
                      <a:pt x="393082" y="551833"/>
                      <a:pt x="386733" y="551833"/>
                    </a:cubicBezTo>
                    <a:close/>
                    <a:moveTo>
                      <a:pt x="447058" y="462933"/>
                    </a:moveTo>
                    <a:lnTo>
                      <a:pt x="440707" y="462933"/>
                    </a:lnTo>
                    <a:lnTo>
                      <a:pt x="380383" y="488332"/>
                    </a:lnTo>
                    <a:cubicBezTo>
                      <a:pt x="377208" y="488332"/>
                      <a:pt x="374032" y="491508"/>
                      <a:pt x="370858" y="497857"/>
                    </a:cubicBezTo>
                    <a:cubicBezTo>
                      <a:pt x="367683" y="501033"/>
                      <a:pt x="367683" y="507382"/>
                      <a:pt x="370858" y="510558"/>
                    </a:cubicBezTo>
                    <a:cubicBezTo>
                      <a:pt x="374032" y="513733"/>
                      <a:pt x="374032" y="516907"/>
                      <a:pt x="380383" y="520083"/>
                    </a:cubicBezTo>
                    <a:cubicBezTo>
                      <a:pt x="383557" y="523258"/>
                      <a:pt x="389908" y="523258"/>
                      <a:pt x="393082" y="520083"/>
                    </a:cubicBezTo>
                    <a:lnTo>
                      <a:pt x="453408" y="494683"/>
                    </a:lnTo>
                    <a:cubicBezTo>
                      <a:pt x="462933" y="491508"/>
                      <a:pt x="466108" y="481983"/>
                      <a:pt x="462933" y="472458"/>
                    </a:cubicBezTo>
                    <a:lnTo>
                      <a:pt x="453408" y="462933"/>
                    </a:lnTo>
                    <a:lnTo>
                      <a:pt x="447058" y="462933"/>
                    </a:lnTo>
                    <a:close/>
                    <a:moveTo>
                      <a:pt x="148608" y="69232"/>
                    </a:moveTo>
                    <a:cubicBezTo>
                      <a:pt x="164482" y="78757"/>
                      <a:pt x="167658" y="100983"/>
                      <a:pt x="158133" y="113683"/>
                    </a:cubicBezTo>
                    <a:lnTo>
                      <a:pt x="123208" y="167658"/>
                    </a:lnTo>
                    <a:cubicBezTo>
                      <a:pt x="113683" y="183532"/>
                      <a:pt x="91458" y="186708"/>
                      <a:pt x="78757" y="177183"/>
                    </a:cubicBezTo>
                    <a:cubicBezTo>
                      <a:pt x="62883" y="167658"/>
                      <a:pt x="59707" y="145432"/>
                      <a:pt x="69232" y="132733"/>
                    </a:cubicBezTo>
                    <a:lnTo>
                      <a:pt x="104158" y="78757"/>
                    </a:lnTo>
                    <a:cubicBezTo>
                      <a:pt x="113683" y="62883"/>
                      <a:pt x="135907" y="59707"/>
                      <a:pt x="148608" y="69232"/>
                    </a:cubicBezTo>
                    <a:moveTo>
                      <a:pt x="186708" y="15258"/>
                    </a:moveTo>
                    <a:cubicBezTo>
                      <a:pt x="142258" y="-13317"/>
                      <a:pt x="78757" y="-617"/>
                      <a:pt x="50182" y="43833"/>
                    </a:cubicBezTo>
                    <a:lnTo>
                      <a:pt x="15258" y="97807"/>
                    </a:lnTo>
                    <a:cubicBezTo>
                      <a:pt x="-13317" y="142258"/>
                      <a:pt x="-617" y="205758"/>
                      <a:pt x="43833" y="234333"/>
                    </a:cubicBezTo>
                    <a:cubicBezTo>
                      <a:pt x="88282" y="262908"/>
                      <a:pt x="151783" y="250207"/>
                      <a:pt x="180358" y="205758"/>
                    </a:cubicBezTo>
                    <a:lnTo>
                      <a:pt x="215283" y="151783"/>
                    </a:lnTo>
                    <a:cubicBezTo>
                      <a:pt x="243858" y="104158"/>
                      <a:pt x="231157" y="43833"/>
                      <a:pt x="186708" y="15258"/>
                    </a:cubicBezTo>
                    <a:close/>
                  </a:path>
                </a:pathLst>
              </a:custGeom>
              <a:grpFill/>
              <a:ln w="1860" cap="flat">
                <a:noFill/>
                <a:prstDash val="solid"/>
                <a:miter/>
              </a:ln>
            </p:spPr>
            <p:txBody>
              <a:bodyPr rtlCol="0" anchor="ctr"/>
              <a:lstStyle/>
              <a:p>
                <a:endParaRPr lang="zh-CN" altLang="en-US"/>
              </a:p>
            </p:txBody>
          </p:sp>
          <p:sp>
            <p:nvSpPr>
              <p:cNvPr id="62" name="任意多边形: 形状 61"/>
              <p:cNvSpPr/>
              <p:nvPr>
                <p:custDataLst>
                  <p:tags r:id="rId13"/>
                </p:custDataLst>
              </p:nvPr>
            </p:nvSpPr>
            <p:spPr>
              <a:xfrm>
                <a:off x="13341802" y="1006224"/>
                <a:ext cx="669183" cy="406400"/>
              </a:xfrm>
              <a:custGeom>
                <a:avLst/>
                <a:gdLst>
                  <a:gd name="connsiteX0" fmla="*/ 520701 w 669183"/>
                  <a:gd name="connsiteY0" fmla="*/ 406401 h 406400"/>
                  <a:gd name="connsiteX1" fmla="*/ 457200 w 669183"/>
                  <a:gd name="connsiteY1" fmla="*/ 387351 h 406400"/>
                  <a:gd name="connsiteX2" fmla="*/ 409575 w 669183"/>
                  <a:gd name="connsiteY2" fmla="*/ 314324 h 406400"/>
                  <a:gd name="connsiteX3" fmla="*/ 425451 w 669183"/>
                  <a:gd name="connsiteY3" fmla="*/ 228599 h 406400"/>
                  <a:gd name="connsiteX4" fmla="*/ 460376 w 669183"/>
                  <a:gd name="connsiteY4" fmla="*/ 174625 h 406400"/>
                  <a:gd name="connsiteX5" fmla="*/ 619125 w 669183"/>
                  <a:gd name="connsiteY5" fmla="*/ 142875 h 406400"/>
                  <a:gd name="connsiteX6" fmla="*/ 666750 w 669183"/>
                  <a:gd name="connsiteY6" fmla="*/ 215901 h 406400"/>
                  <a:gd name="connsiteX7" fmla="*/ 650876 w 669183"/>
                  <a:gd name="connsiteY7" fmla="*/ 301626 h 406400"/>
                  <a:gd name="connsiteX8" fmla="*/ 619125 w 669183"/>
                  <a:gd name="connsiteY8" fmla="*/ 355600 h 406400"/>
                  <a:gd name="connsiteX9" fmla="*/ 546101 w 669183"/>
                  <a:gd name="connsiteY9" fmla="*/ 403225 h 406400"/>
                  <a:gd name="connsiteX10" fmla="*/ 520701 w 669183"/>
                  <a:gd name="connsiteY10" fmla="*/ 406401 h 406400"/>
                  <a:gd name="connsiteX11" fmla="*/ 558801 w 669183"/>
                  <a:gd name="connsiteY11" fmla="*/ 155575 h 406400"/>
                  <a:gd name="connsiteX12" fmla="*/ 488951 w 669183"/>
                  <a:gd name="connsiteY12" fmla="*/ 193675 h 406400"/>
                  <a:gd name="connsiteX13" fmla="*/ 454026 w 669183"/>
                  <a:gd name="connsiteY13" fmla="*/ 247649 h 406400"/>
                  <a:gd name="connsiteX14" fmla="*/ 476250 w 669183"/>
                  <a:gd name="connsiteY14" fmla="*/ 361949 h 406400"/>
                  <a:gd name="connsiteX15" fmla="*/ 536576 w 669183"/>
                  <a:gd name="connsiteY15" fmla="*/ 374650 h 406400"/>
                  <a:gd name="connsiteX16" fmla="*/ 587376 w 669183"/>
                  <a:gd name="connsiteY16" fmla="*/ 339726 h 406400"/>
                  <a:gd name="connsiteX17" fmla="*/ 622301 w 669183"/>
                  <a:gd name="connsiteY17" fmla="*/ 285749 h 406400"/>
                  <a:gd name="connsiteX18" fmla="*/ 600075 w 669183"/>
                  <a:gd name="connsiteY18" fmla="*/ 171449 h 406400"/>
                  <a:gd name="connsiteX19" fmla="*/ 558801 w 669183"/>
                  <a:gd name="connsiteY19" fmla="*/ 155575 h 406400"/>
                  <a:gd name="connsiteX20" fmla="*/ 520701 w 669183"/>
                  <a:gd name="connsiteY20" fmla="*/ 339726 h 406400"/>
                  <a:gd name="connsiteX21" fmla="*/ 495300 w 669183"/>
                  <a:gd name="connsiteY21" fmla="*/ 330201 h 406400"/>
                  <a:gd name="connsiteX22" fmla="*/ 473076 w 669183"/>
                  <a:gd name="connsiteY22" fmla="*/ 298450 h 406400"/>
                  <a:gd name="connsiteX23" fmla="*/ 479426 w 669183"/>
                  <a:gd name="connsiteY23" fmla="*/ 260350 h 406400"/>
                  <a:gd name="connsiteX24" fmla="*/ 514350 w 669183"/>
                  <a:gd name="connsiteY24" fmla="*/ 206376 h 406400"/>
                  <a:gd name="connsiteX25" fmla="*/ 584201 w 669183"/>
                  <a:gd name="connsiteY25" fmla="*/ 193675 h 406400"/>
                  <a:gd name="connsiteX26" fmla="*/ 606426 w 669183"/>
                  <a:gd name="connsiteY26" fmla="*/ 225426 h 406400"/>
                  <a:gd name="connsiteX27" fmla="*/ 600075 w 669183"/>
                  <a:gd name="connsiteY27" fmla="*/ 263526 h 406400"/>
                  <a:gd name="connsiteX28" fmla="*/ 565151 w 669183"/>
                  <a:gd name="connsiteY28" fmla="*/ 317500 h 406400"/>
                  <a:gd name="connsiteX29" fmla="*/ 533400 w 669183"/>
                  <a:gd name="connsiteY29" fmla="*/ 339726 h 406400"/>
                  <a:gd name="connsiteX30" fmla="*/ 520701 w 669183"/>
                  <a:gd name="connsiteY30" fmla="*/ 339726 h 406400"/>
                  <a:gd name="connsiteX31" fmla="*/ 558801 w 669183"/>
                  <a:gd name="connsiteY31" fmla="*/ 219074 h 406400"/>
                  <a:gd name="connsiteX32" fmla="*/ 546101 w 669183"/>
                  <a:gd name="connsiteY32" fmla="*/ 225426 h 406400"/>
                  <a:gd name="connsiteX33" fmla="*/ 511176 w 669183"/>
                  <a:gd name="connsiteY33" fmla="*/ 279400 h 406400"/>
                  <a:gd name="connsiteX34" fmla="*/ 508001 w 669183"/>
                  <a:gd name="connsiteY34" fmla="*/ 292101 h 406400"/>
                  <a:gd name="connsiteX35" fmla="*/ 514350 w 669183"/>
                  <a:gd name="connsiteY35" fmla="*/ 301626 h 406400"/>
                  <a:gd name="connsiteX36" fmla="*/ 527051 w 669183"/>
                  <a:gd name="connsiteY36" fmla="*/ 304799 h 406400"/>
                  <a:gd name="connsiteX37" fmla="*/ 536576 w 669183"/>
                  <a:gd name="connsiteY37" fmla="*/ 298450 h 406400"/>
                  <a:gd name="connsiteX38" fmla="*/ 571500 w 669183"/>
                  <a:gd name="connsiteY38" fmla="*/ 244476 h 406400"/>
                  <a:gd name="connsiteX39" fmla="*/ 574676 w 669183"/>
                  <a:gd name="connsiteY39" fmla="*/ 231775 h 406400"/>
                  <a:gd name="connsiteX40" fmla="*/ 568326 w 669183"/>
                  <a:gd name="connsiteY40" fmla="*/ 222250 h 406400"/>
                  <a:gd name="connsiteX41" fmla="*/ 558801 w 669183"/>
                  <a:gd name="connsiteY41" fmla="*/ 219074 h 406400"/>
                  <a:gd name="connsiteX42" fmla="*/ 98426 w 669183"/>
                  <a:gd name="connsiteY42" fmla="*/ 66675 h 406400"/>
                  <a:gd name="connsiteX43" fmla="*/ 130176 w 669183"/>
                  <a:gd name="connsiteY43" fmla="*/ 98425 h 406400"/>
                  <a:gd name="connsiteX44" fmla="*/ 130176 w 669183"/>
                  <a:gd name="connsiteY44" fmla="*/ 165100 h 406400"/>
                  <a:gd name="connsiteX45" fmla="*/ 98426 w 669183"/>
                  <a:gd name="connsiteY45" fmla="*/ 196851 h 406400"/>
                  <a:gd name="connsiteX46" fmla="*/ 66675 w 669183"/>
                  <a:gd name="connsiteY46" fmla="*/ 165100 h 406400"/>
                  <a:gd name="connsiteX47" fmla="*/ 66675 w 669183"/>
                  <a:gd name="connsiteY47" fmla="*/ 98425 h 406400"/>
                  <a:gd name="connsiteX48" fmla="*/ 98426 w 669183"/>
                  <a:gd name="connsiteY48" fmla="*/ 66675 h 406400"/>
                  <a:gd name="connsiteX49" fmla="*/ 98426 w 669183"/>
                  <a:gd name="connsiteY49" fmla="*/ 0 h 406400"/>
                  <a:gd name="connsiteX50" fmla="*/ 0 w 669183"/>
                  <a:gd name="connsiteY50" fmla="*/ 98425 h 406400"/>
                  <a:gd name="connsiteX51" fmla="*/ 0 w 669183"/>
                  <a:gd name="connsiteY51" fmla="*/ 165100 h 406400"/>
                  <a:gd name="connsiteX52" fmla="*/ 98426 w 669183"/>
                  <a:gd name="connsiteY52" fmla="*/ 263526 h 406400"/>
                  <a:gd name="connsiteX53" fmla="*/ 196851 w 669183"/>
                  <a:gd name="connsiteY53" fmla="*/ 165100 h 406400"/>
                  <a:gd name="connsiteX54" fmla="*/ 196851 w 669183"/>
                  <a:gd name="connsiteY54" fmla="*/ 98425 h 406400"/>
                  <a:gd name="connsiteX55" fmla="*/ 98426 w 669183"/>
                  <a:gd name="connsiteY55"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9183" h="406400">
                    <a:moveTo>
                      <a:pt x="520701" y="406401"/>
                    </a:moveTo>
                    <a:cubicBezTo>
                      <a:pt x="498476" y="406401"/>
                      <a:pt x="476250" y="400049"/>
                      <a:pt x="457200" y="387351"/>
                    </a:cubicBezTo>
                    <a:cubicBezTo>
                      <a:pt x="431801" y="371474"/>
                      <a:pt x="412751" y="346075"/>
                      <a:pt x="409575" y="314324"/>
                    </a:cubicBezTo>
                    <a:cubicBezTo>
                      <a:pt x="403226" y="282576"/>
                      <a:pt x="409575" y="254001"/>
                      <a:pt x="425451" y="228599"/>
                    </a:cubicBezTo>
                    <a:lnTo>
                      <a:pt x="460376" y="174625"/>
                    </a:lnTo>
                    <a:cubicBezTo>
                      <a:pt x="495300" y="120650"/>
                      <a:pt x="568326" y="107950"/>
                      <a:pt x="619125" y="142875"/>
                    </a:cubicBezTo>
                    <a:cubicBezTo>
                      <a:pt x="644526" y="158750"/>
                      <a:pt x="663576" y="184150"/>
                      <a:pt x="666750" y="215901"/>
                    </a:cubicBezTo>
                    <a:cubicBezTo>
                      <a:pt x="673101" y="247649"/>
                      <a:pt x="666750" y="276224"/>
                      <a:pt x="650876" y="301626"/>
                    </a:cubicBezTo>
                    <a:lnTo>
                      <a:pt x="619125" y="355600"/>
                    </a:lnTo>
                    <a:cubicBezTo>
                      <a:pt x="603251" y="380999"/>
                      <a:pt x="577851" y="400049"/>
                      <a:pt x="546101" y="403225"/>
                    </a:cubicBezTo>
                    <a:cubicBezTo>
                      <a:pt x="536576" y="406401"/>
                      <a:pt x="530226" y="406401"/>
                      <a:pt x="520701" y="406401"/>
                    </a:cubicBezTo>
                    <a:close/>
                    <a:moveTo>
                      <a:pt x="558801" y="155575"/>
                    </a:moveTo>
                    <a:cubicBezTo>
                      <a:pt x="533400" y="155575"/>
                      <a:pt x="504825" y="168276"/>
                      <a:pt x="488951" y="193675"/>
                    </a:cubicBezTo>
                    <a:lnTo>
                      <a:pt x="454026" y="247649"/>
                    </a:lnTo>
                    <a:cubicBezTo>
                      <a:pt x="428625" y="285749"/>
                      <a:pt x="438150" y="336550"/>
                      <a:pt x="476250" y="361949"/>
                    </a:cubicBezTo>
                    <a:cubicBezTo>
                      <a:pt x="495300" y="374650"/>
                      <a:pt x="517526" y="377826"/>
                      <a:pt x="536576" y="374650"/>
                    </a:cubicBezTo>
                    <a:cubicBezTo>
                      <a:pt x="558801" y="371474"/>
                      <a:pt x="577851" y="358776"/>
                      <a:pt x="587376" y="339726"/>
                    </a:cubicBezTo>
                    <a:lnTo>
                      <a:pt x="622301" y="285749"/>
                    </a:lnTo>
                    <a:cubicBezTo>
                      <a:pt x="647700" y="247649"/>
                      <a:pt x="638175" y="196851"/>
                      <a:pt x="600075" y="171449"/>
                    </a:cubicBezTo>
                    <a:cubicBezTo>
                      <a:pt x="590550" y="158750"/>
                      <a:pt x="574676" y="155575"/>
                      <a:pt x="558801" y="155575"/>
                    </a:cubicBezTo>
                    <a:close/>
                    <a:moveTo>
                      <a:pt x="520701" y="339726"/>
                    </a:moveTo>
                    <a:cubicBezTo>
                      <a:pt x="511176" y="339726"/>
                      <a:pt x="501651" y="336550"/>
                      <a:pt x="495300" y="330201"/>
                    </a:cubicBezTo>
                    <a:cubicBezTo>
                      <a:pt x="485775" y="323849"/>
                      <a:pt x="476250" y="311151"/>
                      <a:pt x="473076" y="298450"/>
                    </a:cubicBezTo>
                    <a:cubicBezTo>
                      <a:pt x="469901" y="285749"/>
                      <a:pt x="473076" y="273051"/>
                      <a:pt x="479426" y="260350"/>
                    </a:cubicBezTo>
                    <a:lnTo>
                      <a:pt x="514350" y="206376"/>
                    </a:lnTo>
                    <a:cubicBezTo>
                      <a:pt x="530226" y="184150"/>
                      <a:pt x="558801" y="177801"/>
                      <a:pt x="584201" y="193675"/>
                    </a:cubicBezTo>
                    <a:cubicBezTo>
                      <a:pt x="593726" y="200024"/>
                      <a:pt x="603251" y="212725"/>
                      <a:pt x="606426" y="225426"/>
                    </a:cubicBezTo>
                    <a:cubicBezTo>
                      <a:pt x="609600" y="238124"/>
                      <a:pt x="606426" y="250825"/>
                      <a:pt x="600075" y="263526"/>
                    </a:cubicBezTo>
                    <a:lnTo>
                      <a:pt x="565151" y="317500"/>
                    </a:lnTo>
                    <a:cubicBezTo>
                      <a:pt x="558801" y="327025"/>
                      <a:pt x="546101" y="336550"/>
                      <a:pt x="533400" y="339726"/>
                    </a:cubicBezTo>
                    <a:lnTo>
                      <a:pt x="520701" y="339726"/>
                    </a:lnTo>
                    <a:close/>
                    <a:moveTo>
                      <a:pt x="558801" y="219074"/>
                    </a:moveTo>
                    <a:cubicBezTo>
                      <a:pt x="552450" y="219074"/>
                      <a:pt x="549276" y="222250"/>
                      <a:pt x="546101" y="225426"/>
                    </a:cubicBezTo>
                    <a:lnTo>
                      <a:pt x="511176" y="279400"/>
                    </a:lnTo>
                    <a:cubicBezTo>
                      <a:pt x="508001" y="282576"/>
                      <a:pt x="508001" y="285749"/>
                      <a:pt x="508001" y="292101"/>
                    </a:cubicBezTo>
                    <a:cubicBezTo>
                      <a:pt x="508001" y="295274"/>
                      <a:pt x="511176" y="301626"/>
                      <a:pt x="514350" y="301626"/>
                    </a:cubicBezTo>
                    <a:cubicBezTo>
                      <a:pt x="517526" y="304799"/>
                      <a:pt x="520701" y="304799"/>
                      <a:pt x="527051" y="304799"/>
                    </a:cubicBezTo>
                    <a:cubicBezTo>
                      <a:pt x="530226" y="304799"/>
                      <a:pt x="536576" y="301626"/>
                      <a:pt x="536576" y="298450"/>
                    </a:cubicBezTo>
                    <a:lnTo>
                      <a:pt x="571500" y="244476"/>
                    </a:lnTo>
                    <a:cubicBezTo>
                      <a:pt x="574676" y="241300"/>
                      <a:pt x="574676" y="238124"/>
                      <a:pt x="574676" y="231775"/>
                    </a:cubicBezTo>
                    <a:cubicBezTo>
                      <a:pt x="574676" y="228599"/>
                      <a:pt x="571500" y="222250"/>
                      <a:pt x="568326" y="222250"/>
                    </a:cubicBezTo>
                    <a:cubicBezTo>
                      <a:pt x="565151" y="222250"/>
                      <a:pt x="561975" y="219074"/>
                      <a:pt x="558801" y="219074"/>
                    </a:cubicBezTo>
                    <a:close/>
                    <a:moveTo>
                      <a:pt x="98426" y="66675"/>
                    </a:moveTo>
                    <a:cubicBezTo>
                      <a:pt x="117476" y="66675"/>
                      <a:pt x="130176" y="82550"/>
                      <a:pt x="130176" y="98425"/>
                    </a:cubicBezTo>
                    <a:lnTo>
                      <a:pt x="130176" y="165100"/>
                    </a:lnTo>
                    <a:cubicBezTo>
                      <a:pt x="130176" y="184150"/>
                      <a:pt x="114300" y="196851"/>
                      <a:pt x="98426" y="196851"/>
                    </a:cubicBezTo>
                    <a:cubicBezTo>
                      <a:pt x="79376" y="196851"/>
                      <a:pt x="66675" y="180974"/>
                      <a:pt x="66675" y="165100"/>
                    </a:cubicBezTo>
                    <a:lnTo>
                      <a:pt x="66675" y="98425"/>
                    </a:lnTo>
                    <a:cubicBezTo>
                      <a:pt x="66675" y="82550"/>
                      <a:pt x="79376" y="66675"/>
                      <a:pt x="98426" y="66675"/>
                    </a:cubicBezTo>
                    <a:moveTo>
                      <a:pt x="98426" y="0"/>
                    </a:moveTo>
                    <a:cubicBezTo>
                      <a:pt x="44451" y="0"/>
                      <a:pt x="0" y="44450"/>
                      <a:pt x="0" y="98425"/>
                    </a:cubicBezTo>
                    <a:lnTo>
                      <a:pt x="0" y="165100"/>
                    </a:lnTo>
                    <a:cubicBezTo>
                      <a:pt x="0" y="219074"/>
                      <a:pt x="44451" y="263526"/>
                      <a:pt x="98426" y="263526"/>
                    </a:cubicBezTo>
                    <a:cubicBezTo>
                      <a:pt x="152400" y="263526"/>
                      <a:pt x="196851" y="219074"/>
                      <a:pt x="196851" y="165100"/>
                    </a:cubicBezTo>
                    <a:lnTo>
                      <a:pt x="196851" y="98425"/>
                    </a:lnTo>
                    <a:cubicBezTo>
                      <a:pt x="196851" y="44450"/>
                      <a:pt x="152400" y="0"/>
                      <a:pt x="98426" y="0"/>
                    </a:cubicBezTo>
                    <a:close/>
                  </a:path>
                </a:pathLst>
              </a:custGeom>
              <a:grpFill/>
              <a:ln w="1860" cap="flat">
                <a:noFill/>
                <a:prstDash val="solid"/>
                <a:miter/>
              </a:ln>
            </p:spPr>
            <p:txBody>
              <a:bodyPr rtlCol="0" anchor="ctr"/>
              <a:lstStyle/>
              <a:p>
                <a:endParaRPr lang="zh-CN" altLang="en-US"/>
              </a:p>
            </p:txBody>
          </p:sp>
          <p:sp>
            <p:nvSpPr>
              <p:cNvPr id="63" name="任意多边形: 形状 62"/>
              <p:cNvSpPr/>
              <p:nvPr>
                <p:custDataLst>
                  <p:tags r:id="rId14"/>
                </p:custDataLst>
              </p:nvPr>
            </p:nvSpPr>
            <p:spPr>
              <a:xfrm>
                <a:off x="13325927" y="990349"/>
                <a:ext cx="228600" cy="295274"/>
              </a:xfrm>
              <a:custGeom>
                <a:avLst/>
                <a:gdLst>
                  <a:gd name="connsiteX0" fmla="*/ 114300 w 228600"/>
                  <a:gd name="connsiteY0" fmla="*/ 295275 h 295274"/>
                  <a:gd name="connsiteX1" fmla="*/ 0 w 228600"/>
                  <a:gd name="connsiteY1" fmla="*/ 180975 h 295274"/>
                  <a:gd name="connsiteX2" fmla="*/ 0 w 228600"/>
                  <a:gd name="connsiteY2" fmla="*/ 114300 h 295274"/>
                  <a:gd name="connsiteX3" fmla="*/ 114300 w 228600"/>
                  <a:gd name="connsiteY3" fmla="*/ 0 h 295274"/>
                  <a:gd name="connsiteX4" fmla="*/ 228600 w 228600"/>
                  <a:gd name="connsiteY4" fmla="*/ 114300 h 295274"/>
                  <a:gd name="connsiteX5" fmla="*/ 228600 w 228600"/>
                  <a:gd name="connsiteY5" fmla="*/ 180975 h 295274"/>
                  <a:gd name="connsiteX6" fmla="*/ 114300 w 228600"/>
                  <a:gd name="connsiteY6" fmla="*/ 295275 h 295274"/>
                  <a:gd name="connsiteX7" fmla="*/ 114300 w 228600"/>
                  <a:gd name="connsiteY7" fmla="*/ 31750 h 295274"/>
                  <a:gd name="connsiteX8" fmla="*/ 31751 w 228600"/>
                  <a:gd name="connsiteY8" fmla="*/ 114300 h 295274"/>
                  <a:gd name="connsiteX9" fmla="*/ 31751 w 228600"/>
                  <a:gd name="connsiteY9" fmla="*/ 180975 h 295274"/>
                  <a:gd name="connsiteX10" fmla="*/ 114300 w 228600"/>
                  <a:gd name="connsiteY10" fmla="*/ 263524 h 295274"/>
                  <a:gd name="connsiteX11" fmla="*/ 196849 w 228600"/>
                  <a:gd name="connsiteY11" fmla="*/ 180975 h 295274"/>
                  <a:gd name="connsiteX12" fmla="*/ 196849 w 228600"/>
                  <a:gd name="connsiteY12" fmla="*/ 114300 h 295274"/>
                  <a:gd name="connsiteX13" fmla="*/ 114300 w 228600"/>
                  <a:gd name="connsiteY13" fmla="*/ 31750 h 295274"/>
                  <a:gd name="connsiteX14" fmla="*/ 114300 w 228600"/>
                  <a:gd name="connsiteY14" fmla="*/ 228600 h 295274"/>
                  <a:gd name="connsiteX15" fmla="*/ 63499 w 228600"/>
                  <a:gd name="connsiteY15" fmla="*/ 177799 h 295274"/>
                  <a:gd name="connsiteX16" fmla="*/ 63499 w 228600"/>
                  <a:gd name="connsiteY16" fmla="*/ 114300 h 295274"/>
                  <a:gd name="connsiteX17" fmla="*/ 114300 w 228600"/>
                  <a:gd name="connsiteY17" fmla="*/ 63500 h 295274"/>
                  <a:gd name="connsiteX18" fmla="*/ 165101 w 228600"/>
                  <a:gd name="connsiteY18" fmla="*/ 114300 h 295274"/>
                  <a:gd name="connsiteX19" fmla="*/ 165101 w 228600"/>
                  <a:gd name="connsiteY19" fmla="*/ 180975 h 295274"/>
                  <a:gd name="connsiteX20" fmla="*/ 114300 w 228600"/>
                  <a:gd name="connsiteY20" fmla="*/ 228600 h 295274"/>
                  <a:gd name="connsiteX21" fmla="*/ 114300 w 228600"/>
                  <a:gd name="connsiteY21" fmla="*/ 98425 h 295274"/>
                  <a:gd name="connsiteX22" fmla="*/ 98426 w 228600"/>
                  <a:gd name="connsiteY22" fmla="*/ 114300 h 295274"/>
                  <a:gd name="connsiteX23" fmla="*/ 98426 w 228600"/>
                  <a:gd name="connsiteY23" fmla="*/ 180975 h 295274"/>
                  <a:gd name="connsiteX24" fmla="*/ 114300 w 228600"/>
                  <a:gd name="connsiteY24" fmla="*/ 196849 h 295274"/>
                  <a:gd name="connsiteX25" fmla="*/ 130174 w 228600"/>
                  <a:gd name="connsiteY25" fmla="*/ 180975 h 295274"/>
                  <a:gd name="connsiteX26" fmla="*/ 130174 w 228600"/>
                  <a:gd name="connsiteY26" fmla="*/ 114300 h 295274"/>
                  <a:gd name="connsiteX27" fmla="*/ 114300 w 228600"/>
                  <a:gd name="connsiteY27" fmla="*/ 98425 h 29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295274">
                    <a:moveTo>
                      <a:pt x="114300" y="295275"/>
                    </a:moveTo>
                    <a:cubicBezTo>
                      <a:pt x="50801" y="295275"/>
                      <a:pt x="0" y="244474"/>
                      <a:pt x="0" y="180975"/>
                    </a:cubicBezTo>
                    <a:lnTo>
                      <a:pt x="0" y="114300"/>
                    </a:lnTo>
                    <a:cubicBezTo>
                      <a:pt x="0" y="50800"/>
                      <a:pt x="50801" y="0"/>
                      <a:pt x="114300" y="0"/>
                    </a:cubicBezTo>
                    <a:cubicBezTo>
                      <a:pt x="177799" y="0"/>
                      <a:pt x="228600" y="50800"/>
                      <a:pt x="228600" y="114300"/>
                    </a:cubicBezTo>
                    <a:lnTo>
                      <a:pt x="228600" y="180975"/>
                    </a:lnTo>
                    <a:cubicBezTo>
                      <a:pt x="228600" y="244474"/>
                      <a:pt x="177799" y="295275"/>
                      <a:pt x="114300" y="295275"/>
                    </a:cubicBezTo>
                    <a:close/>
                    <a:moveTo>
                      <a:pt x="114300" y="31750"/>
                    </a:moveTo>
                    <a:cubicBezTo>
                      <a:pt x="69851" y="31750"/>
                      <a:pt x="31751" y="69850"/>
                      <a:pt x="31751" y="114300"/>
                    </a:cubicBezTo>
                    <a:lnTo>
                      <a:pt x="31751" y="180975"/>
                    </a:lnTo>
                    <a:cubicBezTo>
                      <a:pt x="31751" y="225424"/>
                      <a:pt x="69851" y="263524"/>
                      <a:pt x="114300" y="263524"/>
                    </a:cubicBezTo>
                    <a:cubicBezTo>
                      <a:pt x="158749" y="263524"/>
                      <a:pt x="196849" y="225424"/>
                      <a:pt x="196849" y="180975"/>
                    </a:cubicBezTo>
                    <a:lnTo>
                      <a:pt x="196849" y="114300"/>
                    </a:lnTo>
                    <a:cubicBezTo>
                      <a:pt x="196849" y="69850"/>
                      <a:pt x="158749" y="31750"/>
                      <a:pt x="114300" y="31750"/>
                    </a:cubicBezTo>
                    <a:close/>
                    <a:moveTo>
                      <a:pt x="114300" y="228600"/>
                    </a:moveTo>
                    <a:cubicBezTo>
                      <a:pt x="88901" y="228600"/>
                      <a:pt x="63499" y="206374"/>
                      <a:pt x="63499" y="177799"/>
                    </a:cubicBezTo>
                    <a:lnTo>
                      <a:pt x="63499" y="114300"/>
                    </a:lnTo>
                    <a:cubicBezTo>
                      <a:pt x="63499" y="88900"/>
                      <a:pt x="85725" y="63500"/>
                      <a:pt x="114300" y="63500"/>
                    </a:cubicBezTo>
                    <a:cubicBezTo>
                      <a:pt x="142875" y="63500"/>
                      <a:pt x="165101" y="85725"/>
                      <a:pt x="165101" y="114300"/>
                    </a:cubicBezTo>
                    <a:lnTo>
                      <a:pt x="165101" y="180975"/>
                    </a:lnTo>
                    <a:cubicBezTo>
                      <a:pt x="165101" y="206374"/>
                      <a:pt x="139699" y="228600"/>
                      <a:pt x="114300" y="228600"/>
                    </a:cubicBezTo>
                    <a:close/>
                    <a:moveTo>
                      <a:pt x="114300" y="98425"/>
                    </a:moveTo>
                    <a:cubicBezTo>
                      <a:pt x="104775" y="98425"/>
                      <a:pt x="98426" y="104775"/>
                      <a:pt x="98426" y="114300"/>
                    </a:cubicBezTo>
                    <a:lnTo>
                      <a:pt x="98426" y="180975"/>
                    </a:lnTo>
                    <a:cubicBezTo>
                      <a:pt x="98426" y="190500"/>
                      <a:pt x="104775" y="196849"/>
                      <a:pt x="114300" y="196849"/>
                    </a:cubicBezTo>
                    <a:cubicBezTo>
                      <a:pt x="123825" y="196849"/>
                      <a:pt x="130174" y="190500"/>
                      <a:pt x="130174" y="180975"/>
                    </a:cubicBezTo>
                    <a:lnTo>
                      <a:pt x="130174" y="114300"/>
                    </a:lnTo>
                    <a:cubicBezTo>
                      <a:pt x="130174" y="104775"/>
                      <a:pt x="123825" y="98425"/>
                      <a:pt x="114300" y="98425"/>
                    </a:cubicBezTo>
                    <a:close/>
                  </a:path>
                </a:pathLst>
              </a:custGeom>
              <a:grpFill/>
              <a:ln w="1860" cap="flat">
                <a:noFill/>
                <a:prstDash val="solid"/>
                <a:miter/>
              </a:ln>
            </p:spPr>
            <p:txBody>
              <a:bodyPr rtlCol="0" anchor="ctr"/>
              <a:lstStyle/>
              <a:p>
                <a:endParaRPr lang="zh-CN" altLang="en-US"/>
              </a:p>
            </p:txBody>
          </p:sp>
          <p:sp>
            <p:nvSpPr>
              <p:cNvPr id="64" name="任意多边形: 形状 63"/>
              <p:cNvSpPr/>
              <p:nvPr>
                <p:custDataLst>
                  <p:tags r:id="rId15"/>
                </p:custDataLst>
              </p:nvPr>
            </p:nvSpPr>
            <p:spPr>
              <a:xfrm>
                <a:off x="12882045" y="1144330"/>
                <a:ext cx="230540" cy="251802"/>
              </a:xfrm>
              <a:custGeom>
                <a:avLst/>
                <a:gdLst>
                  <a:gd name="connsiteX0" fmla="*/ 81933 w 230540"/>
                  <a:gd name="connsiteY0" fmla="*/ 71444 h 251802"/>
                  <a:gd name="connsiteX1" fmla="*/ 126382 w 230540"/>
                  <a:gd name="connsiteY1" fmla="*/ 80969 h 251802"/>
                  <a:gd name="connsiteX2" fmla="*/ 161308 w 230540"/>
                  <a:gd name="connsiteY2" fmla="*/ 134945 h 251802"/>
                  <a:gd name="connsiteX3" fmla="*/ 151783 w 230540"/>
                  <a:gd name="connsiteY3" fmla="*/ 179395 h 251802"/>
                  <a:gd name="connsiteX4" fmla="*/ 107332 w 230540"/>
                  <a:gd name="connsiteY4" fmla="*/ 169870 h 251802"/>
                  <a:gd name="connsiteX5" fmla="*/ 72408 w 230540"/>
                  <a:gd name="connsiteY5" fmla="*/ 115895 h 251802"/>
                  <a:gd name="connsiteX6" fmla="*/ 81933 w 230540"/>
                  <a:gd name="connsiteY6" fmla="*/ 71444 h 251802"/>
                  <a:gd name="connsiteX7" fmla="*/ 43833 w 230540"/>
                  <a:gd name="connsiteY7" fmla="*/ 17470 h 251802"/>
                  <a:gd name="connsiteX8" fmla="*/ 15258 w 230540"/>
                  <a:gd name="connsiteY8" fmla="*/ 153995 h 251802"/>
                  <a:gd name="connsiteX9" fmla="*/ 50182 w 230540"/>
                  <a:gd name="connsiteY9" fmla="*/ 207970 h 251802"/>
                  <a:gd name="connsiteX10" fmla="*/ 186708 w 230540"/>
                  <a:gd name="connsiteY10" fmla="*/ 236545 h 251802"/>
                  <a:gd name="connsiteX11" fmla="*/ 215283 w 230540"/>
                  <a:gd name="connsiteY11" fmla="*/ 100019 h 251802"/>
                  <a:gd name="connsiteX12" fmla="*/ 180358 w 230540"/>
                  <a:gd name="connsiteY12" fmla="*/ 46045 h 251802"/>
                  <a:gd name="connsiteX13" fmla="*/ 43833 w 230540"/>
                  <a:gd name="connsiteY13" fmla="*/ 17470 h 2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40" h="251802">
                    <a:moveTo>
                      <a:pt x="81933" y="71444"/>
                    </a:moveTo>
                    <a:cubicBezTo>
                      <a:pt x="97807" y="61919"/>
                      <a:pt x="116857" y="65095"/>
                      <a:pt x="126382" y="80969"/>
                    </a:cubicBezTo>
                    <a:lnTo>
                      <a:pt x="161308" y="134945"/>
                    </a:lnTo>
                    <a:cubicBezTo>
                      <a:pt x="170833" y="150820"/>
                      <a:pt x="167658" y="169870"/>
                      <a:pt x="151783" y="179395"/>
                    </a:cubicBezTo>
                    <a:cubicBezTo>
                      <a:pt x="135907" y="188920"/>
                      <a:pt x="116857" y="185744"/>
                      <a:pt x="107332" y="169870"/>
                    </a:cubicBezTo>
                    <a:lnTo>
                      <a:pt x="72408" y="115895"/>
                    </a:lnTo>
                    <a:cubicBezTo>
                      <a:pt x="62883" y="103195"/>
                      <a:pt x="66058" y="80969"/>
                      <a:pt x="81933" y="71444"/>
                    </a:cubicBezTo>
                    <a:moveTo>
                      <a:pt x="43833" y="17470"/>
                    </a:moveTo>
                    <a:cubicBezTo>
                      <a:pt x="-617" y="46045"/>
                      <a:pt x="-13317" y="106370"/>
                      <a:pt x="15258" y="153995"/>
                    </a:cubicBezTo>
                    <a:lnTo>
                      <a:pt x="50182" y="207970"/>
                    </a:lnTo>
                    <a:cubicBezTo>
                      <a:pt x="78757" y="252419"/>
                      <a:pt x="142258" y="265120"/>
                      <a:pt x="186708" y="236545"/>
                    </a:cubicBezTo>
                    <a:cubicBezTo>
                      <a:pt x="231157" y="207970"/>
                      <a:pt x="243858" y="144470"/>
                      <a:pt x="215283" y="100019"/>
                    </a:cubicBezTo>
                    <a:lnTo>
                      <a:pt x="180358" y="46045"/>
                    </a:lnTo>
                    <a:cubicBezTo>
                      <a:pt x="151783" y="-1580"/>
                      <a:pt x="88282" y="-14280"/>
                      <a:pt x="43833" y="17470"/>
                    </a:cubicBezTo>
                    <a:close/>
                  </a:path>
                </a:pathLst>
              </a:custGeom>
              <a:grpFill/>
              <a:ln w="1860" cap="flat">
                <a:noFill/>
                <a:prstDash val="solid"/>
                <a:miter/>
              </a:ln>
            </p:spPr>
            <p:txBody>
              <a:bodyPr rtlCol="0" anchor="ctr"/>
              <a:lstStyle/>
              <a:p>
                <a:endParaRPr lang="zh-CN" altLang="en-US"/>
              </a:p>
            </p:txBody>
          </p:sp>
          <p:sp>
            <p:nvSpPr>
              <p:cNvPr id="65" name="任意多边形: 形状 64"/>
              <p:cNvSpPr/>
              <p:nvPr>
                <p:custDataLst>
                  <p:tags r:id="rId16"/>
                </p:custDataLst>
              </p:nvPr>
            </p:nvSpPr>
            <p:spPr>
              <a:xfrm>
                <a:off x="12866347" y="1127616"/>
                <a:ext cx="265164" cy="285008"/>
              </a:xfrm>
              <a:custGeom>
                <a:avLst/>
                <a:gdLst>
                  <a:gd name="connsiteX0" fmla="*/ 151605 w 265164"/>
                  <a:gd name="connsiteY0" fmla="*/ 285009 h 285008"/>
                  <a:gd name="connsiteX1" fmla="*/ 129382 w 265164"/>
                  <a:gd name="connsiteY1" fmla="*/ 281833 h 285008"/>
                  <a:gd name="connsiteX2" fmla="*/ 56355 w 265164"/>
                  <a:gd name="connsiteY2" fmla="*/ 234208 h 285008"/>
                  <a:gd name="connsiteX3" fmla="*/ 21431 w 265164"/>
                  <a:gd name="connsiteY3" fmla="*/ 180234 h 285008"/>
                  <a:gd name="connsiteX4" fmla="*/ 2381 w 265164"/>
                  <a:gd name="connsiteY4" fmla="*/ 91333 h 285008"/>
                  <a:gd name="connsiteX5" fmla="*/ 50006 w 265164"/>
                  <a:gd name="connsiteY5" fmla="*/ 18308 h 285008"/>
                  <a:gd name="connsiteX6" fmla="*/ 135731 w 265164"/>
                  <a:gd name="connsiteY6" fmla="*/ 2433 h 285008"/>
                  <a:gd name="connsiteX7" fmla="*/ 208755 w 265164"/>
                  <a:gd name="connsiteY7" fmla="*/ 50058 h 285008"/>
                  <a:gd name="connsiteX8" fmla="*/ 246855 w 265164"/>
                  <a:gd name="connsiteY8" fmla="*/ 107208 h 285008"/>
                  <a:gd name="connsiteX9" fmla="*/ 262732 w 265164"/>
                  <a:gd name="connsiteY9" fmla="*/ 192933 h 285008"/>
                  <a:gd name="connsiteX10" fmla="*/ 215107 w 265164"/>
                  <a:gd name="connsiteY10" fmla="*/ 265959 h 285008"/>
                  <a:gd name="connsiteX11" fmla="*/ 151605 w 265164"/>
                  <a:gd name="connsiteY11" fmla="*/ 285009 h 285008"/>
                  <a:gd name="connsiteX12" fmla="*/ 113505 w 265164"/>
                  <a:gd name="connsiteY12" fmla="*/ 34183 h 285008"/>
                  <a:gd name="connsiteX13" fmla="*/ 69056 w 265164"/>
                  <a:gd name="connsiteY13" fmla="*/ 46884 h 285008"/>
                  <a:gd name="connsiteX14" fmla="*/ 34132 w 265164"/>
                  <a:gd name="connsiteY14" fmla="*/ 97683 h 285008"/>
                  <a:gd name="connsiteX15" fmla="*/ 46830 w 265164"/>
                  <a:gd name="connsiteY15" fmla="*/ 158008 h 285008"/>
                  <a:gd name="connsiteX16" fmla="*/ 81757 w 265164"/>
                  <a:gd name="connsiteY16" fmla="*/ 211983 h 285008"/>
                  <a:gd name="connsiteX17" fmla="*/ 132555 w 265164"/>
                  <a:gd name="connsiteY17" fmla="*/ 246909 h 285008"/>
                  <a:gd name="connsiteX18" fmla="*/ 192881 w 265164"/>
                  <a:gd name="connsiteY18" fmla="*/ 234208 h 285008"/>
                  <a:gd name="connsiteX19" fmla="*/ 215107 w 265164"/>
                  <a:gd name="connsiteY19" fmla="*/ 119908 h 285008"/>
                  <a:gd name="connsiteX20" fmla="*/ 180180 w 265164"/>
                  <a:gd name="connsiteY20" fmla="*/ 65934 h 285008"/>
                  <a:gd name="connsiteX21" fmla="*/ 113505 w 265164"/>
                  <a:gd name="connsiteY21" fmla="*/ 34183 h 285008"/>
                  <a:gd name="connsiteX22" fmla="*/ 151605 w 265164"/>
                  <a:gd name="connsiteY22" fmla="*/ 218334 h 285008"/>
                  <a:gd name="connsiteX23" fmla="*/ 110332 w 265164"/>
                  <a:gd name="connsiteY23" fmla="*/ 196108 h 285008"/>
                  <a:gd name="connsiteX24" fmla="*/ 75405 w 265164"/>
                  <a:gd name="connsiteY24" fmla="*/ 142134 h 285008"/>
                  <a:gd name="connsiteX25" fmla="*/ 65880 w 265164"/>
                  <a:gd name="connsiteY25" fmla="*/ 104034 h 285008"/>
                  <a:gd name="connsiteX26" fmla="*/ 88106 w 265164"/>
                  <a:gd name="connsiteY26" fmla="*/ 72283 h 285008"/>
                  <a:gd name="connsiteX27" fmla="*/ 126206 w 265164"/>
                  <a:gd name="connsiteY27" fmla="*/ 65934 h 285008"/>
                  <a:gd name="connsiteX28" fmla="*/ 157957 w 265164"/>
                  <a:gd name="connsiteY28" fmla="*/ 88158 h 285008"/>
                  <a:gd name="connsiteX29" fmla="*/ 192881 w 265164"/>
                  <a:gd name="connsiteY29" fmla="*/ 142134 h 285008"/>
                  <a:gd name="connsiteX30" fmla="*/ 199230 w 265164"/>
                  <a:gd name="connsiteY30" fmla="*/ 180234 h 285008"/>
                  <a:gd name="connsiteX31" fmla="*/ 177007 w 265164"/>
                  <a:gd name="connsiteY31" fmla="*/ 211983 h 285008"/>
                  <a:gd name="connsiteX32" fmla="*/ 151605 w 265164"/>
                  <a:gd name="connsiteY32" fmla="*/ 218334 h 285008"/>
                  <a:gd name="connsiteX33" fmla="*/ 113505 w 265164"/>
                  <a:gd name="connsiteY33" fmla="*/ 97683 h 285008"/>
                  <a:gd name="connsiteX34" fmla="*/ 103980 w 265164"/>
                  <a:gd name="connsiteY34" fmla="*/ 100858 h 285008"/>
                  <a:gd name="connsiteX35" fmla="*/ 97631 w 265164"/>
                  <a:gd name="connsiteY35" fmla="*/ 110383 h 285008"/>
                  <a:gd name="connsiteX36" fmla="*/ 100807 w 265164"/>
                  <a:gd name="connsiteY36" fmla="*/ 123084 h 285008"/>
                  <a:gd name="connsiteX37" fmla="*/ 135731 w 265164"/>
                  <a:gd name="connsiteY37" fmla="*/ 177058 h 285008"/>
                  <a:gd name="connsiteX38" fmla="*/ 157957 w 265164"/>
                  <a:gd name="connsiteY38" fmla="*/ 180234 h 285008"/>
                  <a:gd name="connsiteX39" fmla="*/ 164306 w 265164"/>
                  <a:gd name="connsiteY39" fmla="*/ 170709 h 285008"/>
                  <a:gd name="connsiteX40" fmla="*/ 161130 w 265164"/>
                  <a:gd name="connsiteY40" fmla="*/ 158008 h 285008"/>
                  <a:gd name="connsiteX41" fmla="*/ 129382 w 265164"/>
                  <a:gd name="connsiteY41" fmla="*/ 107208 h 285008"/>
                  <a:gd name="connsiteX42" fmla="*/ 119857 w 265164"/>
                  <a:gd name="connsiteY42" fmla="*/ 100858 h 285008"/>
                  <a:gd name="connsiteX43" fmla="*/ 113505 w 265164"/>
                  <a:gd name="connsiteY43" fmla="*/ 97683 h 28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5164" h="285008">
                    <a:moveTo>
                      <a:pt x="151605" y="285009"/>
                    </a:moveTo>
                    <a:cubicBezTo>
                      <a:pt x="145256" y="285009"/>
                      <a:pt x="135731" y="285009"/>
                      <a:pt x="129382" y="281833"/>
                    </a:cubicBezTo>
                    <a:cubicBezTo>
                      <a:pt x="97631" y="275484"/>
                      <a:pt x="72232" y="259608"/>
                      <a:pt x="56355" y="234208"/>
                    </a:cubicBezTo>
                    <a:lnTo>
                      <a:pt x="21431" y="180234"/>
                    </a:lnTo>
                    <a:cubicBezTo>
                      <a:pt x="2381" y="151659"/>
                      <a:pt x="-3968" y="123084"/>
                      <a:pt x="2381" y="91333"/>
                    </a:cubicBezTo>
                    <a:cubicBezTo>
                      <a:pt x="8730" y="59583"/>
                      <a:pt x="24607" y="34183"/>
                      <a:pt x="50006" y="18308"/>
                    </a:cubicBezTo>
                    <a:cubicBezTo>
                      <a:pt x="75405" y="2433"/>
                      <a:pt x="107156" y="-3917"/>
                      <a:pt x="135731" y="2433"/>
                    </a:cubicBezTo>
                    <a:cubicBezTo>
                      <a:pt x="167482" y="8783"/>
                      <a:pt x="192881" y="24658"/>
                      <a:pt x="208755" y="50058"/>
                    </a:cubicBezTo>
                    <a:lnTo>
                      <a:pt x="246855" y="107208"/>
                    </a:lnTo>
                    <a:cubicBezTo>
                      <a:pt x="262732" y="132609"/>
                      <a:pt x="269081" y="164358"/>
                      <a:pt x="262732" y="192933"/>
                    </a:cubicBezTo>
                    <a:cubicBezTo>
                      <a:pt x="256380" y="224683"/>
                      <a:pt x="240506" y="250083"/>
                      <a:pt x="215107" y="265959"/>
                    </a:cubicBezTo>
                    <a:cubicBezTo>
                      <a:pt x="196057" y="278658"/>
                      <a:pt x="173831" y="285009"/>
                      <a:pt x="151605" y="285009"/>
                    </a:cubicBezTo>
                    <a:close/>
                    <a:moveTo>
                      <a:pt x="113505" y="34183"/>
                    </a:moveTo>
                    <a:cubicBezTo>
                      <a:pt x="97631" y="34183"/>
                      <a:pt x="81757" y="37358"/>
                      <a:pt x="69056" y="46884"/>
                    </a:cubicBezTo>
                    <a:cubicBezTo>
                      <a:pt x="50006" y="59583"/>
                      <a:pt x="37305" y="78633"/>
                      <a:pt x="34132" y="97683"/>
                    </a:cubicBezTo>
                    <a:cubicBezTo>
                      <a:pt x="30956" y="119908"/>
                      <a:pt x="34132" y="142134"/>
                      <a:pt x="46830" y="158008"/>
                    </a:cubicBezTo>
                    <a:lnTo>
                      <a:pt x="81757" y="211983"/>
                    </a:lnTo>
                    <a:cubicBezTo>
                      <a:pt x="94455" y="231033"/>
                      <a:pt x="113505" y="243733"/>
                      <a:pt x="132555" y="246909"/>
                    </a:cubicBezTo>
                    <a:cubicBezTo>
                      <a:pt x="154781" y="250083"/>
                      <a:pt x="177007" y="246909"/>
                      <a:pt x="192881" y="234208"/>
                    </a:cubicBezTo>
                    <a:cubicBezTo>
                      <a:pt x="230981" y="208809"/>
                      <a:pt x="240506" y="158008"/>
                      <a:pt x="215107" y="119908"/>
                    </a:cubicBezTo>
                    <a:lnTo>
                      <a:pt x="180180" y="65934"/>
                    </a:lnTo>
                    <a:cubicBezTo>
                      <a:pt x="167482" y="46884"/>
                      <a:pt x="142080" y="34183"/>
                      <a:pt x="113505" y="34183"/>
                    </a:cubicBezTo>
                    <a:close/>
                    <a:moveTo>
                      <a:pt x="151605" y="218334"/>
                    </a:moveTo>
                    <a:cubicBezTo>
                      <a:pt x="135731" y="218334"/>
                      <a:pt x="119857" y="211983"/>
                      <a:pt x="110332" y="196108"/>
                    </a:cubicBezTo>
                    <a:lnTo>
                      <a:pt x="75405" y="142134"/>
                    </a:lnTo>
                    <a:cubicBezTo>
                      <a:pt x="65880" y="132609"/>
                      <a:pt x="62707" y="116733"/>
                      <a:pt x="65880" y="104034"/>
                    </a:cubicBezTo>
                    <a:cubicBezTo>
                      <a:pt x="69056" y="91333"/>
                      <a:pt x="75405" y="78633"/>
                      <a:pt x="88106" y="72283"/>
                    </a:cubicBezTo>
                    <a:cubicBezTo>
                      <a:pt x="97631" y="65934"/>
                      <a:pt x="113505" y="62758"/>
                      <a:pt x="126206" y="65934"/>
                    </a:cubicBezTo>
                    <a:cubicBezTo>
                      <a:pt x="138907" y="69108"/>
                      <a:pt x="151605" y="75459"/>
                      <a:pt x="157957" y="88158"/>
                    </a:cubicBezTo>
                    <a:lnTo>
                      <a:pt x="192881" y="142134"/>
                    </a:lnTo>
                    <a:cubicBezTo>
                      <a:pt x="199230" y="151659"/>
                      <a:pt x="202406" y="167533"/>
                      <a:pt x="199230" y="180234"/>
                    </a:cubicBezTo>
                    <a:cubicBezTo>
                      <a:pt x="196057" y="192933"/>
                      <a:pt x="189705" y="205633"/>
                      <a:pt x="177007" y="211983"/>
                    </a:cubicBezTo>
                    <a:cubicBezTo>
                      <a:pt x="170655" y="215158"/>
                      <a:pt x="161130" y="218334"/>
                      <a:pt x="151605" y="218334"/>
                    </a:cubicBezTo>
                    <a:close/>
                    <a:moveTo>
                      <a:pt x="113505" y="97683"/>
                    </a:moveTo>
                    <a:cubicBezTo>
                      <a:pt x="110332" y="97683"/>
                      <a:pt x="107156" y="97683"/>
                      <a:pt x="103980" y="100858"/>
                    </a:cubicBezTo>
                    <a:cubicBezTo>
                      <a:pt x="100807" y="104034"/>
                      <a:pt x="100807" y="107208"/>
                      <a:pt x="97631" y="110383"/>
                    </a:cubicBezTo>
                    <a:cubicBezTo>
                      <a:pt x="97631" y="113559"/>
                      <a:pt x="97631" y="119908"/>
                      <a:pt x="100807" y="123084"/>
                    </a:cubicBezTo>
                    <a:lnTo>
                      <a:pt x="135731" y="177058"/>
                    </a:lnTo>
                    <a:cubicBezTo>
                      <a:pt x="142080" y="183408"/>
                      <a:pt x="151605" y="186583"/>
                      <a:pt x="157957" y="180234"/>
                    </a:cubicBezTo>
                    <a:cubicBezTo>
                      <a:pt x="161130" y="177058"/>
                      <a:pt x="164306" y="173883"/>
                      <a:pt x="164306" y="170709"/>
                    </a:cubicBezTo>
                    <a:cubicBezTo>
                      <a:pt x="164306" y="167533"/>
                      <a:pt x="164306" y="161184"/>
                      <a:pt x="161130" y="158008"/>
                    </a:cubicBezTo>
                    <a:lnTo>
                      <a:pt x="129382" y="107208"/>
                    </a:lnTo>
                    <a:cubicBezTo>
                      <a:pt x="126206" y="104034"/>
                      <a:pt x="123030" y="100858"/>
                      <a:pt x="119857" y="100858"/>
                    </a:cubicBezTo>
                    <a:cubicBezTo>
                      <a:pt x="116681" y="97683"/>
                      <a:pt x="116681" y="97683"/>
                      <a:pt x="113505" y="97683"/>
                    </a:cubicBezTo>
                    <a:close/>
                  </a:path>
                </a:pathLst>
              </a:custGeom>
              <a:grpFill/>
              <a:ln w="1860" cap="flat">
                <a:noFill/>
                <a:prstDash val="solid"/>
                <a:miter/>
              </a:ln>
            </p:spPr>
            <p:txBody>
              <a:bodyPr rtlCol="0" anchor="ctr"/>
              <a:lstStyle/>
              <a:p>
                <a:endParaRPr lang="zh-CN" altLang="en-US"/>
              </a:p>
            </p:txBody>
          </p:sp>
          <p:sp>
            <p:nvSpPr>
              <p:cNvPr id="66" name="任意多边形: 形状 65"/>
              <p:cNvSpPr/>
              <p:nvPr>
                <p:custDataLst>
                  <p:tags r:id="rId17"/>
                </p:custDataLst>
              </p:nvPr>
            </p:nvSpPr>
            <p:spPr>
              <a:xfrm>
                <a:off x="12566693" y="1528363"/>
                <a:ext cx="257993" cy="221221"/>
              </a:xfrm>
              <a:custGeom>
                <a:avLst/>
                <a:gdLst>
                  <a:gd name="connsiteX0" fmla="*/ 70259 w 257993"/>
                  <a:gd name="connsiteY0" fmla="*/ 84288 h 221221"/>
                  <a:gd name="connsiteX1" fmla="*/ 111534 w 257993"/>
                  <a:gd name="connsiteY1" fmla="*/ 65237 h 221221"/>
                  <a:gd name="connsiteX2" fmla="*/ 171860 w 257993"/>
                  <a:gd name="connsiteY2" fmla="*/ 90637 h 221221"/>
                  <a:gd name="connsiteX3" fmla="*/ 190910 w 257993"/>
                  <a:gd name="connsiteY3" fmla="*/ 131912 h 221221"/>
                  <a:gd name="connsiteX4" fmla="*/ 149634 w 257993"/>
                  <a:gd name="connsiteY4" fmla="*/ 150963 h 221221"/>
                  <a:gd name="connsiteX5" fmla="*/ 89309 w 257993"/>
                  <a:gd name="connsiteY5" fmla="*/ 125561 h 221221"/>
                  <a:gd name="connsiteX6" fmla="*/ 70259 w 257993"/>
                  <a:gd name="connsiteY6" fmla="*/ 84288 h 221221"/>
                  <a:gd name="connsiteX7" fmla="*/ 6759 w 257993"/>
                  <a:gd name="connsiteY7" fmla="*/ 62062 h 221221"/>
                  <a:gd name="connsiteX8" fmla="*/ 60734 w 257993"/>
                  <a:gd name="connsiteY8" fmla="*/ 189062 h 221221"/>
                  <a:gd name="connsiteX9" fmla="*/ 124235 w 257993"/>
                  <a:gd name="connsiteY9" fmla="*/ 214462 h 221221"/>
                  <a:gd name="connsiteX10" fmla="*/ 251234 w 257993"/>
                  <a:gd name="connsiteY10" fmla="*/ 160487 h 221221"/>
                  <a:gd name="connsiteX11" fmla="*/ 197259 w 257993"/>
                  <a:gd name="connsiteY11" fmla="*/ 33487 h 221221"/>
                  <a:gd name="connsiteX12" fmla="*/ 136934 w 257993"/>
                  <a:gd name="connsiteY12" fmla="*/ 8087 h 221221"/>
                  <a:gd name="connsiteX13" fmla="*/ 6759 w 257993"/>
                  <a:gd name="connsiteY13" fmla="*/ 62062 h 22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93" h="221221">
                    <a:moveTo>
                      <a:pt x="70259" y="84288"/>
                    </a:moveTo>
                    <a:cubicBezTo>
                      <a:pt x="76609" y="68411"/>
                      <a:pt x="95659" y="58886"/>
                      <a:pt x="111534" y="65237"/>
                    </a:cubicBezTo>
                    <a:lnTo>
                      <a:pt x="171860" y="90637"/>
                    </a:lnTo>
                    <a:cubicBezTo>
                      <a:pt x="187734" y="96986"/>
                      <a:pt x="197259" y="116036"/>
                      <a:pt x="190910" y="131912"/>
                    </a:cubicBezTo>
                    <a:cubicBezTo>
                      <a:pt x="184559" y="147787"/>
                      <a:pt x="165509" y="157312"/>
                      <a:pt x="149634" y="150963"/>
                    </a:cubicBezTo>
                    <a:lnTo>
                      <a:pt x="89309" y="125561"/>
                    </a:lnTo>
                    <a:cubicBezTo>
                      <a:pt x="70259" y="122387"/>
                      <a:pt x="63909" y="103337"/>
                      <a:pt x="70259" y="84288"/>
                    </a:cubicBezTo>
                    <a:moveTo>
                      <a:pt x="6759" y="62062"/>
                    </a:moveTo>
                    <a:cubicBezTo>
                      <a:pt x="-12291" y="112862"/>
                      <a:pt x="9934" y="170012"/>
                      <a:pt x="60734" y="189062"/>
                    </a:cubicBezTo>
                    <a:lnTo>
                      <a:pt x="124235" y="214462"/>
                    </a:lnTo>
                    <a:cubicBezTo>
                      <a:pt x="175034" y="233512"/>
                      <a:pt x="232184" y="211286"/>
                      <a:pt x="251234" y="160487"/>
                    </a:cubicBezTo>
                    <a:cubicBezTo>
                      <a:pt x="270284" y="109687"/>
                      <a:pt x="248060" y="52537"/>
                      <a:pt x="197259" y="33487"/>
                    </a:cubicBezTo>
                    <a:lnTo>
                      <a:pt x="136934" y="8087"/>
                    </a:lnTo>
                    <a:cubicBezTo>
                      <a:pt x="86134" y="-14138"/>
                      <a:pt x="28984" y="11261"/>
                      <a:pt x="6759" y="62062"/>
                    </a:cubicBezTo>
                    <a:close/>
                  </a:path>
                </a:pathLst>
              </a:custGeom>
              <a:grpFill/>
              <a:ln w="1860" cap="flat">
                <a:noFill/>
                <a:prstDash val="solid"/>
                <a:miter/>
              </a:ln>
            </p:spPr>
            <p:txBody>
              <a:bodyPr rtlCol="0" anchor="ctr"/>
              <a:lstStyle/>
              <a:p>
                <a:endParaRPr lang="zh-CN" altLang="en-US"/>
              </a:p>
            </p:txBody>
          </p:sp>
          <p:sp>
            <p:nvSpPr>
              <p:cNvPr id="67" name="任意多边形: 形状 66"/>
              <p:cNvSpPr/>
              <p:nvPr>
                <p:custDataLst>
                  <p:tags r:id="rId18"/>
                </p:custDataLst>
              </p:nvPr>
            </p:nvSpPr>
            <p:spPr>
              <a:xfrm>
                <a:off x="12548053" y="1507875"/>
                <a:ext cx="292100" cy="257175"/>
              </a:xfrm>
              <a:custGeom>
                <a:avLst/>
                <a:gdLst>
                  <a:gd name="connsiteX0" fmla="*/ 177800 w 292100"/>
                  <a:gd name="connsiteY0" fmla="*/ 257175 h 257175"/>
                  <a:gd name="connsiteX1" fmla="*/ 133351 w 292100"/>
                  <a:gd name="connsiteY1" fmla="*/ 247650 h 257175"/>
                  <a:gd name="connsiteX2" fmla="*/ 73025 w 292100"/>
                  <a:gd name="connsiteY2" fmla="*/ 222249 h 257175"/>
                  <a:gd name="connsiteX3" fmla="*/ 9525 w 292100"/>
                  <a:gd name="connsiteY3" fmla="*/ 161925 h 257175"/>
                  <a:gd name="connsiteX4" fmla="*/ 9525 w 292100"/>
                  <a:gd name="connsiteY4" fmla="*/ 73025 h 257175"/>
                  <a:gd name="connsiteX5" fmla="*/ 69850 w 292100"/>
                  <a:gd name="connsiteY5" fmla="*/ 9525 h 257175"/>
                  <a:gd name="connsiteX6" fmla="*/ 158750 w 292100"/>
                  <a:gd name="connsiteY6" fmla="*/ 9525 h 257175"/>
                  <a:gd name="connsiteX7" fmla="*/ 219076 w 292100"/>
                  <a:gd name="connsiteY7" fmla="*/ 34925 h 257175"/>
                  <a:gd name="connsiteX8" fmla="*/ 282575 w 292100"/>
                  <a:gd name="connsiteY8" fmla="*/ 95250 h 257175"/>
                  <a:gd name="connsiteX9" fmla="*/ 282575 w 292100"/>
                  <a:gd name="connsiteY9" fmla="*/ 184149 h 257175"/>
                  <a:gd name="connsiteX10" fmla="*/ 177800 w 292100"/>
                  <a:gd name="connsiteY10" fmla="*/ 257175 h 257175"/>
                  <a:gd name="connsiteX11" fmla="*/ 117475 w 292100"/>
                  <a:gd name="connsiteY11" fmla="*/ 34925 h 257175"/>
                  <a:gd name="connsiteX12" fmla="*/ 85725 w 292100"/>
                  <a:gd name="connsiteY12" fmla="*/ 41274 h 257175"/>
                  <a:gd name="connsiteX13" fmla="*/ 41275 w 292100"/>
                  <a:gd name="connsiteY13" fmla="*/ 85725 h 257175"/>
                  <a:gd name="connsiteX14" fmla="*/ 41275 w 292100"/>
                  <a:gd name="connsiteY14" fmla="*/ 149225 h 257175"/>
                  <a:gd name="connsiteX15" fmla="*/ 85725 w 292100"/>
                  <a:gd name="connsiteY15" fmla="*/ 193674 h 257175"/>
                  <a:gd name="connsiteX16" fmla="*/ 146049 w 292100"/>
                  <a:gd name="connsiteY16" fmla="*/ 219075 h 257175"/>
                  <a:gd name="connsiteX17" fmla="*/ 254000 w 292100"/>
                  <a:gd name="connsiteY17" fmla="*/ 174624 h 257175"/>
                  <a:gd name="connsiteX18" fmla="*/ 209551 w 292100"/>
                  <a:gd name="connsiteY18" fmla="*/ 66675 h 257175"/>
                  <a:gd name="connsiteX19" fmla="*/ 149225 w 292100"/>
                  <a:gd name="connsiteY19" fmla="*/ 41274 h 257175"/>
                  <a:gd name="connsiteX20" fmla="*/ 117475 w 292100"/>
                  <a:gd name="connsiteY20" fmla="*/ 34925 h 257175"/>
                  <a:gd name="connsiteX21" fmla="*/ 177800 w 292100"/>
                  <a:gd name="connsiteY21" fmla="*/ 190500 h 257175"/>
                  <a:gd name="connsiteX22" fmla="*/ 158750 w 292100"/>
                  <a:gd name="connsiteY22" fmla="*/ 187325 h 257175"/>
                  <a:gd name="connsiteX23" fmla="*/ 98425 w 292100"/>
                  <a:gd name="connsiteY23" fmla="*/ 165099 h 257175"/>
                  <a:gd name="connsiteX24" fmla="*/ 69850 w 292100"/>
                  <a:gd name="connsiteY24" fmla="*/ 101600 h 257175"/>
                  <a:gd name="connsiteX25" fmla="*/ 95250 w 292100"/>
                  <a:gd name="connsiteY25" fmla="*/ 76200 h 257175"/>
                  <a:gd name="connsiteX26" fmla="*/ 133351 w 292100"/>
                  <a:gd name="connsiteY26" fmla="*/ 76200 h 257175"/>
                  <a:gd name="connsiteX27" fmla="*/ 193674 w 292100"/>
                  <a:gd name="connsiteY27" fmla="*/ 101600 h 257175"/>
                  <a:gd name="connsiteX28" fmla="*/ 222249 w 292100"/>
                  <a:gd name="connsiteY28" fmla="*/ 165099 h 257175"/>
                  <a:gd name="connsiteX29" fmla="*/ 177800 w 292100"/>
                  <a:gd name="connsiteY29" fmla="*/ 190500 h 257175"/>
                  <a:gd name="connsiteX30" fmla="*/ 117475 w 292100"/>
                  <a:gd name="connsiteY30" fmla="*/ 101600 h 257175"/>
                  <a:gd name="connsiteX31" fmla="*/ 111125 w 292100"/>
                  <a:gd name="connsiteY31" fmla="*/ 101600 h 257175"/>
                  <a:gd name="connsiteX32" fmla="*/ 101600 w 292100"/>
                  <a:gd name="connsiteY32" fmla="*/ 111125 h 257175"/>
                  <a:gd name="connsiteX33" fmla="*/ 111125 w 292100"/>
                  <a:gd name="connsiteY33" fmla="*/ 133350 h 257175"/>
                  <a:gd name="connsiteX34" fmla="*/ 171451 w 292100"/>
                  <a:gd name="connsiteY34" fmla="*/ 158750 h 257175"/>
                  <a:gd name="connsiteX35" fmla="*/ 184149 w 292100"/>
                  <a:gd name="connsiteY35" fmla="*/ 158750 h 257175"/>
                  <a:gd name="connsiteX36" fmla="*/ 193674 w 292100"/>
                  <a:gd name="connsiteY36" fmla="*/ 149225 h 257175"/>
                  <a:gd name="connsiteX37" fmla="*/ 184149 w 292100"/>
                  <a:gd name="connsiteY37" fmla="*/ 126999 h 257175"/>
                  <a:gd name="connsiteX38" fmla="*/ 123825 w 292100"/>
                  <a:gd name="connsiteY38" fmla="*/ 101600 h 257175"/>
                  <a:gd name="connsiteX39" fmla="*/ 117475 w 292100"/>
                  <a:gd name="connsiteY39" fmla="*/ 10160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2100" h="257175">
                    <a:moveTo>
                      <a:pt x="177800" y="257175"/>
                    </a:moveTo>
                    <a:cubicBezTo>
                      <a:pt x="161926" y="257175"/>
                      <a:pt x="149225" y="254000"/>
                      <a:pt x="133351" y="247650"/>
                    </a:cubicBezTo>
                    <a:lnTo>
                      <a:pt x="73025" y="222249"/>
                    </a:lnTo>
                    <a:cubicBezTo>
                      <a:pt x="44450" y="209550"/>
                      <a:pt x="22225" y="187325"/>
                      <a:pt x="9525" y="161925"/>
                    </a:cubicBezTo>
                    <a:cubicBezTo>
                      <a:pt x="-3175" y="133350"/>
                      <a:pt x="-3175" y="101600"/>
                      <a:pt x="9525" y="73025"/>
                    </a:cubicBezTo>
                    <a:cubicBezTo>
                      <a:pt x="22225" y="44450"/>
                      <a:pt x="44450" y="22224"/>
                      <a:pt x="69850" y="9525"/>
                    </a:cubicBezTo>
                    <a:cubicBezTo>
                      <a:pt x="98425" y="-3175"/>
                      <a:pt x="130175" y="-3175"/>
                      <a:pt x="158750" y="9525"/>
                    </a:cubicBezTo>
                    <a:lnTo>
                      <a:pt x="219076" y="34925"/>
                    </a:lnTo>
                    <a:cubicBezTo>
                      <a:pt x="247651" y="47625"/>
                      <a:pt x="269874" y="69849"/>
                      <a:pt x="282575" y="95250"/>
                    </a:cubicBezTo>
                    <a:cubicBezTo>
                      <a:pt x="295276" y="123825"/>
                      <a:pt x="295276" y="155574"/>
                      <a:pt x="282575" y="184149"/>
                    </a:cubicBezTo>
                    <a:cubicBezTo>
                      <a:pt x="266701" y="231774"/>
                      <a:pt x="225425" y="257175"/>
                      <a:pt x="177800" y="257175"/>
                    </a:cubicBezTo>
                    <a:close/>
                    <a:moveTo>
                      <a:pt x="117475" y="34925"/>
                    </a:moveTo>
                    <a:cubicBezTo>
                      <a:pt x="107950" y="34925"/>
                      <a:pt x="95250" y="38100"/>
                      <a:pt x="85725" y="41274"/>
                    </a:cubicBezTo>
                    <a:cubicBezTo>
                      <a:pt x="66675" y="50799"/>
                      <a:pt x="50800" y="66675"/>
                      <a:pt x="41275" y="85725"/>
                    </a:cubicBezTo>
                    <a:cubicBezTo>
                      <a:pt x="31750" y="104775"/>
                      <a:pt x="31750" y="126999"/>
                      <a:pt x="41275" y="149225"/>
                    </a:cubicBezTo>
                    <a:cubicBezTo>
                      <a:pt x="50800" y="171450"/>
                      <a:pt x="66675" y="187325"/>
                      <a:pt x="85725" y="193674"/>
                    </a:cubicBezTo>
                    <a:lnTo>
                      <a:pt x="146049" y="219075"/>
                    </a:lnTo>
                    <a:cubicBezTo>
                      <a:pt x="187325" y="234950"/>
                      <a:pt x="234950" y="215900"/>
                      <a:pt x="254000" y="174624"/>
                    </a:cubicBezTo>
                    <a:cubicBezTo>
                      <a:pt x="269874" y="133350"/>
                      <a:pt x="250824" y="85725"/>
                      <a:pt x="209551" y="66675"/>
                    </a:cubicBezTo>
                    <a:lnTo>
                      <a:pt x="149225" y="41274"/>
                    </a:lnTo>
                    <a:cubicBezTo>
                      <a:pt x="139700" y="38100"/>
                      <a:pt x="130175" y="34925"/>
                      <a:pt x="117475" y="34925"/>
                    </a:cubicBezTo>
                    <a:close/>
                    <a:moveTo>
                      <a:pt x="177800" y="190500"/>
                    </a:moveTo>
                    <a:cubicBezTo>
                      <a:pt x="171451" y="190500"/>
                      <a:pt x="165099" y="190500"/>
                      <a:pt x="158750" y="187325"/>
                    </a:cubicBezTo>
                    <a:lnTo>
                      <a:pt x="98425" y="165099"/>
                    </a:lnTo>
                    <a:cubicBezTo>
                      <a:pt x="73025" y="155574"/>
                      <a:pt x="60325" y="126999"/>
                      <a:pt x="69850" y="101600"/>
                    </a:cubicBezTo>
                    <a:cubicBezTo>
                      <a:pt x="76200" y="88899"/>
                      <a:pt x="85725" y="79374"/>
                      <a:pt x="95250" y="76200"/>
                    </a:cubicBezTo>
                    <a:cubicBezTo>
                      <a:pt x="104775" y="73025"/>
                      <a:pt x="120650" y="69849"/>
                      <a:pt x="133351" y="76200"/>
                    </a:cubicBezTo>
                    <a:lnTo>
                      <a:pt x="193674" y="101600"/>
                    </a:lnTo>
                    <a:cubicBezTo>
                      <a:pt x="219076" y="111125"/>
                      <a:pt x="231774" y="139700"/>
                      <a:pt x="222249" y="165099"/>
                    </a:cubicBezTo>
                    <a:cubicBezTo>
                      <a:pt x="215900" y="180975"/>
                      <a:pt x="196850" y="190500"/>
                      <a:pt x="177800" y="190500"/>
                    </a:cubicBezTo>
                    <a:close/>
                    <a:moveTo>
                      <a:pt x="117475" y="101600"/>
                    </a:moveTo>
                    <a:lnTo>
                      <a:pt x="111125" y="101600"/>
                    </a:lnTo>
                    <a:lnTo>
                      <a:pt x="101600" y="111125"/>
                    </a:lnTo>
                    <a:cubicBezTo>
                      <a:pt x="98425" y="120650"/>
                      <a:pt x="101600" y="130175"/>
                      <a:pt x="111125" y="133350"/>
                    </a:cubicBezTo>
                    <a:lnTo>
                      <a:pt x="171451" y="158750"/>
                    </a:lnTo>
                    <a:cubicBezTo>
                      <a:pt x="174624" y="161925"/>
                      <a:pt x="180976" y="158750"/>
                      <a:pt x="184149" y="158750"/>
                    </a:cubicBezTo>
                    <a:cubicBezTo>
                      <a:pt x="190501" y="155574"/>
                      <a:pt x="193674" y="152400"/>
                      <a:pt x="193674" y="149225"/>
                    </a:cubicBezTo>
                    <a:cubicBezTo>
                      <a:pt x="196850" y="139700"/>
                      <a:pt x="193674" y="130175"/>
                      <a:pt x="184149" y="126999"/>
                    </a:cubicBezTo>
                    <a:lnTo>
                      <a:pt x="123825" y="101600"/>
                    </a:lnTo>
                    <a:lnTo>
                      <a:pt x="117475" y="101600"/>
                    </a:lnTo>
                    <a:close/>
                  </a:path>
                </a:pathLst>
              </a:custGeom>
              <a:grpFill/>
              <a:ln w="1860" cap="flat">
                <a:noFill/>
                <a:prstDash val="solid"/>
                <a:miter/>
              </a:ln>
            </p:spPr>
            <p:txBody>
              <a:bodyPr rtlCol="0" anchor="ctr"/>
              <a:lstStyle/>
              <a:p>
                <a:endParaRPr lang="zh-CN" altLang="en-US"/>
              </a:p>
            </p:txBody>
          </p:sp>
          <p:sp>
            <p:nvSpPr>
              <p:cNvPr id="68" name="任意多边形: 形状 67"/>
              <p:cNvSpPr/>
              <p:nvPr>
                <p:custDataLst>
                  <p:tags r:id="rId19"/>
                </p:custDataLst>
              </p:nvPr>
            </p:nvSpPr>
            <p:spPr>
              <a:xfrm>
                <a:off x="13370377" y="1574241"/>
                <a:ext cx="419873" cy="317807"/>
              </a:xfrm>
              <a:custGeom>
                <a:avLst/>
                <a:gdLst>
                  <a:gd name="connsiteX0" fmla="*/ 358776 w 419873"/>
                  <a:gd name="connsiteY0" fmla="*/ 317808 h 317807"/>
                  <a:gd name="connsiteX1" fmla="*/ 295275 w 419873"/>
                  <a:gd name="connsiteY1" fmla="*/ 273358 h 317807"/>
                  <a:gd name="connsiteX2" fmla="*/ 69851 w 419873"/>
                  <a:gd name="connsiteY2" fmla="*/ 130483 h 317807"/>
                  <a:gd name="connsiteX3" fmla="*/ 66675 w 419873"/>
                  <a:gd name="connsiteY3" fmla="*/ 130483 h 317807"/>
                  <a:gd name="connsiteX4" fmla="*/ 0 w 419873"/>
                  <a:gd name="connsiteY4" fmla="*/ 66984 h 317807"/>
                  <a:gd name="connsiteX5" fmla="*/ 63501 w 419873"/>
                  <a:gd name="connsiteY5" fmla="*/ 309 h 317807"/>
                  <a:gd name="connsiteX6" fmla="*/ 415926 w 419873"/>
                  <a:gd name="connsiteY6" fmla="*/ 232083 h 317807"/>
                  <a:gd name="connsiteX7" fmla="*/ 374651 w 419873"/>
                  <a:gd name="connsiteY7" fmla="*/ 314634 h 317807"/>
                  <a:gd name="connsiteX8" fmla="*/ 358776 w 419873"/>
                  <a:gd name="connsiteY8" fmla="*/ 317808 h 31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73" h="317807">
                    <a:moveTo>
                      <a:pt x="358776" y="317808"/>
                    </a:moveTo>
                    <a:cubicBezTo>
                      <a:pt x="330201" y="317808"/>
                      <a:pt x="304800" y="301933"/>
                      <a:pt x="295275" y="273358"/>
                    </a:cubicBezTo>
                    <a:cubicBezTo>
                      <a:pt x="263526" y="181284"/>
                      <a:pt x="177801" y="127308"/>
                      <a:pt x="69851" y="130483"/>
                    </a:cubicBezTo>
                    <a:lnTo>
                      <a:pt x="66675" y="130483"/>
                    </a:lnTo>
                    <a:cubicBezTo>
                      <a:pt x="31751" y="130483"/>
                      <a:pt x="3176" y="101908"/>
                      <a:pt x="0" y="66984"/>
                    </a:cubicBezTo>
                    <a:cubicBezTo>
                      <a:pt x="0" y="32058"/>
                      <a:pt x="25401" y="309"/>
                      <a:pt x="63501" y="309"/>
                    </a:cubicBezTo>
                    <a:cubicBezTo>
                      <a:pt x="225426" y="-6042"/>
                      <a:pt x="368301" y="86034"/>
                      <a:pt x="415926" y="232083"/>
                    </a:cubicBezTo>
                    <a:cubicBezTo>
                      <a:pt x="428625" y="267009"/>
                      <a:pt x="409575" y="305109"/>
                      <a:pt x="374651" y="314634"/>
                    </a:cubicBezTo>
                    <a:cubicBezTo>
                      <a:pt x="374651" y="317808"/>
                      <a:pt x="365126" y="317808"/>
                      <a:pt x="358776" y="317808"/>
                    </a:cubicBezTo>
                    <a:close/>
                  </a:path>
                </a:pathLst>
              </a:custGeom>
              <a:grpFill/>
              <a:ln w="1860" cap="flat">
                <a:noFill/>
                <a:prstDash val="solid"/>
                <a:miter/>
              </a:ln>
            </p:spPr>
            <p:txBody>
              <a:bodyPr rtlCol="0" anchor="ctr"/>
              <a:lstStyle/>
              <a:p>
                <a:endParaRPr lang="zh-CN" altLang="en-US"/>
              </a:p>
            </p:txBody>
          </p:sp>
        </p:grpSp>
      </p:grpSp>
      <p:grpSp>
        <p:nvGrpSpPr>
          <p:cNvPr id="19" name="组合 18"/>
          <p:cNvGrpSpPr/>
          <p:nvPr/>
        </p:nvGrpSpPr>
        <p:grpSpPr>
          <a:xfrm>
            <a:off x="691515" y="3707130"/>
            <a:ext cx="10808970" cy="1300480"/>
            <a:chOff x="691497" y="2508960"/>
            <a:chExt cx="10809006" cy="1047172"/>
          </a:xfrm>
        </p:grpSpPr>
        <p:sp>
          <p:nvSpPr>
            <p:cNvPr id="42" name="矩形 41"/>
            <p:cNvSpPr/>
            <p:nvPr>
              <p:custDataLst>
                <p:tags r:id="rId20"/>
              </p:custDataLst>
            </p:nvPr>
          </p:nvSpPr>
          <p:spPr>
            <a:xfrm>
              <a:off x="1802414" y="2571052"/>
              <a:ext cx="9698089" cy="864096"/>
            </a:xfrm>
            <a:prstGeom prst="rect">
              <a:avLst/>
            </a:prstGeom>
            <a:gradFill>
              <a:gsLst>
                <a:gs pos="100000">
                  <a:schemeClr val="bg1">
                    <a:lumMod val="65000"/>
                    <a:alpha val="0"/>
                  </a:schemeClr>
                </a:gs>
                <a:gs pos="0">
                  <a:schemeClr val="bg1">
                    <a:lumMod val="65000"/>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3" name="矩形 42"/>
            <p:cNvSpPr/>
            <p:nvPr>
              <p:custDataLst>
                <p:tags r:id="rId21"/>
              </p:custDataLst>
            </p:nvPr>
          </p:nvSpPr>
          <p:spPr>
            <a:xfrm>
              <a:off x="1797345" y="2571052"/>
              <a:ext cx="204688" cy="86409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44" name="Rectangle 23"/>
            <p:cNvSpPr/>
            <p:nvPr>
              <p:custDataLst>
                <p:tags r:id="rId22"/>
              </p:custDataLst>
            </p:nvPr>
          </p:nvSpPr>
          <p:spPr>
            <a:xfrm>
              <a:off x="2094217" y="2508960"/>
              <a:ext cx="8709689" cy="1047172"/>
            </a:xfrm>
            <a:prstGeom prst="rect">
              <a:avLst/>
            </a:prstGeom>
          </p:spPr>
          <p:txBody>
            <a:bodyPr wrap="square" anchor="ctr">
              <a:noAutofit/>
            </a:bodyPr>
            <a:lstStyle/>
            <a:p>
              <a:pPr marL="0" marR="0" lvl="0" indent="0" algn="l" defTabSz="914400" rtl="0" eaLnBrk="1" fontAlgn="auto" latinLnBrk="0" hangingPunct="1">
                <a:spcBef>
                  <a:spcPts val="0"/>
                </a:spcBef>
                <a:spcAft>
                  <a:spcPts val="0"/>
                </a:spcAft>
                <a:buClrTx/>
                <a:buSzTx/>
                <a:buFontTx/>
                <a:buNone/>
                <a:defRPr/>
              </a:pPr>
              <a:r>
                <a:rPr kumimoji="0" lang="en-US" altLang="zh-CN"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CRE</a:t>
              </a:r>
              <a:r>
                <a:rPr kumimoji="0" lang="zh-CN" altLang="en-US"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迎难而上：</a:t>
              </a:r>
              <a:endParaRPr kumimoji="0" lang="en-US" altLang="zh-CN"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思福诺®强强联合，有效针对MBL耐药问题，</a:t>
              </a: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Pfizer Tomorrow" charset="0"/>
                </a:rPr>
                <a:t>️全面覆盖CRE全酶型，是</a:t>
              </a: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ICU抗感染的优选药物</a:t>
              </a:r>
              <a:endParaRPr kumimoji="0" lang="zh-CN" altLang="en-US" sz="20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45" name="组合 44"/>
            <p:cNvGrpSpPr/>
            <p:nvPr/>
          </p:nvGrpSpPr>
          <p:grpSpPr>
            <a:xfrm>
              <a:off x="691497" y="2571052"/>
              <a:ext cx="864556" cy="864096"/>
              <a:chOff x="705418" y="1773516"/>
              <a:chExt cx="864556" cy="864096"/>
            </a:xfrm>
          </p:grpSpPr>
          <p:sp>
            <p:nvSpPr>
              <p:cNvPr id="50" name="弧形 49"/>
              <p:cNvSpPr/>
              <p:nvPr>
                <p:custDataLst>
                  <p:tags r:id="rId23"/>
                </p:custDataLst>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bg1">
                        <a:lumMod val="65000"/>
                        <a:alpha val="0"/>
                      </a:schemeClr>
                    </a:gs>
                    <a:gs pos="0">
                      <a:schemeClr val="bg1">
                        <a:lumMod val="65000"/>
                      </a:schemeClr>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1" name="弧形 50"/>
              <p:cNvSpPr/>
              <p:nvPr>
                <p:custDataLst>
                  <p:tags r:id="rId24"/>
                </p:custDataLst>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bg1">
                        <a:lumMod val="65000"/>
                        <a:alpha val="0"/>
                      </a:schemeClr>
                    </a:gs>
                    <a:gs pos="0">
                      <a:schemeClr val="bg1">
                        <a:lumMod val="65000"/>
                      </a:schemeClr>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2" name="弧形 51"/>
              <p:cNvSpPr/>
              <p:nvPr>
                <p:custDataLst>
                  <p:tags r:id="rId25"/>
                </p:custDataLst>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3" name="弧形 52"/>
              <p:cNvSpPr/>
              <p:nvPr>
                <p:custDataLst>
                  <p:tags r:id="rId26"/>
                </p:custDataLst>
              </p:nvPr>
            </p:nvSpPr>
            <p:spPr>
              <a:xfrm rot="16200000" flipH="1">
                <a:off x="790161" y="1778315"/>
                <a:ext cx="695388" cy="864238"/>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4" name="išļíde"/>
              <p:cNvSpPr txBox="1">
                <a:spLocks noChangeArrowheads="1"/>
              </p:cNvSpPr>
              <p:nvPr>
                <p:custDataLst>
                  <p:tags r:id="rId27"/>
                </p:custDataLst>
              </p:nvPr>
            </p:nvSpPr>
            <p:spPr bwMode="auto">
              <a:xfrm>
                <a:off x="779768" y="2020213"/>
                <a:ext cx="715397" cy="370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rPr>
                  <a:t>02</a:t>
                </a:r>
                <a:endPar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grpSp>
        <p:grpSp>
          <p:nvGrpSpPr>
            <p:cNvPr id="46" name="组合 45"/>
            <p:cNvGrpSpPr/>
            <p:nvPr/>
          </p:nvGrpSpPr>
          <p:grpSpPr>
            <a:xfrm>
              <a:off x="10842482" y="2772267"/>
              <a:ext cx="395432" cy="461666"/>
              <a:chOff x="12527062" y="2609331"/>
              <a:chExt cx="1397001" cy="1630995"/>
            </a:xfrm>
            <a:solidFill>
              <a:schemeClr val="bg1">
                <a:lumMod val="65000"/>
              </a:schemeClr>
            </a:solidFill>
          </p:grpSpPr>
          <p:sp>
            <p:nvSpPr>
              <p:cNvPr id="47" name="任意多边形: 形状 46"/>
              <p:cNvSpPr/>
              <p:nvPr>
                <p:custDataLst>
                  <p:tags r:id="rId28"/>
                </p:custDataLst>
              </p:nvPr>
            </p:nvSpPr>
            <p:spPr>
              <a:xfrm>
                <a:off x="12876313" y="3301999"/>
                <a:ext cx="698498" cy="127000"/>
              </a:xfrm>
              <a:custGeom>
                <a:avLst/>
                <a:gdLst>
                  <a:gd name="connsiteX0" fmla="*/ 634999 w 698498"/>
                  <a:gd name="connsiteY0" fmla="*/ 127001 h 127000"/>
                  <a:gd name="connsiteX1" fmla="*/ 63499 w 698498"/>
                  <a:gd name="connsiteY1" fmla="*/ 127001 h 127000"/>
                  <a:gd name="connsiteX2" fmla="*/ 0 w 698498"/>
                  <a:gd name="connsiteY2" fmla="*/ 63501 h 127000"/>
                  <a:gd name="connsiteX3" fmla="*/ 0 w 698498"/>
                  <a:gd name="connsiteY3" fmla="*/ 0 h 127000"/>
                  <a:gd name="connsiteX4" fmla="*/ 698499 w 698498"/>
                  <a:gd name="connsiteY4" fmla="*/ 0 h 127000"/>
                  <a:gd name="connsiteX5" fmla="*/ 698499 w 698498"/>
                  <a:gd name="connsiteY5" fmla="*/ 63501 h 127000"/>
                  <a:gd name="connsiteX6" fmla="*/ 634999 w 698498"/>
                  <a:gd name="connsiteY6" fmla="*/ 127001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498" h="127000">
                    <a:moveTo>
                      <a:pt x="634999" y="127001"/>
                    </a:moveTo>
                    <a:lnTo>
                      <a:pt x="63499" y="127001"/>
                    </a:lnTo>
                    <a:cubicBezTo>
                      <a:pt x="28430" y="127001"/>
                      <a:pt x="0" y="98571"/>
                      <a:pt x="0" y="63501"/>
                    </a:cubicBezTo>
                    <a:lnTo>
                      <a:pt x="0" y="0"/>
                    </a:lnTo>
                    <a:lnTo>
                      <a:pt x="698499" y="0"/>
                    </a:lnTo>
                    <a:lnTo>
                      <a:pt x="698499" y="63501"/>
                    </a:lnTo>
                    <a:cubicBezTo>
                      <a:pt x="698499" y="98571"/>
                      <a:pt x="670069" y="127001"/>
                      <a:pt x="634999" y="127001"/>
                    </a:cubicBezTo>
                    <a:close/>
                  </a:path>
                </a:pathLst>
              </a:custGeom>
              <a:grpFill/>
              <a:ln w="1860" cap="flat">
                <a:noFill/>
                <a:prstDash val="solid"/>
                <a:miter/>
              </a:ln>
            </p:spPr>
            <p:txBody>
              <a:bodyPr rtlCol="0" anchor="ctr"/>
              <a:lstStyle/>
              <a:p>
                <a:endParaRPr lang="zh-CN" altLang="en-US"/>
              </a:p>
            </p:txBody>
          </p:sp>
          <p:sp>
            <p:nvSpPr>
              <p:cNvPr id="48" name="任意多边形: 形状 47"/>
              <p:cNvSpPr/>
              <p:nvPr>
                <p:custDataLst>
                  <p:tags r:id="rId29"/>
                </p:custDataLst>
              </p:nvPr>
            </p:nvSpPr>
            <p:spPr>
              <a:xfrm>
                <a:off x="12527062" y="2609331"/>
                <a:ext cx="1397001" cy="1630995"/>
              </a:xfrm>
              <a:custGeom>
                <a:avLst/>
                <a:gdLst>
                  <a:gd name="connsiteX0" fmla="*/ 647384 w 1397001"/>
                  <a:gd name="connsiteY0" fmla="*/ 10773 h 1630995"/>
                  <a:gd name="connsiteX1" fmla="*/ 75884 w 1397001"/>
                  <a:gd name="connsiteY1" fmla="*/ 261916 h 1630995"/>
                  <a:gd name="connsiteX2" fmla="*/ 0 w 1397001"/>
                  <a:gd name="connsiteY2" fmla="*/ 378121 h 1630995"/>
                  <a:gd name="connsiteX3" fmla="*/ 0 w 1397001"/>
                  <a:gd name="connsiteY3" fmla="*/ 771725 h 1630995"/>
                  <a:gd name="connsiteX4" fmla="*/ 297816 w 1397001"/>
                  <a:gd name="connsiteY4" fmla="*/ 1376691 h 1630995"/>
                  <a:gd name="connsiteX5" fmla="*/ 625285 w 1397001"/>
                  <a:gd name="connsiteY5" fmla="*/ 1607767 h 1630995"/>
                  <a:gd name="connsiteX6" fmla="*/ 771717 w 1397001"/>
                  <a:gd name="connsiteY6" fmla="*/ 1607767 h 1630995"/>
                  <a:gd name="connsiteX7" fmla="*/ 1096709 w 1397001"/>
                  <a:gd name="connsiteY7" fmla="*/ 1378531 h 1630995"/>
                  <a:gd name="connsiteX8" fmla="*/ 1397001 w 1397001"/>
                  <a:gd name="connsiteY8" fmla="*/ 771725 h 1630995"/>
                  <a:gd name="connsiteX9" fmla="*/ 1397001 w 1397001"/>
                  <a:gd name="connsiteY9" fmla="*/ 378153 h 1630995"/>
                  <a:gd name="connsiteX10" fmla="*/ 1321118 w 1397001"/>
                  <a:gd name="connsiteY10" fmla="*/ 261885 h 1630995"/>
                  <a:gd name="connsiteX11" fmla="*/ 749618 w 1397001"/>
                  <a:gd name="connsiteY11" fmla="*/ 10742 h 1630995"/>
                  <a:gd name="connsiteX12" fmla="*/ 647384 w 1397001"/>
                  <a:gd name="connsiteY12" fmla="*/ 10742 h 1630995"/>
                  <a:gd name="connsiteX13" fmla="*/ 127001 w 1397001"/>
                  <a:gd name="connsiteY13" fmla="*/ 378153 h 1630995"/>
                  <a:gd name="connsiteX14" fmla="*/ 698501 w 1397001"/>
                  <a:gd name="connsiteY14" fmla="*/ 127011 h 1630995"/>
                  <a:gd name="connsiteX15" fmla="*/ 1270001 w 1397001"/>
                  <a:gd name="connsiteY15" fmla="*/ 378153 h 1630995"/>
                  <a:gd name="connsiteX16" fmla="*/ 1270001 w 1397001"/>
                  <a:gd name="connsiteY16" fmla="*/ 771725 h 1630995"/>
                  <a:gd name="connsiteX17" fmla="*/ 1020985 w 1397001"/>
                  <a:gd name="connsiteY17" fmla="*/ 1276613 h 1630995"/>
                  <a:gd name="connsiteX18" fmla="*/ 698501 w 1397001"/>
                  <a:gd name="connsiteY18" fmla="*/ 1503976 h 1630995"/>
                  <a:gd name="connsiteX19" fmla="*/ 373508 w 1397001"/>
                  <a:gd name="connsiteY19" fmla="*/ 1274742 h 1630995"/>
                  <a:gd name="connsiteX20" fmla="*/ 127001 w 1397001"/>
                  <a:gd name="connsiteY20" fmla="*/ 771662 h 1630995"/>
                  <a:gd name="connsiteX21" fmla="*/ 127001 w 1397001"/>
                  <a:gd name="connsiteY21" fmla="*/ 378153 h 163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7001" h="1630995">
                    <a:moveTo>
                      <a:pt x="647384" y="10773"/>
                    </a:moveTo>
                    <a:lnTo>
                      <a:pt x="75884" y="261916"/>
                    </a:lnTo>
                    <a:cubicBezTo>
                      <a:pt x="29790" y="282183"/>
                      <a:pt x="22" y="327769"/>
                      <a:pt x="0" y="378121"/>
                    </a:cubicBezTo>
                    <a:lnTo>
                      <a:pt x="0" y="771725"/>
                    </a:lnTo>
                    <a:cubicBezTo>
                      <a:pt x="0" y="1012804"/>
                      <a:pt x="107824" y="1228227"/>
                      <a:pt x="297816" y="1376691"/>
                    </a:cubicBezTo>
                    <a:lnTo>
                      <a:pt x="625285" y="1607767"/>
                    </a:lnTo>
                    <a:cubicBezTo>
                      <a:pt x="669181" y="1638738"/>
                      <a:pt x="727820" y="1638738"/>
                      <a:pt x="771717" y="1607767"/>
                    </a:cubicBezTo>
                    <a:lnTo>
                      <a:pt x="1096709" y="1378531"/>
                    </a:lnTo>
                    <a:cubicBezTo>
                      <a:pt x="1289177" y="1228196"/>
                      <a:pt x="1397001" y="1012771"/>
                      <a:pt x="1397001" y="771725"/>
                    </a:cubicBezTo>
                    <a:lnTo>
                      <a:pt x="1397001" y="378153"/>
                    </a:lnTo>
                    <a:cubicBezTo>
                      <a:pt x="1397005" y="327776"/>
                      <a:pt x="1367234" y="282161"/>
                      <a:pt x="1321118" y="261885"/>
                    </a:cubicBezTo>
                    <a:lnTo>
                      <a:pt x="749618" y="10742"/>
                    </a:lnTo>
                    <a:cubicBezTo>
                      <a:pt x="717045" y="-3581"/>
                      <a:pt x="679957" y="-3581"/>
                      <a:pt x="647384" y="10742"/>
                    </a:cubicBezTo>
                    <a:close/>
                    <a:moveTo>
                      <a:pt x="127001" y="378153"/>
                    </a:moveTo>
                    <a:lnTo>
                      <a:pt x="698501" y="127011"/>
                    </a:lnTo>
                    <a:lnTo>
                      <a:pt x="1270001" y="378153"/>
                    </a:lnTo>
                    <a:lnTo>
                      <a:pt x="1270001" y="771725"/>
                    </a:lnTo>
                    <a:cubicBezTo>
                      <a:pt x="1270001" y="973210"/>
                      <a:pt x="1180561" y="1151933"/>
                      <a:pt x="1020985" y="1276613"/>
                    </a:cubicBezTo>
                    <a:lnTo>
                      <a:pt x="698501" y="1503976"/>
                    </a:lnTo>
                    <a:lnTo>
                      <a:pt x="373508" y="1274742"/>
                    </a:lnTo>
                    <a:cubicBezTo>
                      <a:pt x="216441" y="1151836"/>
                      <a:pt x="127001" y="973147"/>
                      <a:pt x="127001" y="771662"/>
                    </a:cubicBezTo>
                    <a:lnTo>
                      <a:pt x="127001" y="378153"/>
                    </a:lnTo>
                    <a:close/>
                  </a:path>
                </a:pathLst>
              </a:custGeom>
              <a:grpFill/>
              <a:ln w="1860" cap="flat">
                <a:noFill/>
                <a:prstDash val="solid"/>
                <a:miter/>
              </a:ln>
            </p:spPr>
            <p:txBody>
              <a:bodyPr rtlCol="0" anchor="ctr"/>
              <a:lstStyle/>
              <a:p>
                <a:endParaRPr lang="zh-CN" altLang="en-US"/>
              </a:p>
            </p:txBody>
          </p:sp>
          <p:sp>
            <p:nvSpPr>
              <p:cNvPr id="49" name="任意多边形: 形状 48"/>
              <p:cNvSpPr/>
              <p:nvPr>
                <p:custDataLst>
                  <p:tags r:id="rId30"/>
                </p:custDataLst>
              </p:nvPr>
            </p:nvSpPr>
            <p:spPr>
              <a:xfrm>
                <a:off x="13162063" y="3016249"/>
                <a:ext cx="126999" cy="698784"/>
              </a:xfrm>
              <a:custGeom>
                <a:avLst/>
                <a:gdLst>
                  <a:gd name="connsiteX0" fmla="*/ 63499 w 126999"/>
                  <a:gd name="connsiteY0" fmla="*/ 0 h 698784"/>
                  <a:gd name="connsiteX1" fmla="*/ 126841 w 126999"/>
                  <a:gd name="connsiteY1" fmla="*/ 58739 h 698784"/>
                  <a:gd name="connsiteX2" fmla="*/ 126999 w 126999"/>
                  <a:gd name="connsiteY2" fmla="*/ 63501 h 698784"/>
                  <a:gd name="connsiteX3" fmla="*/ 126999 w 126999"/>
                  <a:gd name="connsiteY3" fmla="*/ 635001 h 698784"/>
                  <a:gd name="connsiteX4" fmla="*/ 63784 w 126999"/>
                  <a:gd name="connsiteY4" fmla="*/ 698783 h 698784"/>
                  <a:gd name="connsiteX5" fmla="*/ 158 w 126999"/>
                  <a:gd name="connsiteY5" fmla="*/ 639764 h 698784"/>
                  <a:gd name="connsiteX6" fmla="*/ 0 w 126999"/>
                  <a:gd name="connsiteY6" fmla="*/ 635001 h 698784"/>
                  <a:gd name="connsiteX7" fmla="*/ 0 w 126999"/>
                  <a:gd name="connsiteY7" fmla="*/ 63501 h 698784"/>
                  <a:gd name="connsiteX8" fmla="*/ 63499 w 126999"/>
                  <a:gd name="connsiteY8" fmla="*/ 0 h 69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99" h="698784">
                    <a:moveTo>
                      <a:pt x="63499" y="0"/>
                    </a:moveTo>
                    <a:cubicBezTo>
                      <a:pt x="96729" y="-9"/>
                      <a:pt x="124348" y="25602"/>
                      <a:pt x="126841" y="58739"/>
                    </a:cubicBezTo>
                    <a:lnTo>
                      <a:pt x="126999" y="63501"/>
                    </a:lnTo>
                    <a:lnTo>
                      <a:pt x="126999" y="635001"/>
                    </a:lnTo>
                    <a:cubicBezTo>
                      <a:pt x="127157" y="670071"/>
                      <a:pt x="98854" y="698627"/>
                      <a:pt x="63784" y="698783"/>
                    </a:cubicBezTo>
                    <a:cubicBezTo>
                      <a:pt x="30342" y="698934"/>
                      <a:pt x="2517" y="673122"/>
                      <a:pt x="158" y="639764"/>
                    </a:cubicBezTo>
                    <a:lnTo>
                      <a:pt x="0" y="635001"/>
                    </a:lnTo>
                    <a:lnTo>
                      <a:pt x="0" y="63501"/>
                    </a:lnTo>
                    <a:cubicBezTo>
                      <a:pt x="0" y="28430"/>
                      <a:pt x="28430" y="0"/>
                      <a:pt x="63499" y="0"/>
                    </a:cubicBezTo>
                    <a:close/>
                  </a:path>
                </a:pathLst>
              </a:custGeom>
              <a:grpFill/>
              <a:ln w="1860" cap="flat">
                <a:noFill/>
                <a:prstDash val="solid"/>
                <a:miter/>
              </a:ln>
            </p:spPr>
            <p:txBody>
              <a:bodyPr rtlCol="0" anchor="ctr"/>
              <a:lstStyle/>
              <a:p>
                <a:endParaRPr lang="zh-CN" altLang="en-US"/>
              </a:p>
            </p:txBody>
          </p:sp>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3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抗菌活性</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对MBL-CRE</a:t>
            </a:r>
            <a:r>
              <a:rPr lang="zh-CN" altLang="en-US" b="1" kern="1200" dirty="0">
                <a:solidFill>
                  <a:srgbClr val="000D45"/>
                </a:solidFill>
                <a:latin typeface="Pfizer Tomorrow" charset="0"/>
                <a:ea typeface="微软雅黑" panose="020B0503020204020204" charset="-122"/>
                <a:cs typeface="+mj-cs"/>
              </a:rPr>
              <a:t>具有较强的体外抗菌活性，</a:t>
            </a:r>
            <a:br>
              <a:rPr lang="zh-CN" altLang="en-US" b="1" kern="1200" dirty="0">
                <a:solidFill>
                  <a:srgbClr val="000D45"/>
                </a:solidFill>
                <a:latin typeface="Pfizer Tomorrow" charset="0"/>
                <a:ea typeface="微软雅黑" panose="020B0503020204020204" charset="-122"/>
                <a:cs typeface="+mj-cs"/>
              </a:rPr>
            </a:br>
            <a:r>
              <a:rPr lang="zh-CN" altLang="en-US" b="1" kern="1200" dirty="0">
                <a:solidFill>
                  <a:srgbClr val="000D45"/>
                </a:solidFill>
                <a:latin typeface="Pfizer Tomorrow" charset="0"/>
                <a:ea typeface="微软雅黑" panose="020B0503020204020204" charset="-122"/>
                <a:cs typeface="+mj-cs"/>
              </a:rPr>
              <a:t>敏感率</a:t>
            </a:r>
            <a:r>
              <a:rPr lang="zh-CN" altLang="en-US" b="1" kern="1200" dirty="0">
                <a:solidFill>
                  <a:srgbClr val="000D45"/>
                </a:solidFill>
                <a:latin typeface="Pfizer Tomorrow" charset="0"/>
                <a:ea typeface="微软雅黑" panose="020B0503020204020204" charset="-122"/>
                <a:cs typeface="+mj-cs"/>
              </a:rPr>
              <a:t>高于多黏菌素和替加环素</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2226" name="文本框 6"/>
          <p:cNvSpPr txBox="1"/>
          <p:nvPr/>
        </p:nvSpPr>
        <p:spPr>
          <a:xfrm>
            <a:off x="588963" y="6419850"/>
            <a:ext cx="7343775" cy="214313"/>
          </a:xfrm>
          <a:prstGeom prst="rect">
            <a:avLst/>
          </a:prstGeom>
          <a:noFill/>
          <a:ln w="9525">
            <a:noFill/>
          </a:ln>
        </p:spPr>
        <p:txBody>
          <a:bodyPr wrap="square" anchor="t" anchorCtr="0">
            <a:spAutoFit/>
          </a:bodyPr>
          <a:p>
            <a:r>
              <a:rPr lang="it-IT" altLang="zh-CN" sz="800" dirty="0">
                <a:latin typeface="Pfizer Tomorrow" charset="0"/>
                <a:ea typeface="微软雅黑" panose="020B0503020204020204" charset="-122"/>
                <a:sym typeface="Pfizer Tomorrow" charset="0"/>
              </a:rPr>
              <a:t>Rossolini GM, et al. J Glob Antimicrob Resist. 2024 Mar;36:123-131.</a:t>
            </a:r>
            <a:endParaRPr lang="it-IT" altLang="zh-CN" sz="800" dirty="0">
              <a:latin typeface="Pfizer Tomorrow" charset="0"/>
              <a:ea typeface="微软雅黑" panose="020B0503020204020204" charset="-122"/>
              <a:sym typeface="Pfizer Tomorrow" charset="0"/>
            </a:endParaRPr>
          </a:p>
        </p:txBody>
      </p:sp>
      <p:graphicFrame>
        <p:nvGraphicFramePr>
          <p:cNvPr id="13" name="表格 12"/>
          <p:cNvGraphicFramePr>
            <a:graphicFrameLocks noGrp="1"/>
          </p:cNvGraphicFramePr>
          <p:nvPr/>
        </p:nvGraphicFramePr>
        <p:xfrm>
          <a:off x="588963" y="1763713"/>
          <a:ext cx="11015330" cy="3724275"/>
        </p:xfrm>
        <a:graphic>
          <a:graphicData uri="http://schemas.openxmlformats.org/drawingml/2006/table">
            <a:tbl>
              <a:tblPr firstRow="1" bandRow="1">
                <a:tableStyleId>{5C22544A-7EE6-4342-B048-85BDC9FD1C3A}</a:tableStyleId>
              </a:tblPr>
              <a:tblGrid>
                <a:gridCol w="2465426"/>
                <a:gridCol w="920287"/>
                <a:gridCol w="1721948"/>
                <a:gridCol w="1721948"/>
                <a:gridCol w="1421015"/>
                <a:gridCol w="1382353"/>
                <a:gridCol w="1382353"/>
              </a:tblGrid>
              <a:tr h="409027">
                <a:tc rowSpan="2">
                  <a:txBody>
                    <a:bodyPr/>
                    <a:lstStyle/>
                    <a:p>
                      <a:pPr algn="ctr"/>
                      <a:r>
                        <a:rPr lang="zh-CN" altLang="en-US" sz="1400" b="1" dirty="0">
                          <a:solidFill>
                            <a:schemeClr val="bg1"/>
                          </a:solidFill>
                          <a:latin typeface="微软雅黑" panose="020B0503020204020204" charset="-122"/>
                          <a:ea typeface="微软雅黑" panose="020B0503020204020204" charset="-122"/>
                        </a:rPr>
                        <a:t>抗菌药物</a:t>
                      </a:r>
                      <a:endParaRPr lang="zh-CN" altLang="en-US" sz="1400" b="1" dirty="0">
                        <a:solidFill>
                          <a:schemeClr val="bg1"/>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rowSpan="2">
                  <a:txBody>
                    <a:bodyPr/>
                    <a:lstStyle/>
                    <a:p>
                      <a:pPr algn="ctr"/>
                      <a:r>
                        <a:rPr lang="en-US" altLang="zh-CN" sz="1400" b="1" dirty="0">
                          <a:solidFill>
                            <a:schemeClr val="bg1"/>
                          </a:solidFill>
                          <a:latin typeface="微软雅黑" panose="020B0503020204020204" charset="-122"/>
                          <a:ea typeface="微软雅黑" panose="020B0503020204020204" charset="-122"/>
                        </a:rPr>
                        <a:t>n</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p>
                      <a:pPr algn="ctr"/>
                      <a:r>
                        <a:rPr lang="en-US" altLang="zh-CN" sz="1400" b="1" dirty="0">
                          <a:solidFill>
                            <a:schemeClr val="bg1"/>
                          </a:solidFill>
                          <a:latin typeface="微软雅黑" panose="020B0503020204020204" charset="-122"/>
                          <a:ea typeface="微软雅黑" panose="020B0503020204020204" charset="-122"/>
                        </a:rPr>
                        <a:t>S%</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hMerge="1">
                  <a:tcPr/>
                </a:tc>
                <a:tc gridSpan="3">
                  <a:txBody>
                    <a:bodyPr/>
                    <a:lstStyle/>
                    <a:p>
                      <a:pPr algn="ctr"/>
                      <a:r>
                        <a:rPr lang="en-US" altLang="zh-CN" sz="1400" b="1" dirty="0">
                          <a:solidFill>
                            <a:schemeClr val="bg1"/>
                          </a:solidFill>
                          <a:latin typeface="微软雅黑" panose="020B0503020204020204" charset="-122"/>
                          <a:ea typeface="微软雅黑" panose="020B0503020204020204" charset="-122"/>
                        </a:rPr>
                        <a:t>MIC(mg/L)</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hMerge="1">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00C987"/>
                    </a:solidFill>
                  </a:tcPr>
                </a:tc>
                <a:tc hMerge="1">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00C987"/>
                    </a:solidFill>
                  </a:tcPr>
                </a:tc>
              </a:tr>
              <a:tr h="316709">
                <a:tc vMerge="1">
                  <a:tcPr/>
                </a:tc>
                <a:tc vMerge="1">
                  <a:tcPr/>
                </a:tc>
                <a:tc>
                  <a:txBody>
                    <a:bodyPr/>
                    <a:lstStyle/>
                    <a:p>
                      <a:pPr algn="ctr"/>
                      <a:r>
                        <a:rPr lang="en-US" altLang="zh-CN" sz="1400" b="1" dirty="0">
                          <a:solidFill>
                            <a:schemeClr val="bg1"/>
                          </a:solidFill>
                          <a:latin typeface="微软雅黑" panose="020B0503020204020204" charset="-122"/>
                          <a:ea typeface="微软雅黑" panose="020B0503020204020204" charset="-122"/>
                        </a:rPr>
                        <a:t>CLSI</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EUCAST</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en-US" altLang="zh-CN" sz="1400" b="1" baseline="-25000" dirty="0">
                          <a:solidFill>
                            <a:schemeClr val="bg1"/>
                          </a:solidFill>
                          <a:latin typeface="微软雅黑" panose="020B0503020204020204" charset="-122"/>
                          <a:ea typeface="微软雅黑" panose="020B0503020204020204" charset="-122"/>
                        </a:rPr>
                        <a:t>50</a:t>
                      </a:r>
                      <a:endParaRPr lang="en-US" altLang="zh-CN" sz="1400" b="1" baseline="-25000"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en-US" altLang="zh-CN" sz="1400" b="1" baseline="-25000" dirty="0">
                          <a:solidFill>
                            <a:schemeClr val="bg1"/>
                          </a:solidFill>
                          <a:latin typeface="微软雅黑" panose="020B0503020204020204" charset="-122"/>
                          <a:ea typeface="微软雅黑" panose="020B0503020204020204" charset="-122"/>
                        </a:rPr>
                        <a:t>90</a:t>
                      </a:r>
                      <a:endParaRPr lang="en-US" altLang="zh-CN" sz="1400" b="1" baseline="-25000"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zh-CN" altLang="en-US" sz="1400" b="1" dirty="0">
                          <a:solidFill>
                            <a:schemeClr val="bg1"/>
                          </a:solidFill>
                          <a:latin typeface="微软雅黑" panose="020B0503020204020204" charset="-122"/>
                          <a:ea typeface="微软雅黑" panose="020B0503020204020204" charset="-122"/>
                        </a:rPr>
                        <a:t>范围</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r>
              <a:tr h="371843">
                <a:tc gridSpan="7">
                  <a:txBody>
                    <a:bodyPr/>
                    <a:lstStyle/>
                    <a:p>
                      <a:pPr algn="l"/>
                      <a:r>
                        <a:rPr lang="zh-CN" altLang="en-US" sz="1200" b="1" dirty="0">
                          <a:solidFill>
                            <a:schemeClr val="tx1">
                              <a:lumMod val="75000"/>
                              <a:lumOff val="25000"/>
                            </a:schemeClr>
                          </a:solidFill>
                          <a:latin typeface="微软雅黑" panose="020B0503020204020204" charset="-122"/>
                          <a:ea typeface="微软雅黑" panose="020B0503020204020204" charset="-122"/>
                        </a:rPr>
                        <a:t>所有</a:t>
                      </a:r>
                      <a:r>
                        <a:rPr lang="zh-CN" altLang="zh-CN" sz="1200" b="1" dirty="0">
                          <a:solidFill>
                            <a:schemeClr val="tx1">
                              <a:lumMod val="75000"/>
                              <a:lumOff val="25000"/>
                            </a:schemeClr>
                          </a:solidFill>
                          <a:latin typeface="微软雅黑" panose="020B0503020204020204" charset="-122"/>
                          <a:ea typeface="微软雅黑" panose="020B0503020204020204" charset="-122"/>
                        </a:rPr>
                        <a:t>肠杆菌</a:t>
                      </a:r>
                      <a:r>
                        <a:rPr lang="zh-CN" altLang="en-US" sz="1200" b="1" dirty="0">
                          <a:solidFill>
                            <a:schemeClr val="tx1">
                              <a:lumMod val="75000"/>
                              <a:lumOff val="25000"/>
                            </a:schemeClr>
                          </a:solidFill>
                          <a:latin typeface="微软雅黑" panose="020B0503020204020204" charset="-122"/>
                          <a:ea typeface="微软雅黑" panose="020B0503020204020204" charset="-122"/>
                        </a:rPr>
                        <a:t>目</a:t>
                      </a:r>
                      <a:r>
                        <a:rPr lang="zh-CN" altLang="zh-CN" sz="1200" b="1" dirty="0">
                          <a:solidFill>
                            <a:schemeClr val="tx1">
                              <a:lumMod val="75000"/>
                              <a:lumOff val="25000"/>
                            </a:schemeClr>
                          </a:solidFill>
                          <a:latin typeface="微软雅黑" panose="020B0503020204020204" charset="-122"/>
                          <a:ea typeface="微软雅黑" panose="020B0503020204020204" charset="-122"/>
                        </a:rPr>
                        <a:t>细菌</a:t>
                      </a:r>
                      <a:r>
                        <a:rPr lang="en-US" altLang="zh-CN" sz="1200" b="1" dirty="0">
                          <a:solidFill>
                            <a:schemeClr val="tx1">
                              <a:lumMod val="75000"/>
                              <a:lumOff val="25000"/>
                            </a:schemeClr>
                          </a:solidFill>
                          <a:latin typeface="微软雅黑" panose="020B0503020204020204" charset="-122"/>
                          <a:ea typeface="微软雅黑" panose="020B0503020204020204" charset="-122"/>
                        </a:rPr>
                        <a:t>(N=106,686)</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F2F3F5"/>
                    </a:solidFill>
                  </a:tcPr>
                </a:tc>
                <a:tc hMerge="1">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氨曲南</a:t>
                      </a:r>
                      <a:r>
                        <a:rPr lang="en-US" altLang="zh-CN" sz="1200" b="0" dirty="0">
                          <a:solidFill>
                            <a:schemeClr val="tx1">
                              <a:lumMod val="75000"/>
                              <a:lumOff val="25000"/>
                            </a:schemeClr>
                          </a:solidFill>
                          <a:latin typeface="微软雅黑" panose="020B0503020204020204" charset="-122"/>
                          <a:ea typeface="微软雅黑" panose="020B0503020204020204" charset="-122"/>
                        </a:rPr>
                        <a:t>-</a:t>
                      </a:r>
                      <a:r>
                        <a:rPr lang="zh-CN" altLang="en-US" sz="1200" b="0" dirty="0">
                          <a:solidFill>
                            <a:schemeClr val="tx1">
                              <a:lumMod val="75000"/>
                              <a:lumOff val="25000"/>
                            </a:schemeClr>
                          </a:solidFill>
                          <a:latin typeface="微软雅黑" panose="020B0503020204020204" charset="-122"/>
                          <a:ea typeface="微软雅黑" panose="020B0503020204020204" charset="-122"/>
                        </a:rPr>
                        <a:t>阿维巴坦</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1" dirty="0">
                          <a:solidFill>
                            <a:schemeClr val="tx1">
                              <a:lumMod val="75000"/>
                              <a:lumOff val="25000"/>
                            </a:schemeClr>
                          </a:solidFill>
                          <a:latin typeface="微软雅黑" panose="020B0503020204020204" charset="-122"/>
                          <a:ea typeface="微软雅黑" panose="020B0503020204020204" charset="-122"/>
                        </a:rPr>
                        <a:t>82,775</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altLang="zh-CN" sz="1200" b="1" dirty="0">
                          <a:solidFill>
                            <a:schemeClr val="bg1"/>
                          </a:solidFill>
                          <a:latin typeface="微软雅黑" panose="020B0503020204020204" charset="-122"/>
                          <a:ea typeface="微软雅黑" panose="020B0503020204020204" charset="-122"/>
                        </a:rPr>
                        <a:t>99.9</a:t>
                      </a:r>
                      <a:endParaRPr lang="zh-CN" altLang="en-US" sz="12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15-1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多黏菌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77,28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NA</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7.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替加环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02,48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8.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8.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08-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gridSpan="7">
                  <a:txBody>
                    <a:bodyPr/>
                    <a:lstStyle/>
                    <a:p>
                      <a:pPr algn="l"/>
                      <a:r>
                        <a:rPr lang="zh-CN" altLang="en-US" sz="1200" b="1" dirty="0">
                          <a:solidFill>
                            <a:schemeClr val="tx1">
                              <a:lumMod val="75000"/>
                              <a:lumOff val="25000"/>
                            </a:schemeClr>
                          </a:solidFill>
                          <a:latin typeface="微软雅黑" panose="020B0503020204020204" charset="-122"/>
                          <a:ea typeface="微软雅黑" panose="020B0503020204020204" charset="-122"/>
                        </a:rPr>
                        <a:t>产</a:t>
                      </a:r>
                      <a:r>
                        <a:rPr lang="en-US" altLang="zh-CN" sz="1200" b="1" dirty="0">
                          <a:solidFill>
                            <a:schemeClr val="tx1">
                              <a:lumMod val="75000"/>
                              <a:lumOff val="25000"/>
                            </a:schemeClr>
                          </a:solidFill>
                          <a:latin typeface="微软雅黑" panose="020B0503020204020204" charset="-122"/>
                          <a:ea typeface="微软雅黑" panose="020B0503020204020204" charset="-122"/>
                        </a:rPr>
                        <a:t>MBL</a:t>
                      </a:r>
                      <a:r>
                        <a:rPr lang="zh-CN" altLang="zh-CN" sz="1200" b="1" dirty="0">
                          <a:solidFill>
                            <a:schemeClr val="tx1">
                              <a:lumMod val="75000"/>
                              <a:lumOff val="25000"/>
                            </a:schemeClr>
                          </a:solidFill>
                          <a:latin typeface="微软雅黑" panose="020B0503020204020204" charset="-122"/>
                          <a:ea typeface="微软雅黑" panose="020B0503020204020204" charset="-122"/>
                        </a:rPr>
                        <a:t>肠杆菌</a:t>
                      </a:r>
                      <a:r>
                        <a:rPr lang="zh-CN" altLang="en-US" sz="1200" b="1" dirty="0">
                          <a:solidFill>
                            <a:schemeClr val="tx1">
                              <a:lumMod val="75000"/>
                              <a:lumOff val="25000"/>
                            </a:schemeClr>
                          </a:solidFill>
                          <a:latin typeface="微软雅黑" panose="020B0503020204020204" charset="-122"/>
                          <a:ea typeface="微软雅黑" panose="020B0503020204020204" charset="-122"/>
                        </a:rPr>
                        <a:t>目</a:t>
                      </a:r>
                      <a:r>
                        <a:rPr lang="zh-CN" altLang="zh-CN" sz="1200" b="1" dirty="0">
                          <a:solidFill>
                            <a:schemeClr val="tx1">
                              <a:lumMod val="75000"/>
                              <a:lumOff val="25000"/>
                            </a:schemeClr>
                          </a:solidFill>
                          <a:latin typeface="微软雅黑" panose="020B0503020204020204" charset="-122"/>
                          <a:ea typeface="微软雅黑" panose="020B0503020204020204" charset="-122"/>
                        </a:rPr>
                        <a:t>细菌</a:t>
                      </a:r>
                      <a:r>
                        <a:rPr lang="en-US" altLang="zh-CN" sz="1200" b="1" dirty="0">
                          <a:solidFill>
                            <a:schemeClr val="tx1">
                              <a:lumMod val="75000"/>
                              <a:lumOff val="25000"/>
                            </a:schemeClr>
                          </a:solidFill>
                          <a:latin typeface="微软雅黑" panose="020B0503020204020204" charset="-122"/>
                          <a:ea typeface="微软雅黑" panose="020B0503020204020204" charset="-122"/>
                        </a:rPr>
                        <a:t>(N=17,07)</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F2F3F5"/>
                    </a:solidFill>
                  </a:tcPr>
                </a:tc>
                <a:tc hMerge="1">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氨曲南</a:t>
                      </a:r>
                      <a:r>
                        <a:rPr lang="en-US" altLang="zh-CN" sz="1200" b="0" dirty="0">
                          <a:solidFill>
                            <a:schemeClr val="tx1">
                              <a:lumMod val="75000"/>
                              <a:lumOff val="25000"/>
                            </a:schemeClr>
                          </a:solidFill>
                          <a:latin typeface="微软雅黑" panose="020B0503020204020204" charset="-122"/>
                          <a:ea typeface="微软雅黑" panose="020B0503020204020204" charset="-122"/>
                        </a:rPr>
                        <a:t>-</a:t>
                      </a:r>
                      <a:r>
                        <a:rPr lang="zh-CN" altLang="en-US" sz="1200" b="0" dirty="0">
                          <a:solidFill>
                            <a:schemeClr val="tx1">
                              <a:lumMod val="75000"/>
                              <a:lumOff val="25000"/>
                            </a:schemeClr>
                          </a:solidFill>
                          <a:latin typeface="微软雅黑" panose="020B0503020204020204" charset="-122"/>
                          <a:ea typeface="微软雅黑" panose="020B0503020204020204" charset="-122"/>
                        </a:rPr>
                        <a:t>阿维巴坦</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1" dirty="0">
                          <a:solidFill>
                            <a:schemeClr val="tx1">
                              <a:lumMod val="75000"/>
                              <a:lumOff val="25000"/>
                            </a:schemeClr>
                          </a:solidFill>
                          <a:latin typeface="微软雅黑" panose="020B0503020204020204" charset="-122"/>
                          <a:ea typeface="微软雅黑" panose="020B0503020204020204" charset="-122"/>
                        </a:rPr>
                        <a:t>1628</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altLang="zh-CN" sz="1200" b="1" dirty="0">
                          <a:solidFill>
                            <a:schemeClr val="bg1"/>
                          </a:solidFill>
                          <a:latin typeface="微软雅黑" panose="020B0503020204020204" charset="-122"/>
                          <a:ea typeface="微软雅黑" panose="020B0503020204020204" charset="-122"/>
                        </a:rPr>
                        <a:t>99.4</a:t>
                      </a:r>
                      <a:endParaRPr lang="zh-CN" altLang="en-US" sz="12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1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15-1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多黏菌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62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NA</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1.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替加环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0" dirty="0">
                          <a:solidFill>
                            <a:schemeClr val="tx1">
                              <a:lumMod val="75000"/>
                              <a:lumOff val="25000"/>
                            </a:schemeClr>
                          </a:solidFill>
                          <a:latin typeface="微软雅黑" panose="020B0503020204020204" charset="-122"/>
                          <a:ea typeface="微软雅黑" panose="020B0503020204020204" charset="-122"/>
                        </a:rPr>
                        <a:t>1674</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4.0</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2314" name="文本框 13"/>
          <p:cNvSpPr txBox="1"/>
          <p:nvPr/>
        </p:nvSpPr>
        <p:spPr>
          <a:xfrm>
            <a:off x="588963" y="5572125"/>
            <a:ext cx="11014075" cy="369888"/>
          </a:xfrm>
          <a:prstGeom prst="rect">
            <a:avLst/>
          </a:prstGeom>
          <a:noFill/>
          <a:ln w="9525">
            <a:noFill/>
          </a:ln>
        </p:spPr>
        <p:txBody>
          <a:bodyPr wrap="square" lIns="0" tIns="0" rIns="0" bIns="0" anchor="t" anchorCtr="0">
            <a:spAutoFit/>
          </a:bodyPr>
          <a:p>
            <a:pPr>
              <a:buFont typeface="Wingdings" panose="05000000000000000000" pitchFamily="2" charset="2"/>
              <a:buNone/>
            </a:pPr>
            <a:r>
              <a:rPr lang="zh-CN" altLang="en-US" sz="1200" dirty="0">
                <a:latin typeface="Pfizer Tomorrow" charset="0"/>
                <a:ea typeface="微软雅黑" panose="020B0503020204020204" charset="-122"/>
              </a:rPr>
              <a:t>一项研究分析了</a:t>
            </a:r>
            <a:r>
              <a:rPr lang="en-US" altLang="zh-CN" sz="1200" dirty="0">
                <a:latin typeface="Pfizer Tomorrow" charset="0"/>
                <a:ea typeface="微软雅黑" panose="020B0503020204020204" charset="-122"/>
              </a:rPr>
              <a:t>2016-2020</a:t>
            </a:r>
            <a:r>
              <a:rPr lang="zh-CN" altLang="en-US" sz="1200" dirty="0">
                <a:latin typeface="Pfizer Tomorrow" charset="0"/>
                <a:ea typeface="微软雅黑" panose="020B0503020204020204" charset="-122"/>
              </a:rPr>
              <a:t>年</a:t>
            </a:r>
            <a:r>
              <a:rPr lang="en-US" altLang="zh-CN" sz="1200" dirty="0">
                <a:latin typeface="Pfizer Tomorrow" charset="0"/>
                <a:ea typeface="微软雅黑" panose="020B0503020204020204" charset="-122"/>
              </a:rPr>
              <a:t>ATLAS</a:t>
            </a:r>
            <a:r>
              <a:rPr lang="zh-CN" altLang="en-US" sz="1200" dirty="0">
                <a:latin typeface="Pfizer Tomorrow" charset="0"/>
                <a:ea typeface="微软雅黑" panose="020B0503020204020204" charset="-122"/>
              </a:rPr>
              <a:t>全球监测计划收集的全球</a:t>
            </a:r>
            <a:r>
              <a:rPr lang="en-US" altLang="zh-CN" sz="1200" dirty="0">
                <a:latin typeface="Pfizer Tomorrow" charset="0"/>
                <a:ea typeface="微软雅黑" panose="020B0503020204020204" charset="-122"/>
              </a:rPr>
              <a:t>63</a:t>
            </a:r>
            <a:r>
              <a:rPr lang="zh-CN" altLang="en-US" sz="1200" dirty="0">
                <a:latin typeface="Pfizer Tomorrow" charset="0"/>
                <a:ea typeface="微软雅黑" panose="020B0503020204020204" charset="-122"/>
              </a:rPr>
              <a:t>个国家、</a:t>
            </a:r>
            <a:r>
              <a:rPr lang="en-US" altLang="zh-CN" sz="1200" dirty="0">
                <a:latin typeface="Pfizer Tomorrow" charset="0"/>
                <a:ea typeface="微软雅黑" panose="020B0503020204020204" charset="-122"/>
              </a:rPr>
              <a:t>1117</a:t>
            </a:r>
            <a:r>
              <a:rPr lang="zh-CN" altLang="en-US" sz="1200" dirty="0">
                <a:latin typeface="Pfizer Tomorrow" charset="0"/>
                <a:ea typeface="微软雅黑" panose="020B0503020204020204" charset="-122"/>
              </a:rPr>
              <a:t>个地区的肠杆菌目细菌临床分离株（</a:t>
            </a:r>
            <a:r>
              <a:rPr lang="en-US" altLang="zh-CN" sz="1200" dirty="0">
                <a:latin typeface="Pfizer Tomorrow" charset="0"/>
                <a:ea typeface="微软雅黑" panose="020B0503020204020204" charset="-122"/>
              </a:rPr>
              <a:t>N= 106,686</a:t>
            </a:r>
            <a:r>
              <a:rPr lang="zh-CN" altLang="en-US" sz="1200" dirty="0">
                <a:latin typeface="Pfizer Tomorrow" charset="0"/>
                <a:ea typeface="微软雅黑" panose="020B0503020204020204" charset="-122"/>
              </a:rPr>
              <a:t>），评估氨曲南</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阿维巴坦和对照抗菌药物体外活性</a:t>
            </a:r>
            <a:endParaRPr lang="zh-CN" altLang="en-US" sz="1200" dirty="0">
              <a:latin typeface="Pfizer Tomorrow" charset="0"/>
              <a:ea typeface="微软雅黑" panose="020B0503020204020204" charset="-122"/>
            </a:endParaRPr>
          </a:p>
        </p:txBody>
      </p:sp>
      <p:sp>
        <p:nvSpPr>
          <p:cNvPr id="52315" name="文本框 17"/>
          <p:cNvSpPr txBox="1"/>
          <p:nvPr/>
        </p:nvSpPr>
        <p:spPr>
          <a:xfrm>
            <a:off x="2803525" y="1397000"/>
            <a:ext cx="6988175" cy="338138"/>
          </a:xfrm>
          <a:prstGeom prst="rect">
            <a:avLst/>
          </a:prstGeom>
          <a:noFill/>
          <a:ln w="9525">
            <a:noFill/>
          </a:ln>
        </p:spPr>
        <p:txBody>
          <a:bodyPr wrap="square" anchor="t" anchorCtr="0">
            <a:spAutoFit/>
          </a:bodyPr>
          <a:p>
            <a:pPr algn="ctr"/>
            <a:r>
              <a:rPr lang="en-US" altLang="zh-CN" sz="1600" b="1" dirty="0">
                <a:solidFill>
                  <a:schemeClr val="accent1"/>
                </a:solidFill>
                <a:latin typeface="Arial" panose="020B0604020202090204" pitchFamily="34" charset="0"/>
                <a:ea typeface="微软雅黑" panose="020B0503020204020204" charset="-122"/>
              </a:rPr>
              <a:t>ATLAS</a:t>
            </a:r>
            <a:r>
              <a:rPr lang="zh-CN" altLang="en-US" sz="1600" b="1" dirty="0">
                <a:solidFill>
                  <a:schemeClr val="accent1"/>
                </a:solidFill>
                <a:latin typeface="Arial" panose="020B0604020202090204" pitchFamily="34" charset="0"/>
                <a:ea typeface="微软雅黑" panose="020B0503020204020204" charset="-122"/>
              </a:rPr>
              <a:t>：氨曲南</a:t>
            </a:r>
            <a:r>
              <a:rPr lang="en-US" altLang="zh-CN" sz="1600" b="1" dirty="0">
                <a:solidFill>
                  <a:schemeClr val="accent1"/>
                </a:solidFill>
                <a:latin typeface="Arial" panose="020B0604020202090204" pitchFamily="34" charset="0"/>
                <a:ea typeface="微软雅黑" panose="020B0503020204020204" charset="-122"/>
              </a:rPr>
              <a:t>-</a:t>
            </a:r>
            <a:r>
              <a:rPr lang="zh-CN" altLang="en-US" sz="1600" b="1" dirty="0">
                <a:solidFill>
                  <a:schemeClr val="accent1"/>
                </a:solidFill>
                <a:latin typeface="Arial" panose="020B0604020202090204" pitchFamily="34" charset="0"/>
                <a:ea typeface="微软雅黑" panose="020B0503020204020204" charset="-122"/>
              </a:rPr>
              <a:t>阿维巴坦与多黏菌素、替加环素的体外活性比较</a:t>
            </a:r>
            <a:endParaRPr lang="zh-CN" altLang="en-US" sz="1600" b="1" dirty="0">
              <a:solidFill>
                <a:schemeClr val="accent1"/>
              </a:solidFill>
              <a:latin typeface="Arial" panose="020B0604020202090204" pitchFamily="34" charset="0"/>
              <a:ea typeface="微软雅黑" panose="020B0503020204020204" charset="-122"/>
            </a:endParaRPr>
          </a:p>
        </p:txBody>
      </p:sp>
      <p:sp>
        <p:nvSpPr>
          <p:cNvPr id="20" name="文本框 19"/>
          <p:cNvSpPr txBox="1"/>
          <p:nvPr/>
        </p:nvSpPr>
        <p:spPr>
          <a:xfrm>
            <a:off x="588963" y="6019800"/>
            <a:ext cx="10764838" cy="414338"/>
          </a:xfrm>
          <a:prstGeom prst="rect">
            <a:avLst/>
          </a:prstGeom>
          <a:noFill/>
        </p:spPr>
        <p:txBody>
          <a:bodyPr wrap="square">
            <a:spAutoFit/>
          </a:bodyPr>
          <a:lstStyle/>
          <a:p>
            <a:pPr fontAlgn="auto"/>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ATLAS</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抗菌测试领导和监测计划；</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RE</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肠杆菌目细菌；</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IC</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最小抑菌浓度；</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LSI</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临床和实验室标准协会； </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EUCAST</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欧洲药敏试验委员会；</a:t>
            </a:r>
            <a:r>
              <a:rPr lang="en-US" altLang="zh-CN" sz="1050" noProof="1" dirty="0">
                <a:solidFill>
                  <a:schemeClr val="tx1">
                    <a:lumMod val="65000"/>
                    <a:lumOff val="35000"/>
                  </a:schemeClr>
                </a:solidFill>
                <a:latin typeface="Pfizer Tomorrow" charset="0"/>
                <a:ea typeface="微软雅黑" panose="020B0503020204020204" charset="-122"/>
                <a:cs typeface="+mn-cs"/>
                <a:sym typeface="Pfizer Tomorrow" charset="0"/>
              </a:rPr>
              <a:t>NA</a:t>
            </a:r>
            <a:r>
              <a:rPr lang="zh-CN" altLang="en-US" sz="1050" noProof="1" dirty="0">
                <a:solidFill>
                  <a:schemeClr val="tx1">
                    <a:lumMod val="65000"/>
                    <a:lumOff val="35000"/>
                  </a:schemeClr>
                </a:solidFill>
                <a:latin typeface="Pfizer Tomorrow" charset="0"/>
                <a:ea typeface="微软雅黑" panose="020B0503020204020204" charset="-122"/>
                <a:cs typeface="+mn-cs"/>
                <a:sym typeface="Pfizer Tomorrow" charset="0"/>
              </a:rPr>
              <a:t>：不可用</a:t>
            </a:r>
            <a:endPar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p:txBody>
      </p:sp>
      <p:grpSp>
        <p:nvGrpSpPr>
          <p:cNvPr id="52317" name="组合 2"/>
          <p:cNvGrpSpPr/>
          <p:nvPr/>
        </p:nvGrpSpPr>
        <p:grpSpPr>
          <a:xfrm rot="-642761">
            <a:off x="187325" y="1617663"/>
            <a:ext cx="1157288"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5" name="文本框 4"/>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标题 4"/>
          <p:cNvSpPr>
            <a:spLocks noGrp="1"/>
          </p:cNvSpPr>
          <p:nvPr>
            <p:ph type="title"/>
          </p:nvPr>
        </p:nvSpPr>
        <p:spPr>
          <a:xfrm>
            <a:off x="838200" y="324168"/>
            <a:ext cx="10515600" cy="829945"/>
          </a:xfrm>
        </p:spPr>
        <p:txBody>
          <a:bodyPr lIns="91440" tIns="45720" rIns="91440" bIns="45720" anchor="b" anchorCtr="0">
            <a:spAutoFit/>
          </a:bodyPr>
          <a:p>
            <a:pPr defTabSz="914400">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不同科室、感染部位的MBL-CRE分离株</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均对氨曲南-阿维巴坦️的敏感率高</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4274" name="文本框 5"/>
          <p:cNvSpPr txBox="1"/>
          <p:nvPr/>
        </p:nvSpPr>
        <p:spPr>
          <a:xfrm>
            <a:off x="760413" y="6489700"/>
            <a:ext cx="6096000" cy="215900"/>
          </a:xfrm>
          <a:prstGeom prst="rect">
            <a:avLst/>
          </a:prstGeom>
          <a:noFill/>
          <a:ln w="9525">
            <a:noFill/>
          </a:ln>
        </p:spPr>
        <p:txBody>
          <a:bodyPr wrap="square" anchor="t" anchorCtr="0">
            <a:spAutoFit/>
          </a:bodyPr>
          <a:p>
            <a:r>
              <a:rPr lang="en-US" altLang="zh-CN" sz="800" dirty="0" err="1">
                <a:latin typeface="Pfizer Tomorrow" charset="0"/>
                <a:ea typeface="微软雅黑" panose="020B0503020204020204" charset="-122"/>
                <a:sym typeface="Pfizer Tomorrow" charset="0"/>
              </a:rPr>
              <a:t>Piérard</a:t>
            </a:r>
            <a:r>
              <a:rPr lang="en-US" altLang="zh-CN" sz="800" dirty="0">
                <a:latin typeface="Pfizer Tomorrow" charset="0"/>
                <a:ea typeface="微软雅黑" panose="020B0503020204020204" charset="-122"/>
                <a:sym typeface="Pfizer Tomorrow" charset="0"/>
              </a:rPr>
              <a:t> D, et al. Antibiotics (Basel). 2023 Nov 3;12(11):1591.</a:t>
            </a:r>
            <a:endParaRPr lang="en-US" altLang="zh-CN" sz="800" dirty="0">
              <a:latin typeface="Pfizer Tomorrow" charset="0"/>
              <a:ea typeface="微软雅黑" panose="020B0503020204020204" charset="-122"/>
              <a:sym typeface="Pfizer Tomorrow" charset="0"/>
            </a:endParaRPr>
          </a:p>
        </p:txBody>
      </p:sp>
      <p:graphicFrame>
        <p:nvGraphicFramePr>
          <p:cNvPr id="36" name="表格 35"/>
          <p:cNvGraphicFramePr>
            <a:graphicFrameLocks noGrp="1"/>
          </p:cNvGraphicFramePr>
          <p:nvPr/>
        </p:nvGraphicFramePr>
        <p:xfrm>
          <a:off x="833438" y="1874838"/>
          <a:ext cx="10377488" cy="3316535"/>
        </p:xfrm>
        <a:graphic>
          <a:graphicData uri="http://schemas.openxmlformats.org/drawingml/2006/table">
            <a:tbl>
              <a:tblPr firstRow="1" bandRow="1">
                <a:tableStyleId>{5C22544A-7EE6-4342-B048-85BDC9FD1C3A}</a:tableStyleId>
              </a:tblPr>
              <a:tblGrid>
                <a:gridCol w="1507459"/>
                <a:gridCol w="1853279"/>
                <a:gridCol w="2179709"/>
                <a:gridCol w="1470064"/>
                <a:gridCol w="1741588"/>
                <a:gridCol w="1624774"/>
              </a:tblGrid>
              <a:tr h="383363">
                <a:tc gridSpan="2">
                  <a:txBody>
                    <a:bodyPr/>
                    <a:lstStyle/>
                    <a:p>
                      <a:pPr algn="ct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cPr marL="121920" marR="121920" marT="60960" marB="60960" anchor="ctr">
                    <a:lnB w="12700" cap="flat" cmpd="sng" algn="ctr">
                      <a:noFill/>
                      <a:prstDash val="solid"/>
                      <a:round/>
                      <a:headEnd type="none" w="med" len="med"/>
                      <a:tailEnd type="none" w="med" len="med"/>
                    </a:lnB>
                    <a:solidFill>
                      <a:srgbClr val="000D45"/>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氨曲南</a:t>
                      </a:r>
                      <a:r>
                        <a:rPr lang="en-US" altLang="zh-CN" sz="1400" dirty="0">
                          <a:solidFill>
                            <a:schemeClr val="bg1"/>
                          </a:solidFill>
                          <a:latin typeface="Pfizer Tomorrow" charset="0"/>
                          <a:ea typeface="微软雅黑" panose="020B0503020204020204" charset="-122"/>
                          <a:sym typeface="Pfizer Tomorrow" charset="0"/>
                        </a:rPr>
                        <a:t>-</a:t>
                      </a:r>
                      <a:r>
                        <a:rPr lang="zh-CN" altLang="en-US" sz="1400" dirty="0">
                          <a:solidFill>
                            <a:schemeClr val="bg1"/>
                          </a:solidFill>
                          <a:latin typeface="Pfizer Tomorrow" charset="0"/>
                          <a:ea typeface="微软雅黑" panose="020B0503020204020204" charset="-122"/>
                          <a:sym typeface="Pfizer Tomorrow" charset="0"/>
                        </a:rPr>
                        <a:t>阿维巴坦</a:t>
                      </a: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a:solidFill>
                            <a:schemeClr val="bg1"/>
                          </a:solidFill>
                          <a:latin typeface="Pfizer Tomorrow" charset="0"/>
                          <a:ea typeface="微软雅黑" panose="020B0503020204020204" charset="-122"/>
                          <a:sym typeface="Pfizer Tomorrow" charset="0"/>
                        </a:rPr>
                        <a:t>氨曲南</a:t>
                      </a:r>
                      <a:endParaRPr lang="zh-CN" altLang="en-US" sz="140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多黏菌素</a:t>
                      </a:r>
                      <a:r>
                        <a:rPr lang="en-US" altLang="zh-CN" sz="1400" dirty="0">
                          <a:solidFill>
                            <a:schemeClr val="bg1"/>
                          </a:solidFill>
                          <a:latin typeface="Pfizer Tomorrow" charset="0"/>
                          <a:ea typeface="微软雅黑" panose="020B0503020204020204" charset="-122"/>
                          <a:sym typeface="Pfizer Tomorrow" charset="0"/>
                        </a:rPr>
                        <a:t>E</a:t>
                      </a:r>
                      <a:endParaRPr lang="en-US" altLang="zh-CN"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替加环素</a:t>
                      </a: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2889">
                <a:tc rowSpan="4">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CRE</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分离株</a:t>
                      </a:r>
                      <a:endParaRPr lang="en-US" altLang="zh-CN" sz="1200" dirty="0">
                        <a:solidFill>
                          <a:schemeClr val="tx1">
                            <a:lumMod val="75000"/>
                            <a:lumOff val="25000"/>
                          </a:schemeClr>
                        </a:solidFill>
                        <a:latin typeface="Pfizer Tomorrow" charset="0"/>
                        <a:ea typeface="微软雅黑" panose="020B0503020204020204" charset="-122"/>
                        <a:sym typeface="Pfizer Tomorrow" charset="0"/>
                      </a:endParaRPr>
                    </a:p>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N=4388</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r>
                        <a:rPr lang="en-US" altLang="zh-CN" sz="1200" dirty="0" err="1">
                          <a:solidFill>
                            <a:schemeClr val="tx1">
                              <a:lumMod val="75000"/>
                              <a:lumOff val="25000"/>
                            </a:schemeClr>
                          </a:solidFill>
                          <a:latin typeface="Pfizer Tomorrow" charset="0"/>
                          <a:ea typeface="微软雅黑" panose="020B0503020204020204" charset="-122"/>
                          <a:sym typeface="Pfizer Tomorrow" charset="0"/>
                        </a:rPr>
                        <a:t>EUCAST</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0%</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6.9%</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1.5%</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9%</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非</a:t>
                      </a:r>
                      <a:r>
                        <a:rPr lang="en-US" altLang="zh-CN" sz="1200" dirty="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4%</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8.5%</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3.9%</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1.2%</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algn="ctr">
                        <a:lnSpc>
                          <a:spcPct val="120000"/>
                        </a:lnSpc>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呼吸道感染</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1%</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5.4%</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76.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lnT w="952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lnSpc>
                          <a:spcPct val="120000"/>
                        </a:lnSpc>
                      </a:pPr>
                      <a:r>
                        <a:rPr lang="zh-CN" altLang="en-US" sz="1200">
                          <a:solidFill>
                            <a:schemeClr val="tx1">
                              <a:lumMod val="75000"/>
                              <a:lumOff val="25000"/>
                            </a:schemeClr>
                          </a:solidFill>
                          <a:latin typeface="Pfizer Tomorrow" charset="0"/>
                          <a:ea typeface="微软雅黑" panose="020B0503020204020204" charset="-122"/>
                          <a:sym typeface="Pfizer Tomorrow" charset="0"/>
                        </a:rPr>
                        <a:t>复杂性腹腔内感染</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8%</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6.1%</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3.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2889">
                <a:tc rowSpan="4">
                  <a:txBody>
                    <a:bodyPr/>
                    <a:lstStyle/>
                    <a:p>
                      <a:pPr algn="ctr">
                        <a:lnSpc>
                          <a:spcPct val="120000"/>
                        </a:lnSpc>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MBL-CRE</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分离株</a:t>
                      </a:r>
                      <a:endParaRPr lang="en-US" altLang="zh-CN" sz="1200" dirty="0">
                        <a:solidFill>
                          <a:schemeClr val="tx1">
                            <a:lumMod val="75000"/>
                            <a:lumOff val="25000"/>
                          </a:schemeClr>
                        </a:solidFill>
                        <a:latin typeface="Pfizer Tomorrow" charset="0"/>
                        <a:ea typeface="微软雅黑" panose="020B0503020204020204" charset="-122"/>
                        <a:sym typeface="Pfizer Tomorrow" charset="0"/>
                      </a:endParaRPr>
                    </a:p>
                    <a:p>
                      <a:pPr algn="ctr">
                        <a:lnSpc>
                          <a:spcPct val="120000"/>
                        </a:lnSpc>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N=1877</a:t>
                      </a:r>
                      <a:br>
                        <a:rPr lang="en-US" altLang="zh-CN" sz="1200" dirty="0">
                          <a:solidFill>
                            <a:schemeClr val="tx1">
                              <a:lumMod val="75000"/>
                              <a:lumOff val="25000"/>
                            </a:schemeClr>
                          </a:solidFill>
                          <a:latin typeface="Pfizer Tomorrow" charset="0"/>
                          <a:ea typeface="微软雅黑" panose="020B0503020204020204" charset="-122"/>
                          <a:sym typeface="Pfizer Tomorrow" charset="0"/>
                        </a:rPr>
                      </a:b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r>
                        <a:rPr lang="en-US" altLang="zh-CN" sz="1200" dirty="0">
                          <a:solidFill>
                            <a:schemeClr val="tx1">
                              <a:lumMod val="75000"/>
                              <a:lumOff val="25000"/>
                            </a:schemeClr>
                          </a:solidFill>
                          <a:latin typeface="Pfizer Tomorrow" charset="0"/>
                          <a:ea typeface="微软雅黑" panose="020B0503020204020204" charset="-122"/>
                          <a:sym typeface="Pfizer Tomorrow" charset="0"/>
                        </a:rPr>
                        <a:t>EUCAST</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8.7%</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5.3%</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0.3%</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200">
                          <a:solidFill>
                            <a:schemeClr val="tx1">
                              <a:lumMod val="75000"/>
                              <a:lumOff val="25000"/>
                            </a:schemeClr>
                          </a:solidFill>
                          <a:latin typeface="Pfizer Tomorrow" charset="0"/>
                          <a:ea typeface="微软雅黑" panose="020B0503020204020204" charset="-122"/>
                          <a:sym typeface="Pfizer Tomorrow" charset="0"/>
                        </a:rPr>
                        <a:t>非</a:t>
                      </a:r>
                      <a:r>
                        <a:rPr lang="en-US" altLang="zh-CN" sz="120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7%</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9.3%</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1.8%</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2.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algn="ctr">
                        <a:lnSpc>
                          <a:spcPct val="120000"/>
                        </a:lnSpc>
                      </a:pPr>
                      <a:r>
                        <a:rPr lang="zh-CN" altLang="en-US" sz="1200">
                          <a:solidFill>
                            <a:schemeClr val="tx1">
                              <a:lumMod val="75000"/>
                              <a:lumOff val="25000"/>
                            </a:schemeClr>
                          </a:solidFill>
                          <a:latin typeface="Pfizer Tomorrow" charset="0"/>
                          <a:ea typeface="微软雅黑" panose="020B0503020204020204" charset="-122"/>
                          <a:sym typeface="Pfizer Tomorrow" charset="0"/>
                        </a:rPr>
                        <a:t>呼吸道感染</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5%</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5.1%</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1.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lnT w="952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lnSpc>
                          <a:spcPct val="120000"/>
                        </a:lnSpc>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复杂性腹腔内感染</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b="1" dirty="0">
                          <a:solidFill>
                            <a:schemeClr val="bg1"/>
                          </a:solidFill>
                          <a:latin typeface="Pfizer Tomorrow" charset="0"/>
                          <a:ea typeface="微软雅黑" panose="020B0503020204020204" charset="-122"/>
                          <a:sym typeface="Pfizer Tomorrow" charset="0"/>
                        </a:rPr>
                        <a:t>99.5%</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15.8%</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7.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4341" name="文本框 40"/>
          <p:cNvSpPr txBox="1"/>
          <p:nvPr/>
        </p:nvSpPr>
        <p:spPr>
          <a:xfrm>
            <a:off x="1257300" y="1398588"/>
            <a:ext cx="9677400" cy="338137"/>
          </a:xfrm>
          <a:prstGeom prst="rect">
            <a:avLst/>
          </a:prstGeom>
          <a:noFill/>
          <a:ln w="9525">
            <a:noFill/>
          </a:ln>
        </p:spPr>
        <p:txBody>
          <a:bodyPr wrap="square" anchor="t" anchorCtr="0">
            <a:spAutoFit/>
          </a:bodyPr>
          <a:p>
            <a:pPr algn="ctr"/>
            <a:r>
              <a:rPr lang="en-US" altLang="zh-CN" sz="1600" b="1" dirty="0">
                <a:solidFill>
                  <a:srgbClr val="000D45"/>
                </a:solidFill>
                <a:latin typeface="Pfizer Tomorrow" charset="0"/>
                <a:ea typeface="微软雅黑" panose="020B0503020204020204" charset="-122"/>
                <a:sym typeface="Pfizer Tomorrow" charset="0"/>
              </a:rPr>
              <a:t>2016-2020</a:t>
            </a:r>
            <a:r>
              <a:rPr lang="zh-CN" altLang="en-US" sz="1600" b="1" dirty="0">
                <a:solidFill>
                  <a:srgbClr val="000D45"/>
                </a:solidFill>
                <a:latin typeface="Pfizer Tomorrow" charset="0"/>
                <a:ea typeface="微软雅黑" panose="020B0503020204020204" charset="-122"/>
                <a:sym typeface="Pfizer Tomorrow" charset="0"/>
              </a:rPr>
              <a:t>按不同科室（</a:t>
            </a:r>
            <a:r>
              <a:rPr lang="en-US" altLang="zh-CN" sz="1600" b="1" dirty="0">
                <a:solidFill>
                  <a:srgbClr val="000D45"/>
                </a:solidFill>
                <a:latin typeface="Pfizer Tomorrow" charset="0"/>
                <a:ea typeface="微软雅黑" panose="020B0503020204020204" charset="-122"/>
                <a:sym typeface="Pfizer Tomorrow" charset="0"/>
              </a:rPr>
              <a:t>ICU</a:t>
            </a:r>
            <a:r>
              <a:rPr lang="zh-CN" altLang="en-US" sz="1600" b="1" dirty="0">
                <a:solidFill>
                  <a:srgbClr val="000D45"/>
                </a:solidFill>
                <a:latin typeface="Pfizer Tomorrow" charset="0"/>
                <a:ea typeface="微软雅黑" panose="020B0503020204020204" charset="-122"/>
                <a:sym typeface="Pfizer Tomorrow" charset="0"/>
              </a:rPr>
              <a:t>、非</a:t>
            </a:r>
            <a:r>
              <a:rPr lang="en-US" altLang="zh-CN" sz="1600" b="1" dirty="0">
                <a:solidFill>
                  <a:srgbClr val="000D45"/>
                </a:solidFill>
                <a:latin typeface="Pfizer Tomorrow" charset="0"/>
                <a:ea typeface="微软雅黑" panose="020B0503020204020204" charset="-122"/>
                <a:sym typeface="Pfizer Tomorrow" charset="0"/>
              </a:rPr>
              <a:t>ICU</a:t>
            </a:r>
            <a:r>
              <a:rPr lang="zh-CN" altLang="en-US" sz="1600" b="1" dirty="0">
                <a:solidFill>
                  <a:srgbClr val="000D45"/>
                </a:solidFill>
                <a:latin typeface="Pfizer Tomorrow" charset="0"/>
                <a:ea typeface="微软雅黑" panose="020B0503020204020204" charset="-122"/>
                <a:sym typeface="Pfizer Tomorrow" charset="0"/>
              </a:rPr>
              <a:t>）及不同感染来源收集的肠杆菌目细菌分离株的抗菌药物敏感性</a:t>
            </a:r>
            <a:r>
              <a:rPr lang="en-US" altLang="zh-CN" sz="1600" b="1" baseline="30000" dirty="0">
                <a:solidFill>
                  <a:srgbClr val="000D45"/>
                </a:solidFill>
                <a:latin typeface="Pfizer Tomorrow" charset="0"/>
                <a:ea typeface="微软雅黑" panose="020B0503020204020204" charset="-122"/>
                <a:sym typeface="Pfizer Tomorrow" charset="0"/>
              </a:rPr>
              <a:t>1</a:t>
            </a:r>
            <a:endParaRPr lang="zh-CN" altLang="en-US" sz="1600" b="1" baseline="30000" dirty="0">
              <a:solidFill>
                <a:srgbClr val="000D45"/>
              </a:solidFill>
              <a:latin typeface="Pfizer Tomorrow" charset="0"/>
              <a:ea typeface="微软雅黑" panose="020B0503020204020204" charset="-122"/>
              <a:sym typeface="Pfizer Tomorrow" charset="0"/>
            </a:endParaRPr>
          </a:p>
        </p:txBody>
      </p:sp>
      <p:sp>
        <p:nvSpPr>
          <p:cNvPr id="54342" name="文本框 2"/>
          <p:cNvSpPr txBox="1"/>
          <p:nvPr/>
        </p:nvSpPr>
        <p:spPr>
          <a:xfrm>
            <a:off x="639763" y="5187950"/>
            <a:ext cx="11018837" cy="687388"/>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本研究为抗菌测试领导和监测 </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的一部分，评估了</a:t>
            </a:r>
            <a:r>
              <a:rPr lang="en-US" altLang="zh-CN" sz="1200" dirty="0">
                <a:latin typeface="Pfizer Tomorrow" charset="0"/>
                <a:ea typeface="微软雅黑" panose="020B0503020204020204" charset="-122"/>
                <a:sym typeface="Pfizer Tomorrow" charset="0"/>
              </a:rPr>
              <a:t>2016</a:t>
            </a:r>
            <a:r>
              <a:rPr lang="zh-CN" altLang="en-US" sz="1200" dirty="0">
                <a:latin typeface="Pfizer Tomorrow" charset="0"/>
                <a:ea typeface="微软雅黑" panose="020B0503020204020204" charset="-122"/>
                <a:sym typeface="Pfizer Tomorrow" charset="0"/>
              </a:rPr>
              <a:t>年至</a:t>
            </a:r>
            <a:r>
              <a:rPr lang="en-US" altLang="zh-CN" sz="1200" dirty="0">
                <a:latin typeface="Pfizer Tomorrow" charset="0"/>
                <a:ea typeface="微软雅黑" panose="020B0503020204020204" charset="-122"/>
                <a:sym typeface="Pfizer Tomorrow" charset="0"/>
              </a:rPr>
              <a:t>2020</a:t>
            </a:r>
            <a:r>
              <a:rPr lang="zh-CN" altLang="en-US" sz="1200" dirty="0">
                <a:latin typeface="Pfizer Tomorrow" charset="0"/>
                <a:ea typeface="微软雅黑" panose="020B0503020204020204" charset="-122"/>
                <a:sym typeface="Pfizer Tomorrow" charset="0"/>
              </a:rPr>
              <a:t>年间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和对照抗菌药物对</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收集的肠杆菌属（包含非洲中东部、亚太地区、欧洲、拉丁美洲和北美的呼吸道感染、腹腔感染等患者）分离株和关键耐药表型的活性，并按照</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和非</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感染源和地理区域分层。根据</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指南确定最低抑菌浓度，使用</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和</a:t>
            </a:r>
            <a:r>
              <a:rPr lang="en-US" altLang="zh-CN" sz="1200" dirty="0" err="1">
                <a:latin typeface="Pfizer Tomorrow" charset="0"/>
                <a:ea typeface="微软雅黑" panose="020B0503020204020204" charset="-122"/>
                <a:sym typeface="Pfizer Tomorrow" charset="0"/>
              </a:rPr>
              <a:t>EUCAST</a:t>
            </a:r>
            <a:r>
              <a:rPr lang="zh-CN" altLang="en-US" sz="1200" dirty="0">
                <a:latin typeface="Pfizer Tomorrow" charset="0"/>
                <a:ea typeface="微软雅黑" panose="020B0503020204020204" charset="-122"/>
                <a:sym typeface="Pfizer Tomorrow" charset="0"/>
              </a:rPr>
              <a:t>折点确定抗菌药物的敏感性</a:t>
            </a:r>
            <a:r>
              <a:rPr lang="en-US" altLang="zh-CN" sz="1200" baseline="30000" dirty="0">
                <a:latin typeface="Pfizer Tomorrow" charset="0"/>
                <a:ea typeface="微软雅黑" panose="020B0503020204020204" charset="-122"/>
                <a:sym typeface="Pfizer Tomorrow" charset="0"/>
              </a:rPr>
              <a:t>1</a:t>
            </a:r>
            <a:endParaRPr lang="zh-CN" altLang="en-US" sz="1200" baseline="30000" dirty="0">
              <a:latin typeface="Pfizer Tomorrow" charset="0"/>
              <a:ea typeface="微软雅黑" panose="020B0503020204020204" charset="-122"/>
              <a:sym typeface="Pfizer Tomorrow" charset="0"/>
            </a:endParaRPr>
          </a:p>
        </p:txBody>
      </p:sp>
      <p:sp>
        <p:nvSpPr>
          <p:cNvPr id="54343" name="文本框 3"/>
          <p:cNvSpPr txBox="1"/>
          <p:nvPr/>
        </p:nvSpPr>
        <p:spPr>
          <a:xfrm>
            <a:off x="639763" y="5937250"/>
            <a:ext cx="10377487" cy="261938"/>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ICU</a:t>
            </a:r>
            <a:r>
              <a:rPr lang="zh-CN" altLang="en-US" sz="1100" dirty="0">
                <a:solidFill>
                  <a:srgbClr val="595959"/>
                </a:solidFill>
                <a:latin typeface="Pfizer Tomorrow" charset="0"/>
                <a:ea typeface="微软雅黑" panose="020B0503020204020204" charset="-122"/>
                <a:sym typeface="Pfizer Tomorrow" charset="0"/>
              </a:rPr>
              <a:t>：重症监护室；</a:t>
            </a:r>
            <a:r>
              <a:rPr lang="en-US" altLang="zh-CN" sz="1100" dirty="0" err="1">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 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 </a:t>
            </a:r>
            <a:r>
              <a:rPr lang="en-US" altLang="zh-CN" sz="1100" dirty="0" err="1">
                <a:solidFill>
                  <a:srgbClr val="595959"/>
                </a:solidFill>
                <a:latin typeface="Pfizer Tomorrow" charset="0"/>
                <a:ea typeface="微软雅黑" panose="020B0503020204020204" charset="-122"/>
                <a:sym typeface="Pfizer Tomorrow" charset="0"/>
              </a:rPr>
              <a:t>CLSI</a:t>
            </a:r>
            <a:r>
              <a:rPr lang="zh-CN" altLang="en-US" sz="1100" dirty="0">
                <a:solidFill>
                  <a:srgbClr val="595959"/>
                </a:solidFill>
                <a:latin typeface="Pfizer Tomorrow" charset="0"/>
                <a:ea typeface="微软雅黑" panose="020B0503020204020204" charset="-122"/>
                <a:sym typeface="Pfizer Tomorrow" charset="0"/>
              </a:rPr>
              <a:t>：临床和实验室标准协会；</a:t>
            </a:r>
            <a:r>
              <a:rPr lang="en-US" altLang="zh-CN" sz="1100" dirty="0">
                <a:solidFill>
                  <a:srgbClr val="595959"/>
                </a:solidFill>
                <a:latin typeface="Pfizer Tomorrow" charset="0"/>
                <a:ea typeface="微软雅黑" panose="020B0503020204020204" charset="-122"/>
                <a:sym typeface="Pfizer Tomorrow" charset="0"/>
              </a:rPr>
              <a:t> </a:t>
            </a:r>
            <a:r>
              <a:rPr lang="en-US" altLang="zh-CN" sz="1100" dirty="0" err="1">
                <a:solidFill>
                  <a:srgbClr val="595959"/>
                </a:solidFill>
                <a:latin typeface="Pfizer Tomorrow" charset="0"/>
                <a:ea typeface="微软雅黑" panose="020B0503020204020204" charset="-122"/>
                <a:sym typeface="Pfizer Tomorrow" charset="0"/>
              </a:rPr>
              <a:t>EUCAST</a:t>
            </a:r>
            <a:r>
              <a:rPr lang="zh-CN" altLang="en-US" sz="1100" dirty="0">
                <a:solidFill>
                  <a:srgbClr val="595959"/>
                </a:solidFill>
                <a:latin typeface="Pfizer Tomorrow" charset="0"/>
                <a:ea typeface="微软雅黑" panose="020B0503020204020204" charset="-122"/>
                <a:sym typeface="Pfizer Tomorrow" charset="0"/>
              </a:rPr>
              <a:t>：欧洲药敏试验委员会</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54344" name="文本框 1"/>
          <p:cNvSpPr txBox="1"/>
          <p:nvPr/>
        </p:nvSpPr>
        <p:spPr>
          <a:xfrm>
            <a:off x="639763" y="6165850"/>
            <a:ext cx="6996112" cy="260350"/>
          </a:xfrm>
          <a:prstGeom prst="rect">
            <a:avLst/>
          </a:prstGeom>
          <a:noFill/>
          <a:ln w="9525">
            <a:noFill/>
          </a:ln>
        </p:spPr>
        <p:txBody>
          <a:bodyPr wrap="square" anchor="t" anchorCtr="0">
            <a:spAutoFit/>
          </a:bodyPr>
          <a:p>
            <a:pPr>
              <a:lnSpc>
                <a:spcPct val="120000"/>
              </a:lnSpc>
            </a:pPr>
            <a:r>
              <a:rPr lang="zh-CN" altLang="en-US" sz="1000" dirty="0">
                <a:solidFill>
                  <a:srgbClr val="595959"/>
                </a:solidFill>
                <a:latin typeface="Arial" panose="020B0604020202090204" pitchFamily="34" charset="0"/>
                <a:ea typeface="微软雅黑" panose="020B0503020204020204" charset="-122"/>
              </a:rPr>
              <a:t>替加环素可用于部分</a:t>
            </a:r>
            <a:r>
              <a:rPr lang="en-US" altLang="zh-CN" sz="1000" dirty="0">
                <a:solidFill>
                  <a:srgbClr val="595959"/>
                </a:solidFill>
                <a:latin typeface="Arial" panose="020B0604020202090204" pitchFamily="34" charset="0"/>
                <a:ea typeface="微软雅黑" panose="020B0503020204020204" charset="-122"/>
              </a:rPr>
              <a:t>CRE</a:t>
            </a:r>
            <a:r>
              <a:rPr lang="zh-CN" altLang="en-US" sz="1000" dirty="0">
                <a:solidFill>
                  <a:srgbClr val="595959"/>
                </a:solidFill>
                <a:latin typeface="Arial" panose="020B0604020202090204" pitchFamily="34" charset="0"/>
                <a:ea typeface="微软雅黑" panose="020B0503020204020204" charset="-122"/>
              </a:rPr>
              <a:t>所致的复杂性腹腔内感染、复杂性皮肤和皮肤软组织感染，临床使用请参考</a:t>
            </a:r>
            <a:r>
              <a:rPr lang="en-US" altLang="zh-CN" sz="1000" dirty="0">
                <a:solidFill>
                  <a:srgbClr val="595959"/>
                </a:solidFill>
                <a:latin typeface="Arial" panose="020B0604020202090204" pitchFamily="34" charset="0"/>
                <a:ea typeface="微软雅黑" panose="020B0503020204020204" charset="-122"/>
              </a:rPr>
              <a:t>NMPA</a:t>
            </a:r>
            <a:r>
              <a:rPr lang="zh-CN" altLang="en-US" sz="1000" dirty="0">
                <a:solidFill>
                  <a:srgbClr val="595959"/>
                </a:solidFill>
                <a:latin typeface="Arial" panose="020B0604020202090204" pitchFamily="34" charset="0"/>
                <a:ea typeface="微软雅黑" panose="020B0503020204020204" charset="-122"/>
              </a:rPr>
              <a:t>批准说明书</a:t>
            </a:r>
            <a:endParaRPr lang="zh-CN" altLang="en-US" sz="1000" dirty="0">
              <a:solidFill>
                <a:srgbClr val="595959"/>
              </a:solidFill>
              <a:latin typeface="Arial" panose="020B0604020202090204" pitchFamily="34" charset="0"/>
              <a:ea typeface="微软雅黑" panose="020B0503020204020204" charset="-122"/>
            </a:endParaRPr>
          </a:p>
        </p:txBody>
      </p:sp>
      <p:grpSp>
        <p:nvGrpSpPr>
          <p:cNvPr id="54345" name="组合 6"/>
          <p:cNvGrpSpPr/>
          <p:nvPr/>
        </p:nvGrpSpPr>
        <p:grpSpPr>
          <a:xfrm rot="-642761">
            <a:off x="187325" y="1617663"/>
            <a:ext cx="1157288" cy="444500"/>
            <a:chOff x="872051" y="5055645"/>
            <a:chExt cx="1158467" cy="444696"/>
          </a:xfrm>
        </p:grpSpPr>
        <p:sp>
          <p:nvSpPr>
            <p:cNvPr id="8"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角 9"/>
          <p:cNvSpPr/>
          <p:nvPr/>
        </p:nvSpPr>
        <p:spPr>
          <a:xfrm>
            <a:off x="596900" y="1874838"/>
            <a:ext cx="11017250" cy="2881313"/>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56322" name="标题 6"/>
          <p:cNvSpPr>
            <a:spLocks noGrp="1"/>
          </p:cNvSpPr>
          <p:nvPr>
            <p:ph type="title"/>
          </p:nvPr>
        </p:nvSpPr>
        <p:spPr>
          <a:xfrm>
            <a:off x="-180975" y="324168"/>
            <a:ext cx="1255395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高敏感</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产KPC、MBL及共产酶KPC+MBL</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的CRE分离株对氨曲南-阿维巴坦的耐药率均为0%</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6323" name="文本框 2"/>
          <p:cNvSpPr txBox="1"/>
          <p:nvPr/>
        </p:nvSpPr>
        <p:spPr>
          <a:xfrm>
            <a:off x="587375" y="6437313"/>
            <a:ext cx="10793413"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p:txBody>
      </p:sp>
      <p:sp>
        <p:nvSpPr>
          <p:cNvPr id="56324" name="文本框 21"/>
          <p:cNvSpPr txBox="1"/>
          <p:nvPr/>
        </p:nvSpPr>
        <p:spPr>
          <a:xfrm>
            <a:off x="587375" y="5729288"/>
            <a:ext cx="10209213" cy="261937"/>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CP</a:t>
            </a:r>
            <a:r>
              <a:rPr lang="zh-CN" altLang="en-US" sz="1100" dirty="0">
                <a:solidFill>
                  <a:srgbClr val="595959"/>
                </a:solidFill>
                <a:latin typeface="Pfizer Tomorrow" charset="0"/>
                <a:ea typeface="微软雅黑" panose="020B0503020204020204" charset="-122"/>
                <a:sym typeface="Pfizer Tomorrow" charset="0"/>
              </a:rPr>
              <a:t>：产碳青霉烯酶；</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5" name="文本框 18"/>
          <p:cNvSpPr txBox="1"/>
          <p:nvPr/>
        </p:nvSpPr>
        <p:spPr>
          <a:xfrm>
            <a:off x="522288" y="4867275"/>
            <a:ext cx="10858500" cy="687388"/>
          </a:xfrm>
          <a:prstGeom prst="rect">
            <a:avLst/>
          </a:prstGeom>
          <a:noFill/>
        </p:spPr>
        <p:txBody>
          <a:bodyPr wrap="square" rtlCol="0">
            <a:spAutoFit/>
          </a:bodyPr>
          <a:p>
            <a:pPr defTabSz="1219200">
              <a:lnSpc>
                <a:spcPct val="110000"/>
              </a:lnSpc>
            </a:pPr>
            <a:r>
              <a:rPr lang="zh-CN" altLang="en-US" sz="1200" dirty="0">
                <a:latin typeface="Pfizer Tomorrow" charset="0"/>
                <a:ea typeface="微软雅黑" panose="020B0503020204020204" charset="-122"/>
                <a:sym typeface="Pfizer Tomorrow" charset="0"/>
              </a:rPr>
              <a:t>一项</a:t>
            </a:r>
            <a:r>
              <a:rPr lang="zh-CN" altLang="en-US" sz="1200" baseline="0" dirty="0">
                <a:latin typeface="Pfizer Tomorrow" charset="0"/>
                <a:ea typeface="微软雅黑" panose="020B0503020204020204" charset="-122"/>
                <a:sym typeface="Pfizer Tomorrow" charset="0"/>
              </a:rPr>
              <a:t>多中心研究，收集了</a:t>
            </a:r>
            <a:r>
              <a:rPr lang="en-US" altLang="zh-CN" sz="1200" baseline="0" dirty="0">
                <a:latin typeface="Pfizer Tomorrow" charset="0"/>
                <a:ea typeface="微软雅黑" panose="020B0503020204020204" charset="-122"/>
                <a:sym typeface="Pfizer Tomorrow" charset="0"/>
              </a:rPr>
              <a:t>2016</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日至</a:t>
            </a:r>
            <a:r>
              <a:rPr lang="en-US" altLang="zh-CN" sz="1200" baseline="0" dirty="0">
                <a:latin typeface="Pfizer Tomorrow" charset="0"/>
                <a:ea typeface="微软雅黑" panose="020B0503020204020204" charset="-122"/>
                <a:sym typeface="Pfizer Tomorrow" charset="0"/>
              </a:rPr>
              <a:t>2017</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31</a:t>
            </a:r>
            <a:r>
              <a:rPr lang="zh-CN" altLang="en-US" sz="1200" baseline="0" dirty="0">
                <a:latin typeface="Pfizer Tomorrow" charset="0"/>
                <a:ea typeface="微软雅黑" panose="020B0503020204020204" charset="-122"/>
                <a:sym typeface="Pfizer Tomorrow" charset="0"/>
              </a:rPr>
              <a:t>日期间重庆市</a:t>
            </a:r>
            <a:r>
              <a:rPr lang="en-US" altLang="zh-CN" sz="1200" baseline="0" dirty="0">
                <a:latin typeface="Pfizer Tomorrow" charset="0"/>
                <a:ea typeface="微软雅黑" panose="020B0503020204020204" charset="-122"/>
                <a:sym typeface="Pfizer Tomorrow" charset="0"/>
              </a:rPr>
              <a:t>5</a:t>
            </a:r>
            <a:r>
              <a:rPr lang="zh-CN" altLang="en-US" sz="1200" baseline="0" dirty="0">
                <a:latin typeface="Pfizer Tomorrow" charset="0"/>
                <a:ea typeface="微软雅黑" panose="020B0503020204020204" charset="-122"/>
                <a:sym typeface="Pfizer Tomorrow" charset="0"/>
              </a:rPr>
              <a:t>个地理区域的</a:t>
            </a:r>
            <a:r>
              <a:rPr lang="en-US" altLang="zh-CN" sz="1200" baseline="0" dirty="0">
                <a:latin typeface="Pfizer Tomorrow" charset="0"/>
                <a:ea typeface="微软雅黑" panose="020B0503020204020204" charset="-122"/>
                <a:sym typeface="Pfizer Tomorrow" charset="0"/>
              </a:rPr>
              <a:t>22</a:t>
            </a:r>
            <a:r>
              <a:rPr lang="zh-CN" altLang="en-US" sz="1200" baseline="0" dirty="0">
                <a:latin typeface="Pfizer Tomorrow" charset="0"/>
                <a:ea typeface="微软雅黑" panose="020B0503020204020204" charset="-122"/>
                <a:sym typeface="Pfizer Tomorrow" charset="0"/>
              </a:rPr>
              <a:t>家医院的</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及其临床信息。包括西部区域（</a:t>
            </a:r>
            <a:r>
              <a:rPr lang="en-US" altLang="zh-CN" sz="1200" baseline="0" dirty="0">
                <a:latin typeface="Pfizer Tomorrow" charset="0"/>
                <a:ea typeface="微软雅黑" panose="020B0503020204020204" charset="-122"/>
                <a:sym typeface="Pfizer Tomorrow" charset="0"/>
              </a:rPr>
              <a:t>5</a:t>
            </a:r>
            <a:r>
              <a:rPr lang="zh-CN" altLang="en-US" sz="1200" dirty="0">
                <a:latin typeface="Pfizer Tomorrow" charset="0"/>
                <a:ea typeface="微软雅黑" panose="020B0503020204020204" charset="-122"/>
                <a:sym typeface="Pfizer Tomorrow" charset="0"/>
              </a:rPr>
              <a:t>所</a:t>
            </a:r>
            <a:r>
              <a:rPr lang="zh-CN" altLang="en-US" sz="1200" baseline="0" dirty="0">
                <a:latin typeface="Pfizer Tomorrow" charset="0"/>
                <a:ea typeface="微软雅黑" panose="020B0503020204020204" charset="-122"/>
                <a:sym typeface="Pfizer Tomorrow" charset="0"/>
              </a:rPr>
              <a:t>医院）、南部区域（</a:t>
            </a:r>
            <a:r>
              <a:rPr lang="en-US" altLang="zh-CN" sz="1200" baseline="0" dirty="0">
                <a:latin typeface="Pfizer Tomorrow" charset="0"/>
                <a:ea typeface="微软雅黑" panose="020B0503020204020204" charset="-122"/>
                <a:sym typeface="Pfizer Tomorrow" charset="0"/>
              </a:rPr>
              <a:t>2</a:t>
            </a:r>
            <a:r>
              <a:rPr lang="zh-CN" altLang="en-US" sz="1200" baseline="0" dirty="0">
                <a:latin typeface="Pfizer Tomorrow" charset="0"/>
                <a:ea typeface="微软雅黑" panose="020B0503020204020204" charset="-122"/>
                <a:sym typeface="Pfizer Tomorrow" charset="0"/>
              </a:rPr>
              <a:t>所医院）、东北部区域（</a:t>
            </a:r>
            <a:r>
              <a:rPr lang="en-US" altLang="zh-CN" sz="1200" baseline="0" dirty="0">
                <a:latin typeface="Pfizer Tomorrow" charset="0"/>
                <a:ea typeface="微软雅黑" panose="020B0503020204020204" charset="-122"/>
                <a:sym typeface="Pfizer Tomorrow" charset="0"/>
              </a:rPr>
              <a:t>2</a:t>
            </a:r>
            <a:r>
              <a:rPr lang="zh-CN" altLang="en-US" sz="1200" baseline="0" dirty="0">
                <a:latin typeface="Pfizer Tomorrow" charset="0"/>
                <a:ea typeface="微软雅黑" panose="020B0503020204020204" charset="-122"/>
                <a:sym typeface="Pfizer Tomorrow" charset="0"/>
              </a:rPr>
              <a:t>所医院）、东南部区域（</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所医院）和中心区域（</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所医院），根据实验室标准化研究所</a:t>
            </a:r>
            <a:r>
              <a:rPr lang="en-US" altLang="zh-CN" sz="1200" baseline="0" dirty="0">
                <a:latin typeface="Pfizer Tomorrow" charset="0"/>
                <a:ea typeface="微软雅黑" panose="020B0503020204020204" charset="-122"/>
                <a:sym typeface="Pfizer Tomorrow" charset="0"/>
              </a:rPr>
              <a:t>(</a:t>
            </a:r>
            <a:r>
              <a:rPr lang="en-US" altLang="zh-CN" sz="1200" baseline="0" dirty="0" err="1">
                <a:latin typeface="Pfizer Tomorrow" charset="0"/>
                <a:ea typeface="微软雅黑" panose="020B0503020204020204" charset="-122"/>
                <a:sym typeface="Pfizer Tomorrow" charset="0"/>
              </a:rPr>
              <a:t>CLSI</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推荐的药敏试验操作方法和判断标准，确定</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敏感性。旨在了解碳青霉烯酶基因的分布特征，并评估氨曲南</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和头孢他啶</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对中国西南重庆</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活性</a:t>
            </a:r>
            <a:endParaRPr lang="en-US" altLang="zh-CN" sz="1200" dirty="0">
              <a:latin typeface="Pfizer Tomorrow" charset="0"/>
              <a:ea typeface="微软雅黑" panose="020B0503020204020204" charset="-122"/>
              <a:sym typeface="Pfizer Tomorrow" charset="0"/>
            </a:endParaRPr>
          </a:p>
        </p:txBody>
      </p:sp>
      <p:graphicFrame>
        <p:nvGraphicFramePr>
          <p:cNvPr id="4" name="Chart 29"/>
          <p:cNvGraphicFramePr/>
          <p:nvPr/>
        </p:nvGraphicFramePr>
        <p:xfrm>
          <a:off x="736725" y="1058414"/>
          <a:ext cx="10718549" cy="3692452"/>
        </p:xfrm>
        <a:graphic>
          <a:graphicData uri="http://schemas.openxmlformats.org/drawingml/2006/chart">
            <c:chart xmlns:c="http://schemas.openxmlformats.org/drawingml/2006/chart" xmlns:r="http://schemas.openxmlformats.org/officeDocument/2006/relationships" r:id="rId1"/>
          </a:graphicData>
        </a:graphic>
      </p:graphicFrame>
      <p:sp>
        <p:nvSpPr>
          <p:cNvPr id="56327" name="文本框 7"/>
          <p:cNvSpPr txBox="1"/>
          <p:nvPr/>
        </p:nvSpPr>
        <p:spPr>
          <a:xfrm>
            <a:off x="154622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11" name="矩形: 圆顶角 10"/>
          <p:cNvSpPr/>
          <p:nvPr/>
        </p:nvSpPr>
        <p:spPr>
          <a:xfrm>
            <a:off x="2595563" y="1495425"/>
            <a:ext cx="7000875" cy="395288"/>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fontAlgn="auto">
              <a:defRPr/>
            </a:pP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不同基因型的</a:t>
            </a: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CR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分离株的耐药率</a:t>
            </a:r>
            <a:endPar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56329" name="文本框 15"/>
          <p:cNvSpPr txBox="1"/>
          <p:nvPr/>
        </p:nvSpPr>
        <p:spPr>
          <a:xfrm>
            <a:off x="3524250"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0" name="文本框 19"/>
          <p:cNvSpPr txBox="1"/>
          <p:nvPr/>
        </p:nvSpPr>
        <p:spPr>
          <a:xfrm>
            <a:off x="5494338" y="3935413"/>
            <a:ext cx="1852612"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1" name="文本框 22"/>
          <p:cNvSpPr txBox="1"/>
          <p:nvPr/>
        </p:nvSpPr>
        <p:spPr>
          <a:xfrm>
            <a:off x="746442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2" name="文本框 23"/>
          <p:cNvSpPr txBox="1"/>
          <p:nvPr/>
        </p:nvSpPr>
        <p:spPr>
          <a:xfrm>
            <a:off x="942657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2" name="Rectangle 22"/>
          <p:cNvSpPr/>
          <p:nvPr/>
        </p:nvSpPr>
        <p:spPr bwMode="gray">
          <a:xfrm>
            <a:off x="1546225" y="2060575"/>
            <a:ext cx="5918200" cy="2622550"/>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grpSp>
        <p:nvGrpSpPr>
          <p:cNvPr id="56334" name="组合 5"/>
          <p:cNvGrpSpPr/>
          <p:nvPr/>
        </p:nvGrpSpPr>
        <p:grpSpPr>
          <a:xfrm rot="-642761">
            <a:off x="196850" y="1741488"/>
            <a:ext cx="1158875" cy="444500"/>
            <a:chOff x="872051" y="5055645"/>
            <a:chExt cx="1158467" cy="444696"/>
          </a:xfrm>
        </p:grpSpPr>
        <p:sp>
          <p:nvSpPr>
            <p:cNvPr id="9"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2" name="文本框 11"/>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8369"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高敏感</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rPr>
              <a:t>氨曲南</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阿维巴坦</a:t>
            </a:r>
            <a:br>
              <a:rPr lang="zh-CN" altLang="en-US" b="1" kern="1200" dirty="0">
                <a:solidFill>
                  <a:srgbClr val="000D45"/>
                </a:solidFill>
                <a:latin typeface="Pfizer Tomorrow" charset="0"/>
                <a:ea typeface="微软雅黑" panose="020B0503020204020204" charset="-122"/>
                <a:cs typeface="+mj-cs"/>
              </a:rPr>
            </a:br>
            <a:r>
              <a:rPr lang="zh-CN" altLang="en-US" b="1" kern="1200" dirty="0">
                <a:solidFill>
                  <a:srgbClr val="000D45"/>
                </a:solidFill>
                <a:latin typeface="Pfizer Tomorrow" charset="0"/>
                <a:ea typeface="微软雅黑" panose="020B0503020204020204" charset="-122"/>
                <a:cs typeface="+mj-cs"/>
              </a:rPr>
              <a:t>对不同酶型CRE及“三剑客”耐药CRE的敏感率近100%</a:t>
            </a:r>
            <a:endParaRPr lang="zh-CN" altLang="en-US" b="1" kern="1200" dirty="0">
              <a:solidFill>
                <a:srgbClr val="000D45"/>
              </a:solidFill>
              <a:latin typeface="Pfizer Tomorrow" charset="0"/>
              <a:ea typeface="微软雅黑" panose="020B0503020204020204" charset="-122"/>
              <a:cs typeface="+mj-cs"/>
            </a:endParaRPr>
          </a:p>
        </p:txBody>
      </p:sp>
      <p:sp>
        <p:nvSpPr>
          <p:cNvPr id="13" name="矩形: 圆顶角 12"/>
          <p:cNvSpPr/>
          <p:nvPr/>
        </p:nvSpPr>
        <p:spPr>
          <a:xfrm>
            <a:off x="2492375" y="1744663"/>
            <a:ext cx="7477125" cy="3556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氨曲南</a:t>
            </a:r>
            <a:r>
              <a:rPr lang="en-US" altLang="zh-CN" sz="1600" b="1" strike="noStrike" kern="0" noProof="1" dirty="0">
                <a:solidFill>
                  <a:prstClr val="white"/>
                </a:solidFill>
                <a:latin typeface="Pfizer Tomorrow" charset="0"/>
                <a:ea typeface="微软雅黑" panose="020B0503020204020204" charset="-122"/>
                <a:cs typeface="+mn-ea"/>
                <a:sym typeface="+mn-lt"/>
              </a:rPr>
              <a:t>-</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阿维巴坦对不同酶型</a:t>
            </a:r>
            <a:r>
              <a:rPr kumimoji="0" lang="en-US" altLang="zh-CN"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CRE</a:t>
            </a:r>
            <a:r>
              <a:rPr lang="zh-CN" altLang="en-US" sz="1600" b="1" strike="noStrike" kern="0" noProof="1" dirty="0">
                <a:solidFill>
                  <a:prstClr val="white"/>
                </a:solidFill>
                <a:latin typeface="Pfizer Tomorrow" charset="0"/>
                <a:ea typeface="微软雅黑" panose="020B0503020204020204" charset="-122"/>
                <a:cs typeface="+mn-ea"/>
                <a:sym typeface="+mn-lt"/>
              </a:rPr>
              <a:t>及</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三剑客”耐药</a:t>
            </a:r>
            <a:r>
              <a:rPr kumimoji="0" lang="en-US" altLang="zh-CN"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CRE</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的敏感率</a:t>
            </a:r>
            <a:endPar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endParaRPr>
          </a:p>
        </p:txBody>
      </p:sp>
      <p:sp>
        <p:nvSpPr>
          <p:cNvPr id="14" name="矩形: 圆角 13"/>
          <p:cNvSpPr/>
          <p:nvPr/>
        </p:nvSpPr>
        <p:spPr>
          <a:xfrm>
            <a:off x="706438" y="2097088"/>
            <a:ext cx="10779125" cy="3273425"/>
          </a:xfrm>
          <a:prstGeom prst="roundRect">
            <a:avLst>
              <a:gd name="adj" fmla="val 2105"/>
            </a:avLst>
          </a:prstGeom>
          <a:solidFill>
            <a:sysClr val="window" lastClr="FFFFFF"/>
          </a:solidFill>
          <a:ln w="12700" cap="flat" cmpd="sng" algn="ctr">
            <a:solidFill>
              <a:srgbClr val="000D45">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latin typeface="Pfizer Tomorrow" charset="0"/>
              <a:cs typeface="+mn-ea"/>
              <a:sym typeface="+mn-lt"/>
            </a:endParaRPr>
          </a:p>
        </p:txBody>
      </p:sp>
      <p:graphicFrame>
        <p:nvGraphicFramePr>
          <p:cNvPr id="16" name="图表 15"/>
          <p:cNvGraphicFramePr/>
          <p:nvPr/>
        </p:nvGraphicFramePr>
        <p:xfrm>
          <a:off x="755015" y="2279650"/>
          <a:ext cx="5120004" cy="2994660"/>
        </p:xfrm>
        <a:graphic>
          <a:graphicData uri="http://schemas.openxmlformats.org/drawingml/2006/chart">
            <c:chart xmlns:c="http://schemas.openxmlformats.org/drawingml/2006/chart" xmlns:r="http://schemas.openxmlformats.org/officeDocument/2006/relationships" r:id="rId1"/>
          </a:graphicData>
        </a:graphic>
      </p:graphicFrame>
      <p:sp>
        <p:nvSpPr>
          <p:cNvPr id="58373" name="文本框 16"/>
          <p:cNvSpPr txBox="1"/>
          <p:nvPr/>
        </p:nvSpPr>
        <p:spPr>
          <a:xfrm>
            <a:off x="615950" y="6440488"/>
            <a:ext cx="10788650" cy="215900"/>
          </a:xfrm>
          <a:prstGeom prst="rect">
            <a:avLst/>
          </a:prstGeom>
          <a:noFill/>
          <a:ln w="9525">
            <a:noFill/>
          </a:ln>
        </p:spPr>
        <p:txBody>
          <a:bodyPr wrap="square" anchor="t" anchorCtr="0">
            <a:spAutoFit/>
          </a:bodyPr>
          <a:p>
            <a:r>
              <a:rPr lang="fr-FR" altLang="zh-CN" sz="800" dirty="0">
                <a:latin typeface="Pfizer Tomorrow" charset="0"/>
                <a:ea typeface="微软雅黑" panose="020B0503020204020204" charset="-122"/>
                <a:sym typeface="Arial" panose="020B0604020202090204" pitchFamily="34" charset="0"/>
              </a:rPr>
              <a:t>Sader HS, et al. JAC Antimicrob Resist. 2023 Mar 22;5(2) dlad032.</a:t>
            </a:r>
            <a:endParaRPr lang="fr-FR" altLang="zh-CN" sz="800" dirty="0">
              <a:latin typeface="Pfizer Tomorrow" charset="0"/>
              <a:ea typeface="微软雅黑" panose="020B0503020204020204" charset="-122"/>
              <a:sym typeface="Arial" panose="020B0604020202090204" pitchFamily="34" charset="0"/>
            </a:endParaRPr>
          </a:p>
        </p:txBody>
      </p:sp>
      <p:sp>
        <p:nvSpPr>
          <p:cNvPr id="58374" name="文本框 20"/>
          <p:cNvSpPr txBox="1"/>
          <p:nvPr/>
        </p:nvSpPr>
        <p:spPr>
          <a:xfrm>
            <a:off x="949325" y="4965700"/>
            <a:ext cx="4679950" cy="306388"/>
          </a:xfrm>
          <a:prstGeom prst="rect">
            <a:avLst/>
          </a:prstGeom>
          <a:solidFill>
            <a:schemeClr val="accent2">
              <a:alpha val="15999"/>
            </a:schemeClr>
          </a:solidFill>
          <a:ln w="9525">
            <a:noFill/>
          </a:ln>
        </p:spPr>
        <p:txBody>
          <a:bodyPr wrap="square" anchor="t" anchorCtr="0">
            <a:spAutoFit/>
          </a:bodyPr>
          <a:p>
            <a:pPr algn="ctr"/>
            <a:r>
              <a:rPr lang="zh-CN" altLang="en-US" sz="1400" b="1" dirty="0">
                <a:solidFill>
                  <a:srgbClr val="404040"/>
                </a:solidFill>
                <a:latin typeface="Pfizer Tomorrow" charset="0"/>
                <a:ea typeface="微软雅黑" panose="020B0503020204020204" charset="-122"/>
              </a:rPr>
              <a:t>不同酶型CRE</a:t>
            </a:r>
            <a:endParaRPr lang="zh-CN" altLang="en-US" sz="1400" b="1" dirty="0">
              <a:solidFill>
                <a:srgbClr val="404040"/>
              </a:solidFill>
              <a:latin typeface="Pfizer Tomorrow" charset="0"/>
              <a:ea typeface="微软雅黑" panose="020B0503020204020204" charset="-122"/>
            </a:endParaRPr>
          </a:p>
        </p:txBody>
      </p:sp>
      <p:sp>
        <p:nvSpPr>
          <p:cNvPr id="58375" name="文本框 21"/>
          <p:cNvSpPr txBox="1"/>
          <p:nvPr/>
        </p:nvSpPr>
        <p:spPr>
          <a:xfrm>
            <a:off x="615950" y="5445125"/>
            <a:ext cx="10956925" cy="460375"/>
          </a:xfrm>
          <a:prstGeom prst="rect">
            <a:avLst/>
          </a:prstGeom>
          <a:noFill/>
          <a:ln w="9525">
            <a:noFill/>
          </a:ln>
        </p:spPr>
        <p:txBody>
          <a:bodyPr wrap="square" anchor="t" anchorCtr="0">
            <a:spAutoFit/>
          </a:bodyPr>
          <a:p>
            <a:pPr defTabSz="228600"/>
            <a:r>
              <a:rPr lang="en-US" altLang="zh-CN" sz="1200" dirty="0">
                <a:latin typeface="微软雅黑" panose="020B0503020204020204" charset="-122"/>
                <a:ea typeface="微软雅黑" panose="020B0503020204020204" charset="-122"/>
              </a:rPr>
              <a:t>2023</a:t>
            </a:r>
            <a:r>
              <a:rPr lang="zh-CN" altLang="en-US" sz="1200" dirty="0">
                <a:latin typeface="微软雅黑" panose="020B0503020204020204" charset="-122"/>
                <a:ea typeface="微软雅黑" panose="020B0503020204020204" charset="-122"/>
              </a:rPr>
              <a:t>年美国</a:t>
            </a:r>
            <a:r>
              <a:rPr lang="en-US" altLang="zh-CN" sz="1200" dirty="0">
                <a:latin typeface="微软雅黑" panose="020B0503020204020204" charset="-122"/>
                <a:ea typeface="微软雅黑" panose="020B0503020204020204" charset="-122"/>
              </a:rPr>
              <a:t>JMI</a:t>
            </a:r>
            <a:r>
              <a:rPr lang="zh-CN" altLang="en-US" sz="1200" dirty="0">
                <a:latin typeface="微软雅黑" panose="020B0503020204020204" charset="-122"/>
                <a:ea typeface="微软雅黑" panose="020B0503020204020204" charset="-122"/>
              </a:rPr>
              <a:t>实验室发表的全球多中心体外监测数据：氨曲南</a:t>
            </a:r>
            <a:r>
              <a:rPr lang="en-US" altLang="zh-CN" sz="1200" dirty="0">
                <a:latin typeface="微软雅黑" panose="020B0503020204020204" charset="-122"/>
                <a:ea typeface="微软雅黑" panose="020B0503020204020204" charset="-122"/>
              </a:rPr>
              <a:t>/</a:t>
            </a:r>
            <a:r>
              <a:rPr lang="zh-CN" altLang="en-US" sz="1200" dirty="0">
                <a:latin typeface="微软雅黑" panose="020B0503020204020204" charset="-122"/>
                <a:ea typeface="微软雅黑" panose="020B0503020204020204" charset="-122"/>
              </a:rPr>
              <a:t>阿维巴坦对</a:t>
            </a:r>
            <a:r>
              <a:rPr lang="en-US" altLang="zh-CN" sz="1200" dirty="0">
                <a:latin typeface="微软雅黑" panose="020B0503020204020204" charset="-122"/>
                <a:ea typeface="微软雅黑" panose="020B0503020204020204" charset="-122"/>
              </a:rPr>
              <a:t>1098</a:t>
            </a:r>
            <a:r>
              <a:rPr lang="zh-CN" altLang="en-US" sz="1200" dirty="0">
                <a:latin typeface="微软雅黑" panose="020B0503020204020204" charset="-122"/>
                <a:ea typeface="微软雅黑" panose="020B0503020204020204" charset="-122"/>
              </a:rPr>
              <a:t>株</a:t>
            </a:r>
            <a:r>
              <a:rPr lang="en-US" altLang="zh-CN" sz="1200" dirty="0">
                <a:latin typeface="微软雅黑" panose="020B0503020204020204" charset="-122"/>
                <a:ea typeface="微软雅黑" panose="020B0503020204020204" charset="-122"/>
              </a:rPr>
              <a:t>CRE</a:t>
            </a:r>
            <a:r>
              <a:rPr lang="zh-CN" altLang="en-US" sz="1200" dirty="0">
                <a:latin typeface="微软雅黑" panose="020B0503020204020204" charset="-122"/>
                <a:ea typeface="微软雅黑" panose="020B0503020204020204" charset="-122"/>
              </a:rPr>
              <a:t>（其中亚洲</a:t>
            </a:r>
            <a:r>
              <a:rPr lang="en-US" altLang="zh-CN" sz="1200" dirty="0">
                <a:latin typeface="微软雅黑" panose="020B0503020204020204" charset="-122"/>
                <a:ea typeface="微软雅黑" panose="020B0503020204020204" charset="-122"/>
              </a:rPr>
              <a:t>APAC117</a:t>
            </a:r>
            <a:r>
              <a:rPr lang="zh-CN" altLang="en-US" sz="1200" dirty="0">
                <a:latin typeface="微软雅黑" panose="020B0503020204020204" charset="-122"/>
                <a:ea typeface="微软雅黑" panose="020B0503020204020204" charset="-122"/>
              </a:rPr>
              <a:t>株），无论产</a:t>
            </a:r>
            <a:r>
              <a:rPr lang="en-US" altLang="zh-CN" sz="1200" dirty="0">
                <a:latin typeface="微软雅黑" panose="020B0503020204020204" charset="-122"/>
                <a:ea typeface="微软雅黑" panose="020B0503020204020204" charset="-122"/>
              </a:rPr>
              <a:t>KPC</a:t>
            </a:r>
            <a:r>
              <a:rPr lang="zh-CN" altLang="en-US" sz="1200" dirty="0">
                <a:latin typeface="微软雅黑" panose="020B0503020204020204" charset="-122"/>
                <a:ea typeface="微软雅黑" panose="020B0503020204020204" charset="-122"/>
              </a:rPr>
              <a:t>酶、</a:t>
            </a:r>
            <a:r>
              <a:rPr lang="en-US" altLang="zh-CN" sz="1200" dirty="0">
                <a:latin typeface="微软雅黑" panose="020B0503020204020204" charset="-122"/>
                <a:ea typeface="微软雅黑" panose="020B0503020204020204" charset="-122"/>
              </a:rPr>
              <a:t>MBL</a:t>
            </a:r>
            <a:r>
              <a:rPr lang="zh-CN" altLang="en-US" sz="1200" dirty="0">
                <a:latin typeface="微软雅黑" panose="020B0503020204020204" charset="-122"/>
                <a:ea typeface="微软雅黑" panose="020B0503020204020204" charset="-122"/>
              </a:rPr>
              <a:t>金属酶、</a:t>
            </a:r>
            <a:r>
              <a:rPr lang="en-US" altLang="zh-CN" sz="1200" dirty="0">
                <a:latin typeface="微软雅黑" panose="020B0503020204020204" charset="-122"/>
                <a:ea typeface="微软雅黑" panose="020B0503020204020204" charset="-122"/>
              </a:rPr>
              <a:t>OXA-48</a:t>
            </a:r>
            <a:r>
              <a:rPr lang="zh-CN" altLang="en-US" sz="1200" dirty="0">
                <a:latin typeface="微软雅黑" panose="020B0503020204020204" charset="-122"/>
                <a:ea typeface="微软雅黑" panose="020B0503020204020204" charset="-122"/>
              </a:rPr>
              <a:t>样酶、不产碳青霉烯酶的菌株，敏感率均在</a:t>
            </a:r>
            <a:r>
              <a:rPr lang="en-US" altLang="zh-CN" sz="1200" dirty="0">
                <a:latin typeface="微软雅黑" panose="020B0503020204020204" charset="-122"/>
                <a:ea typeface="微软雅黑" panose="020B0503020204020204" charset="-122"/>
              </a:rPr>
              <a:t>97.6%</a:t>
            </a:r>
            <a:r>
              <a:rPr lang="zh-CN" altLang="en-US" sz="1200" dirty="0">
                <a:latin typeface="微软雅黑" panose="020B0503020204020204" charset="-122"/>
                <a:ea typeface="微软雅黑" panose="020B0503020204020204" charset="-122"/>
              </a:rPr>
              <a:t>以上（</a:t>
            </a:r>
            <a:r>
              <a:rPr lang="en-US" altLang="zh-CN" sz="1200" dirty="0">
                <a:latin typeface="微软雅黑" panose="020B0503020204020204" charset="-122"/>
                <a:ea typeface="微软雅黑" panose="020B0503020204020204" charset="-122"/>
              </a:rPr>
              <a:t>MIC</a:t>
            </a:r>
            <a:r>
              <a:rPr lang="zh-CN" altLang="en-US" sz="1200" dirty="0">
                <a:latin typeface="微软雅黑" panose="020B0503020204020204" charset="-122"/>
                <a:ea typeface="微软雅黑" panose="020B0503020204020204" charset="-122"/>
              </a:rPr>
              <a:t>≤</a:t>
            </a:r>
            <a:r>
              <a:rPr lang="en-US" altLang="zh-CN" sz="1200" dirty="0">
                <a:latin typeface="微软雅黑" panose="020B0503020204020204" charset="-122"/>
                <a:ea typeface="微软雅黑" panose="020B0503020204020204" charset="-122"/>
              </a:rPr>
              <a:t>8mg/L)</a:t>
            </a:r>
            <a:endParaRPr lang="en-US" altLang="zh-CN" sz="1200" dirty="0">
              <a:latin typeface="微软雅黑" panose="020B0503020204020204" charset="-122"/>
              <a:ea typeface="微软雅黑" panose="020B0503020204020204" charset="-122"/>
            </a:endParaRPr>
          </a:p>
        </p:txBody>
      </p:sp>
      <p:graphicFrame>
        <p:nvGraphicFramePr>
          <p:cNvPr id="3" name="图表 2"/>
          <p:cNvGraphicFramePr/>
          <p:nvPr/>
        </p:nvGraphicFramePr>
        <p:xfrm>
          <a:off x="5934809" y="2228297"/>
          <a:ext cx="5550968" cy="3273286"/>
        </p:xfrm>
        <a:graphic>
          <a:graphicData uri="http://schemas.openxmlformats.org/drawingml/2006/chart">
            <c:chart xmlns:c="http://schemas.openxmlformats.org/drawingml/2006/chart" xmlns:r="http://schemas.openxmlformats.org/officeDocument/2006/relationships" r:id="rId2"/>
          </a:graphicData>
        </a:graphic>
      </p:graphicFrame>
      <p:sp>
        <p:nvSpPr>
          <p:cNvPr id="58377" name="文本框 3"/>
          <p:cNvSpPr txBox="1"/>
          <p:nvPr/>
        </p:nvSpPr>
        <p:spPr>
          <a:xfrm>
            <a:off x="6230938" y="4967288"/>
            <a:ext cx="5186362" cy="307975"/>
          </a:xfrm>
          <a:prstGeom prst="rect">
            <a:avLst/>
          </a:prstGeom>
          <a:solidFill>
            <a:schemeClr val="accent2">
              <a:alpha val="15999"/>
            </a:schemeClr>
          </a:solidFill>
          <a:ln w="9525">
            <a:noFill/>
          </a:ln>
        </p:spPr>
        <p:txBody>
          <a:bodyPr wrap="square" anchor="t" anchorCtr="0">
            <a:spAutoFit/>
          </a:bodyPr>
          <a:p>
            <a:pPr algn="ctr"/>
            <a:r>
              <a:rPr lang="zh-CN" altLang="en-US" sz="1400" b="1" dirty="0">
                <a:solidFill>
                  <a:srgbClr val="404040"/>
                </a:solidFill>
                <a:latin typeface="Pfizer Tomorrow" charset="0"/>
                <a:ea typeface="微软雅黑" panose="020B0503020204020204" charset="-122"/>
              </a:rPr>
              <a:t>“三剑客”耐药</a:t>
            </a:r>
            <a:r>
              <a:rPr lang="en-US" altLang="zh-CN" sz="1400" b="1" dirty="0">
                <a:solidFill>
                  <a:srgbClr val="404040"/>
                </a:solidFill>
                <a:latin typeface="Pfizer Tomorrow" charset="0"/>
                <a:ea typeface="微软雅黑" panose="020B0503020204020204" charset="-122"/>
              </a:rPr>
              <a:t>CRE</a:t>
            </a:r>
            <a:endParaRPr lang="en-US" altLang="zh-CN" sz="1400" b="1" dirty="0">
              <a:solidFill>
                <a:srgbClr val="404040"/>
              </a:solidFill>
              <a:latin typeface="Pfizer Tomorrow" charset="0"/>
              <a:ea typeface="微软雅黑" panose="020B0503020204020204" charset="-122"/>
            </a:endParaRPr>
          </a:p>
        </p:txBody>
      </p:sp>
      <p:sp>
        <p:nvSpPr>
          <p:cNvPr id="58378" name="文本框 4"/>
          <p:cNvSpPr txBox="1"/>
          <p:nvPr/>
        </p:nvSpPr>
        <p:spPr>
          <a:xfrm>
            <a:off x="615950" y="6132513"/>
            <a:ext cx="11102975" cy="244475"/>
          </a:xfrm>
          <a:prstGeom prst="rect">
            <a:avLst/>
          </a:prstGeom>
          <a:noFill/>
          <a:ln w="9525">
            <a:noFill/>
          </a:ln>
        </p:spPr>
        <p:txBody>
          <a:bodyPr wrap="square" anchor="t" anchorCtr="0">
            <a:spAutoFit/>
          </a:bodyPr>
          <a:p>
            <a:r>
              <a:rPr lang="en-US" altLang="zh-CN" sz="1000" dirty="0">
                <a:solidFill>
                  <a:srgbClr val="595959"/>
                </a:solidFill>
                <a:latin typeface="Pfizer Tomorrow" charset="0"/>
                <a:ea typeface="微软雅黑" panose="020B0503020204020204" charset="-122"/>
                <a:sym typeface="Pfizer Tomorrow" charset="0"/>
              </a:rPr>
              <a:t>MBL</a:t>
            </a:r>
            <a:r>
              <a:rPr lang="zh-CN" altLang="en-US" sz="1000" dirty="0">
                <a:solidFill>
                  <a:srgbClr val="595959"/>
                </a:solidFill>
                <a:latin typeface="Pfizer Tomorrow" charset="0"/>
                <a:ea typeface="微软雅黑" panose="020B0503020204020204" charset="-122"/>
                <a:sym typeface="Pfizer Tomorrow" charset="0"/>
              </a:rPr>
              <a:t>：金属</a:t>
            </a:r>
            <a:r>
              <a:rPr lang="en-US" altLang="zh-CN" sz="1000" dirty="0">
                <a:solidFill>
                  <a:srgbClr val="595959"/>
                </a:solidFill>
                <a:latin typeface="Pfizer Tomorrow" charset="0"/>
                <a:ea typeface="微软雅黑" panose="020B0503020204020204" charset="-122"/>
                <a:sym typeface="Pfizer Tomorrow" charset="0"/>
              </a:rPr>
              <a:t>β-</a:t>
            </a:r>
            <a:r>
              <a:rPr lang="zh-CN" altLang="en-US" sz="1000" dirty="0">
                <a:solidFill>
                  <a:srgbClr val="595959"/>
                </a:solidFill>
                <a:latin typeface="Pfizer Tomorrow" charset="0"/>
                <a:ea typeface="微软雅黑" panose="020B0503020204020204" charset="-122"/>
                <a:sym typeface="Pfizer Tomorrow" charset="0"/>
              </a:rPr>
              <a:t>内酰胺酶；</a:t>
            </a:r>
            <a:r>
              <a:rPr lang="en-US" altLang="zh-CN" sz="1000" dirty="0">
                <a:solidFill>
                  <a:srgbClr val="595959"/>
                </a:solidFill>
                <a:latin typeface="Pfizer Tomorrow" charset="0"/>
                <a:ea typeface="微软雅黑" panose="020B0503020204020204" charset="-122"/>
                <a:sym typeface="Pfizer Tomorrow" charset="0"/>
              </a:rPr>
              <a:t>CRE</a:t>
            </a:r>
            <a:r>
              <a:rPr lang="zh-CN" altLang="en-US" sz="1000" dirty="0">
                <a:solidFill>
                  <a:srgbClr val="595959"/>
                </a:solidFill>
                <a:latin typeface="Pfizer Tomorrow" charset="0"/>
                <a:ea typeface="微软雅黑" panose="020B0503020204020204" charset="-122"/>
                <a:sym typeface="Pfizer Tomorrow" charset="0"/>
              </a:rPr>
              <a:t>：碳青霉烯类耐药肠杆菌目细菌；</a:t>
            </a:r>
            <a:r>
              <a:rPr lang="en-US" altLang="zh-CN" sz="1000" dirty="0">
                <a:solidFill>
                  <a:srgbClr val="595959"/>
                </a:solidFill>
                <a:latin typeface="Pfizer Tomorrow" charset="0"/>
                <a:ea typeface="微软雅黑" panose="020B0503020204020204" charset="-122"/>
                <a:sym typeface="Pfizer Tomorrow" charset="0"/>
              </a:rPr>
              <a:t> OXA-48</a:t>
            </a:r>
            <a:r>
              <a:rPr lang="zh-CN" altLang="en-US" sz="1000" dirty="0">
                <a:solidFill>
                  <a:srgbClr val="595959"/>
                </a:solidFill>
                <a:latin typeface="Pfizer Tomorrow" charset="0"/>
                <a:ea typeface="微软雅黑" panose="020B0503020204020204" charset="-122"/>
                <a:sym typeface="Pfizer Tomorrow" charset="0"/>
              </a:rPr>
              <a:t>：苯唑西林酶</a:t>
            </a:r>
            <a:r>
              <a:rPr lang="en-US" altLang="zh-CN" sz="1000" dirty="0">
                <a:solidFill>
                  <a:srgbClr val="595959"/>
                </a:solidFill>
                <a:latin typeface="Pfizer Tomorrow" charset="0"/>
                <a:ea typeface="微软雅黑" panose="020B0503020204020204" charset="-122"/>
                <a:sym typeface="Pfizer Tomorrow" charset="0"/>
              </a:rPr>
              <a:t>-48</a:t>
            </a:r>
            <a:r>
              <a:rPr lang="zh-CN" altLang="en-US" sz="1000" dirty="0">
                <a:solidFill>
                  <a:srgbClr val="595959"/>
                </a:solidFill>
                <a:latin typeface="Pfizer Tomorrow" charset="0"/>
                <a:ea typeface="微软雅黑" panose="020B0503020204020204" charset="-122"/>
                <a:sym typeface="Pfizer Tomorrow" charset="0"/>
              </a:rPr>
              <a:t>；</a:t>
            </a:r>
            <a:r>
              <a:rPr lang="en-US" altLang="zh-CN" sz="1000" dirty="0">
                <a:solidFill>
                  <a:srgbClr val="595959"/>
                </a:solidFill>
                <a:latin typeface="Pfizer Tomorrow" charset="0"/>
                <a:ea typeface="微软雅黑" panose="020B0503020204020204" charset="-122"/>
                <a:sym typeface="Pfizer Tomorrow" charset="0"/>
              </a:rPr>
              <a:t>KPC</a:t>
            </a:r>
            <a:r>
              <a:rPr lang="zh-CN" altLang="en-US" sz="1000" dirty="0">
                <a:solidFill>
                  <a:srgbClr val="595959"/>
                </a:solidFill>
                <a:latin typeface="Pfizer Tomorrow" charset="0"/>
                <a:ea typeface="微软雅黑" panose="020B0503020204020204" charset="-122"/>
                <a:sym typeface="Pfizer Tomorrow" charset="0"/>
              </a:rPr>
              <a:t>：肺炎克雷伯菌碳青霉烯酶；</a:t>
            </a:r>
            <a:r>
              <a:rPr lang="en-US" altLang="zh-CN" sz="1000" dirty="0">
                <a:solidFill>
                  <a:srgbClr val="595959"/>
                </a:solidFill>
                <a:latin typeface="Pfizer Tomorrow" charset="0"/>
                <a:ea typeface="微软雅黑" panose="020B0503020204020204" charset="-122"/>
                <a:sym typeface="Pfizer Tomorrow" charset="0"/>
              </a:rPr>
              <a:t>CZA</a:t>
            </a:r>
            <a:r>
              <a:rPr lang="zh-CN" altLang="en-US" sz="1000" dirty="0">
                <a:solidFill>
                  <a:srgbClr val="595959"/>
                </a:solidFill>
                <a:latin typeface="Pfizer Tomorrow" charset="0"/>
                <a:ea typeface="微软雅黑" panose="020B0503020204020204" charset="-122"/>
                <a:sym typeface="Pfizer Tomorrow" charset="0"/>
              </a:rPr>
              <a:t>：头孢他啶</a:t>
            </a:r>
            <a:r>
              <a:rPr lang="en-US" altLang="zh-CN" sz="1000" dirty="0">
                <a:solidFill>
                  <a:srgbClr val="595959"/>
                </a:solidFill>
                <a:latin typeface="Pfizer Tomorrow" charset="0"/>
                <a:ea typeface="微软雅黑" panose="020B0503020204020204" charset="-122"/>
                <a:sym typeface="Pfizer Tomorrow" charset="0"/>
              </a:rPr>
              <a:t>/</a:t>
            </a:r>
            <a:r>
              <a:rPr lang="zh-CN" altLang="en-US" sz="1000" dirty="0">
                <a:solidFill>
                  <a:srgbClr val="595959"/>
                </a:solidFill>
                <a:latin typeface="Pfizer Tomorrow" charset="0"/>
                <a:ea typeface="微软雅黑" panose="020B0503020204020204" charset="-122"/>
                <a:sym typeface="Pfizer Tomorrow" charset="0"/>
              </a:rPr>
              <a:t>阿维巴坦；</a:t>
            </a:r>
            <a:r>
              <a:rPr lang="en-US" altLang="zh-CN" sz="1000" dirty="0">
                <a:solidFill>
                  <a:srgbClr val="595959"/>
                </a:solidFill>
                <a:latin typeface="Pfizer Tomorrow" charset="0"/>
                <a:ea typeface="微软雅黑" panose="020B0503020204020204" charset="-122"/>
                <a:sym typeface="Pfizer Tomorrow" charset="0"/>
              </a:rPr>
              <a:t>R</a:t>
            </a:r>
            <a:r>
              <a:rPr lang="zh-CN" altLang="en-US" sz="1000" dirty="0">
                <a:solidFill>
                  <a:srgbClr val="595959"/>
                </a:solidFill>
                <a:latin typeface="Pfizer Tomorrow" charset="0"/>
                <a:ea typeface="微软雅黑" panose="020B0503020204020204" charset="-122"/>
                <a:sym typeface="Pfizer Tomorrow" charset="0"/>
              </a:rPr>
              <a:t>：耐药；</a:t>
            </a:r>
            <a:r>
              <a:rPr lang="en-US" altLang="zh-CN" sz="1000" dirty="0">
                <a:solidFill>
                  <a:srgbClr val="595959"/>
                </a:solidFill>
                <a:latin typeface="Pfizer Tomorrow" charset="0"/>
                <a:ea typeface="微软雅黑" panose="020B0503020204020204" charset="-122"/>
                <a:sym typeface="Pfizer Tomorrow" charset="0"/>
              </a:rPr>
              <a:t>NS</a:t>
            </a:r>
            <a:r>
              <a:rPr lang="zh-CN" altLang="en-US" sz="1000" dirty="0">
                <a:solidFill>
                  <a:srgbClr val="595959"/>
                </a:solidFill>
                <a:latin typeface="Pfizer Tomorrow" charset="0"/>
                <a:ea typeface="微软雅黑" panose="020B0503020204020204" charset="-122"/>
                <a:sym typeface="Pfizer Tomorrow" charset="0"/>
              </a:rPr>
              <a:t>：非敏感</a:t>
            </a:r>
            <a:endParaRPr lang="zh-CN" altLang="en-US" sz="1000" dirty="0">
              <a:solidFill>
                <a:srgbClr val="595959"/>
              </a:solidFill>
              <a:latin typeface="Pfizer Tomorrow" charset="0"/>
              <a:ea typeface="微软雅黑" panose="020B0503020204020204" charset="-122"/>
              <a:sym typeface="Pfizer Tomorrow" charset="0"/>
            </a:endParaRPr>
          </a:p>
        </p:txBody>
      </p:sp>
      <p:cxnSp>
        <p:nvCxnSpPr>
          <p:cNvPr id="8" name="直接连接符 7"/>
          <p:cNvCxnSpPr/>
          <p:nvPr/>
        </p:nvCxnSpPr>
        <p:spPr>
          <a:xfrm>
            <a:off x="5934075" y="2279650"/>
            <a:ext cx="0" cy="2992438"/>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8380" name="组合 5"/>
          <p:cNvGrpSpPr/>
          <p:nvPr/>
        </p:nvGrpSpPr>
        <p:grpSpPr>
          <a:xfrm rot="-642761">
            <a:off x="212725" y="1943100"/>
            <a:ext cx="1157288" cy="446088"/>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 name="矩形: 圆角 8"/>
          <p:cNvSpPr/>
          <p:nvPr/>
        </p:nvSpPr>
        <p:spPr>
          <a:xfrm>
            <a:off x="587375" y="1684338"/>
            <a:ext cx="11017250" cy="32019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10" name="矩形: 圆顶角 9"/>
          <p:cNvSpPr/>
          <p:nvPr/>
        </p:nvSpPr>
        <p:spPr>
          <a:xfrm>
            <a:off x="1450975" y="1330325"/>
            <a:ext cx="9309100"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dirty="0">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研究设计</a:t>
            </a:r>
            <a:endParaRPr lang="zh-CN" altLang="en-US" sz="1600" b="1" strike="noStrike" baseline="30000" noProof="1" dirty="0">
              <a:solidFill>
                <a:schemeClr val="bg1"/>
              </a:solidFill>
              <a:latin typeface="Pfizer Tomorrow" charset="0"/>
              <a:ea typeface="微软雅黑" panose="020B0503020204020204" charset="-122"/>
              <a:cs typeface="+mn-ea"/>
              <a:sym typeface="Pfizer Tomorrow" charset="0"/>
            </a:endParaRPr>
          </a:p>
        </p:txBody>
      </p:sp>
      <p:sp>
        <p:nvSpPr>
          <p:cNvPr id="60419" name="标题 7"/>
          <p:cNvSpPr>
            <a:spLocks noGrp="1"/>
          </p:cNvSpPr>
          <p:nvPr>
            <p:ph type="title"/>
          </p:nvPr>
        </p:nvSpPr>
        <p:spPr>
          <a:xfrm>
            <a:off x="200025" y="324168"/>
            <a:ext cx="1179195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REVISIT研究</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评估氨曲南-阿维巴坦️治疗GNB</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包括产MBL的MDR-GNB)引起的严重感染的疗效、安全性</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0420" name="文本框 1"/>
          <p:cNvSpPr txBox="1"/>
          <p:nvPr/>
        </p:nvSpPr>
        <p:spPr>
          <a:xfrm>
            <a:off x="520700" y="5180013"/>
            <a:ext cx="11328400" cy="890587"/>
          </a:xfrm>
          <a:prstGeom prst="rect">
            <a:avLst/>
          </a:prstGeom>
          <a:noFill/>
          <a:ln w="9525">
            <a:noFill/>
          </a:ln>
        </p:spPr>
        <p:txBody>
          <a:bodyPr wrap="square" anchor="t" anchorCtr="0">
            <a:spAutoFit/>
          </a:bodyPr>
          <a:p>
            <a:pPr algn="just">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zh-CN" altLang="en-US" sz="1200" dirty="0">
              <a:latin typeface="Pfizer Tomorrow" charset="0"/>
              <a:ea typeface="微软雅黑" panose="020B0503020204020204" charset="-122"/>
              <a:sym typeface="Pfizer Tomorrow" charset="0"/>
            </a:endParaRPr>
          </a:p>
        </p:txBody>
      </p:sp>
      <p:sp>
        <p:nvSpPr>
          <p:cNvPr id="60421" name="文本框 3"/>
          <p:cNvSpPr txBox="1"/>
          <p:nvPr/>
        </p:nvSpPr>
        <p:spPr>
          <a:xfrm>
            <a:off x="549275" y="4911725"/>
            <a:ext cx="10423525" cy="261938"/>
          </a:xfrm>
          <a:prstGeom prst="rect">
            <a:avLst/>
          </a:prstGeom>
          <a:noFill/>
          <a:ln w="9525">
            <a:noFill/>
          </a:ln>
        </p:spPr>
        <p:txBody>
          <a:bodyPr wrap="square" anchor="t" anchorCtr="0">
            <a:spAutoFit/>
          </a:bodyPr>
          <a:p>
            <a:r>
              <a:rPr lang="zh-CN" altLang="en-US" sz="1100" dirty="0">
                <a:solidFill>
                  <a:srgbClr val="595959"/>
                </a:solidFill>
                <a:latin typeface="Pfizer Tomorrow" charset="0"/>
                <a:ea typeface="微软雅黑" panose="020B0503020204020204" charset="-122"/>
                <a:sym typeface="Pfizer Tomorrow" charset="0"/>
              </a:rPr>
              <a:t>注：对于非美国地区，</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和</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均被视为共同主要分析，对于美国地区，</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被视为主要分析，而</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为次要分析；</a:t>
            </a:r>
            <a:r>
              <a:rPr lang="en-US" altLang="zh-CN" sz="1100" dirty="0">
                <a:solidFill>
                  <a:srgbClr val="595959"/>
                </a:solidFill>
                <a:latin typeface="Pfizer Tomorrow" charset="0"/>
                <a:ea typeface="微软雅黑" panose="020B0503020204020204" charset="-122"/>
                <a:sym typeface="Pfizer Tomorrow" charset="0"/>
              </a:rPr>
              <a:t> ME</a:t>
            </a:r>
            <a:r>
              <a:rPr lang="zh-CN" altLang="en-US" sz="1100" dirty="0">
                <a:solidFill>
                  <a:srgbClr val="595959"/>
                </a:solidFill>
                <a:latin typeface="Pfizer Tomorrow" charset="0"/>
                <a:ea typeface="微软雅黑" panose="020B0503020204020204" charset="-122"/>
                <a:sym typeface="Pfizer Tomorrow" charset="0"/>
              </a:rPr>
              <a:t>：包括</a:t>
            </a:r>
            <a:r>
              <a:rPr lang="en-US" altLang="zh-CN" sz="110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及</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60422" name="文本占位符 3"/>
          <p:cNvSpPr txBox="1"/>
          <p:nvPr/>
        </p:nvSpPr>
        <p:spPr>
          <a:xfrm>
            <a:off x="623888" y="6489700"/>
            <a:ext cx="5346700" cy="217488"/>
          </a:xfrm>
          <a:prstGeom prst="rect">
            <a:avLst/>
          </a:prstGeom>
          <a:noFill/>
          <a:ln w="9525">
            <a:noFill/>
          </a:ln>
        </p:spPr>
        <p:txBody>
          <a:bodyPr wrap="square" lIns="0" tIns="46800" rIns="0" bIns="46800" anchor="t" anchorCtr="0">
            <a:spAutoFit/>
          </a:bodyPr>
          <a:p>
            <a:pPr>
              <a:spcBef>
                <a:spcPts val="1000"/>
              </a:spcBef>
              <a:buFont typeface="宋体" pitchFamily="2" charset="-122"/>
              <a:buNone/>
            </a:pPr>
            <a:r>
              <a:rPr lang="fr-FR" altLang="zh-CN" sz="800">
                <a:latin typeface="Pfizer Tomorrow" charset="0"/>
                <a:ea typeface="微软雅黑" panose="020B0503020204020204" charset="-122"/>
                <a:sym typeface="Pfizer Tomorrow" charset="0"/>
              </a:rPr>
              <a:t>Yehuda Carmeli, et al. Lancet Infect Dis. 2025 Feb;25(2):218-230. </a:t>
            </a:r>
            <a:endParaRPr lang="fr-FR" altLang="zh-CN" sz="800">
              <a:latin typeface="Pfizer Tomorrow" charset="0"/>
              <a:ea typeface="微软雅黑" panose="020B0503020204020204" charset="-122"/>
              <a:sym typeface="Pfizer Tomorrow" charset="0"/>
            </a:endParaRPr>
          </a:p>
        </p:txBody>
      </p:sp>
      <p:sp>
        <p:nvSpPr>
          <p:cNvPr id="60423" name="文本框 6"/>
          <p:cNvSpPr txBox="1"/>
          <p:nvPr/>
        </p:nvSpPr>
        <p:spPr>
          <a:xfrm>
            <a:off x="520700" y="6072188"/>
            <a:ext cx="10782300" cy="430212"/>
          </a:xfrm>
          <a:prstGeom prst="rect">
            <a:avLst/>
          </a:prstGeom>
          <a:noFill/>
          <a:ln w="9525">
            <a:noFill/>
          </a:ln>
        </p:spPr>
        <p:txBody>
          <a:bodyPr wrap="square" anchor="t" anchorCtr="0">
            <a:spAutoFit/>
          </a:bodyPr>
          <a:p>
            <a:r>
              <a:rPr lang="en-US" altLang="zh-CN" sz="1100" dirty="0" err="1">
                <a:solidFill>
                  <a:srgbClr val="595959"/>
                </a:solidFill>
                <a:latin typeface="Pfizer Tomorrow" charset="0"/>
                <a:ea typeface="微软雅黑" panose="020B0503020204020204" charset="-122"/>
                <a:sym typeface="Pfizer Tomorrow" charset="0"/>
              </a:rPr>
              <a:t>GNB</a:t>
            </a:r>
            <a:r>
              <a:rPr lang="zh-CN" altLang="en-US" sz="1100" dirty="0">
                <a:solidFill>
                  <a:srgbClr val="595959"/>
                </a:solidFill>
                <a:latin typeface="Pfizer Tomorrow" charset="0"/>
                <a:ea typeface="微软雅黑" panose="020B0503020204020204" charset="-122"/>
                <a:sym typeface="Pfizer Tomorrow" charset="0"/>
              </a:rPr>
              <a:t>：革兰阴性菌；</a:t>
            </a:r>
            <a:r>
              <a:rPr lang="en-US" altLang="zh-CN" sz="1100" dirty="0">
                <a:solidFill>
                  <a:srgbClr val="595959"/>
                </a:solidFill>
                <a:latin typeface="Pfizer Tomorrow" charset="0"/>
                <a:ea typeface="微软雅黑" panose="020B0503020204020204" charset="-122"/>
                <a:sym typeface="Pfizer Tomorrow" charset="0"/>
              </a:rPr>
              <a:t>TOC</a:t>
            </a:r>
            <a:r>
              <a:rPr lang="zh-CN" altLang="en-US" sz="1100" dirty="0">
                <a:solidFill>
                  <a:srgbClr val="595959"/>
                </a:solidFill>
                <a:latin typeface="Pfizer Tomorrow" charset="0"/>
                <a:ea typeface="微软雅黑" panose="020B0503020204020204" charset="-122"/>
                <a:sym typeface="Pfizer Tomorrow" charset="0"/>
              </a:rPr>
              <a:t>：治愈访视；</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临床可评估；</a:t>
            </a:r>
            <a:r>
              <a:rPr lang="en-US" altLang="zh-CN" sz="1100" dirty="0" err="1">
                <a:solidFill>
                  <a:srgbClr val="595959"/>
                </a:solidFill>
                <a:latin typeface="Pfizer Tomorrow" charset="0"/>
                <a:ea typeface="微软雅黑" panose="020B0503020204020204" charset="-122"/>
                <a:sym typeface="Pfizer Tomorrow" charset="0"/>
              </a:rPr>
              <a:t>mITT</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微生物学意向治疗；</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 意向性治疗；</a:t>
            </a:r>
            <a:r>
              <a:rPr lang="en-US" altLang="zh-CN" sz="1100" dirty="0">
                <a:solidFill>
                  <a:srgbClr val="595959"/>
                </a:solidFill>
                <a:latin typeface="Pfizer Tomorrow" charset="0"/>
                <a:ea typeface="微软雅黑" panose="020B0503020204020204" charset="-122"/>
                <a:sym typeface="Pfizer Tomorrow" charset="0"/>
              </a:rPr>
              <a:t>PK</a:t>
            </a:r>
            <a:r>
              <a:rPr lang="zh-CN" altLang="en-US" sz="1100" dirty="0">
                <a:solidFill>
                  <a:srgbClr val="595959"/>
                </a:solidFill>
                <a:latin typeface="Pfizer Tomorrow" charset="0"/>
                <a:ea typeface="微软雅黑" panose="020B0503020204020204" charset="-122"/>
                <a:sym typeface="Pfizer Tomorrow" charset="0"/>
              </a:rPr>
              <a:t>：药代动力学 ；</a:t>
            </a:r>
            <a:r>
              <a:rPr lang="en-US" altLang="zh-CN" sz="1100" dirty="0" err="1">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MDR</a:t>
            </a:r>
            <a:r>
              <a:rPr lang="zh-CN" altLang="en-US" sz="1100" dirty="0">
                <a:solidFill>
                  <a:srgbClr val="595959"/>
                </a:solidFill>
                <a:latin typeface="Pfizer Tomorrow" charset="0"/>
                <a:ea typeface="微软雅黑" panose="020B0503020204020204" charset="-122"/>
                <a:sym typeface="Pfizer Tomorrow" charset="0"/>
              </a:rPr>
              <a:t>：多重耐药菌；</a:t>
            </a:r>
            <a:endParaRPr lang="en-US" altLang="zh-CN" sz="1100" dirty="0">
              <a:solidFill>
                <a:srgbClr val="595959"/>
              </a:solidFill>
              <a:latin typeface="Pfizer Tomorrow" charset="0"/>
              <a:ea typeface="微软雅黑" panose="020B0503020204020204" charset="-122"/>
              <a:sym typeface="Pfizer Tomorrow" charset="0"/>
            </a:endParaRPr>
          </a:p>
          <a:p>
            <a:r>
              <a:rPr lang="en-US" altLang="zh-CN" sz="1100" dirty="0">
                <a:solidFill>
                  <a:srgbClr val="595959"/>
                </a:solidFill>
                <a:latin typeface="Pfizer Tomorrow" charset="0"/>
                <a:ea typeface="微软雅黑" panose="020B0503020204020204" charset="-122"/>
                <a:sym typeface="Pfizer Tomorrow" charset="0"/>
              </a:rPr>
              <a:t>ME: </a:t>
            </a:r>
            <a:r>
              <a:rPr lang="zh-CN" altLang="en-US" sz="1100" dirty="0">
                <a:solidFill>
                  <a:srgbClr val="595959"/>
                </a:solidFill>
                <a:latin typeface="Pfizer Tomorrow" charset="0"/>
                <a:ea typeface="微软雅黑" panose="020B0503020204020204" charset="-122"/>
                <a:sym typeface="Pfizer Tomorrow" charset="0"/>
              </a:rPr>
              <a:t>微生物学可评估；</a:t>
            </a:r>
            <a:r>
              <a:rPr lang="en-US" altLang="zh-CN" sz="1100" dirty="0">
                <a:solidFill>
                  <a:srgbClr val="595959"/>
                </a:solidFill>
                <a:latin typeface="Pfizer Tomorrow" charset="0"/>
                <a:ea typeface="微软雅黑" panose="020B0503020204020204" charset="-122"/>
                <a:sym typeface="Pfizer Tomorrow" charset="0"/>
              </a:rPr>
              <a:t> CE</a:t>
            </a:r>
            <a:r>
              <a:rPr lang="zh-CN" altLang="en-US" sz="1100" dirty="0">
                <a:solidFill>
                  <a:srgbClr val="595959"/>
                </a:solidFill>
                <a:latin typeface="Pfizer Tomorrow" charset="0"/>
                <a:ea typeface="微软雅黑" panose="020B0503020204020204" charset="-122"/>
                <a:sym typeface="Pfizer Tomorrow" charset="0"/>
              </a:rPr>
              <a:t>：临床可评估</a:t>
            </a:r>
            <a:r>
              <a:rPr lang="en-US" altLang="zh-CN" sz="1100" dirty="0">
                <a:solidFill>
                  <a:srgbClr val="595959"/>
                </a:solidFill>
                <a:latin typeface="Pfizer Tomorrow" charset="0"/>
                <a:ea typeface="微软雅黑" panose="020B0503020204020204" charset="-122"/>
                <a:sym typeface="Pfizer Tomorrow" charset="0"/>
              </a:rPr>
              <a:t>; 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内感染</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90" name="矩形: 圆角 89"/>
          <p:cNvSpPr/>
          <p:nvPr/>
        </p:nvSpPr>
        <p:spPr>
          <a:xfrm>
            <a:off x="790575" y="1843088"/>
            <a:ext cx="2336800" cy="2932113"/>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25" name="文本框 90"/>
          <p:cNvSpPr txBox="1"/>
          <p:nvPr/>
        </p:nvSpPr>
        <p:spPr>
          <a:xfrm>
            <a:off x="1177925" y="2752725"/>
            <a:ext cx="1560513" cy="307975"/>
          </a:xfrm>
          <a:prstGeom prst="rect">
            <a:avLst/>
          </a:prstGeom>
          <a:noFill/>
          <a:ln w="9525">
            <a:noFill/>
          </a:ln>
        </p:spPr>
        <p:txBody>
          <a:bodyPr wrap="square" anchor="t" anchorCtr="0">
            <a:spAutoFit/>
          </a:bodyPr>
          <a:p>
            <a:pPr algn="ctr"/>
            <a:r>
              <a:rPr lang="zh-CN" altLang="en-US" sz="1400" b="1" dirty="0">
                <a:solidFill>
                  <a:schemeClr val="accent1"/>
                </a:solidFill>
                <a:latin typeface="Pfizer Tomorrow" charset="0"/>
                <a:ea typeface="微软雅黑" panose="020B0503020204020204" charset="-122"/>
                <a:sym typeface="Pfizer Tomorrow" charset="0"/>
              </a:rPr>
              <a:t>（</a:t>
            </a:r>
            <a:r>
              <a:rPr lang="en-US" altLang="zh-CN" sz="1400" b="1" dirty="0">
                <a:solidFill>
                  <a:schemeClr val="accent1"/>
                </a:solidFill>
                <a:latin typeface="Pfizer Tomorrow" charset="0"/>
                <a:ea typeface="微软雅黑" panose="020B0503020204020204" charset="-122"/>
                <a:sym typeface="Pfizer Tomorrow" charset="0"/>
              </a:rPr>
              <a:t>N=422</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dirty="0">
              <a:solidFill>
                <a:schemeClr val="accent1"/>
              </a:solidFill>
              <a:latin typeface="Pfizer Tomorrow" charset="0"/>
              <a:ea typeface="微软雅黑" panose="020B0503020204020204" charset="-122"/>
              <a:sym typeface="Pfizer Tomorrow" charset="0"/>
            </a:endParaRPr>
          </a:p>
        </p:txBody>
      </p:sp>
      <p:sp>
        <p:nvSpPr>
          <p:cNvPr id="60426" name="文本框 91"/>
          <p:cNvSpPr txBox="1"/>
          <p:nvPr/>
        </p:nvSpPr>
        <p:spPr>
          <a:xfrm>
            <a:off x="800100" y="3106738"/>
            <a:ext cx="2297113" cy="1103312"/>
          </a:xfrm>
          <a:prstGeom prst="rect">
            <a:avLst/>
          </a:prstGeom>
          <a:noFill/>
          <a:ln w="9525">
            <a:noFill/>
          </a:ln>
        </p:spPr>
        <p:txBody>
          <a:bodyPr wrap="square" anchor="t" anchorCtr="0">
            <a:spAutoFit/>
          </a:bodyPr>
          <a:p>
            <a:pPr marL="285750" indent="-179070" defTabSz="914400">
              <a:lnSpc>
                <a:spcPct val="120000"/>
              </a:lnSpc>
              <a:spcBef>
                <a:spcPts val="600"/>
              </a:spcBef>
              <a:buFont typeface="Arial" panose="020B0604020202090204" pitchFamily="34" charset="0"/>
              <a:buChar char="•"/>
            </a:pPr>
            <a:r>
              <a:rPr lang="zh-CN" altLang="en-US" sz="1400" dirty="0">
                <a:solidFill>
                  <a:schemeClr val="accent1"/>
                </a:solidFill>
                <a:latin typeface="Pfizer Tomorrow" charset="0"/>
                <a:ea typeface="微软雅黑" panose="020B0503020204020204" charset="-122"/>
                <a:sym typeface="Pfizer Tomorrow" charset="0"/>
              </a:rPr>
              <a:t>患有</a:t>
            </a:r>
            <a:r>
              <a:rPr lang="en-US" altLang="zh-CN" sz="1400" dirty="0">
                <a:solidFill>
                  <a:schemeClr val="accent1"/>
                </a:solidFill>
                <a:latin typeface="Pfizer Tomorrow" charset="0"/>
                <a:ea typeface="微软雅黑" panose="020B0503020204020204" charset="-122"/>
                <a:sym typeface="Pfizer Tomorrow" charset="0"/>
              </a:rPr>
              <a:t>GNB</a:t>
            </a:r>
            <a:r>
              <a:rPr lang="zh-CN" altLang="en-US" sz="1400" dirty="0">
                <a:solidFill>
                  <a:schemeClr val="accent1"/>
                </a:solidFill>
                <a:latin typeface="Pfizer Tomorrow" charset="0"/>
                <a:ea typeface="微软雅黑" panose="020B0503020204020204" charset="-122"/>
                <a:sym typeface="Pfizer Tomorrow" charset="0"/>
              </a:rPr>
              <a:t>引起的</a:t>
            </a:r>
            <a:r>
              <a:rPr lang="en-US" altLang="zh-CN" sz="1400" dirty="0" err="1">
                <a:solidFill>
                  <a:schemeClr val="accent1"/>
                </a:solidFill>
                <a:latin typeface="Pfizer Tomorrow" charset="0"/>
                <a:ea typeface="微软雅黑" panose="020B0503020204020204" charset="-122"/>
                <a:sym typeface="Pfizer Tomorrow" charset="0"/>
              </a:rPr>
              <a:t>cIAI</a:t>
            </a:r>
            <a:r>
              <a:rPr lang="zh-CN" altLang="en-US" sz="1400" dirty="0">
                <a:solidFill>
                  <a:schemeClr val="accent1"/>
                </a:solidFill>
                <a:latin typeface="Pfizer Tomorrow" charset="0"/>
                <a:ea typeface="微软雅黑" panose="020B0503020204020204" charset="-122"/>
                <a:sym typeface="Pfizer Tomorrow" charset="0"/>
              </a:rPr>
              <a:t>或</a:t>
            </a:r>
            <a:r>
              <a:rPr lang="en-US" altLang="zh-CN" sz="1400" dirty="0">
                <a:solidFill>
                  <a:schemeClr val="accent1"/>
                </a:solidFill>
                <a:latin typeface="Pfizer Tomorrow" charset="0"/>
                <a:ea typeface="微软雅黑" panose="020B0503020204020204" charset="-122"/>
                <a:sym typeface="Pfizer Tomorrow" charset="0"/>
              </a:rPr>
              <a:t>HAP/VAP</a:t>
            </a:r>
            <a:r>
              <a:rPr lang="zh-CN" altLang="en-US" sz="1400" dirty="0">
                <a:solidFill>
                  <a:schemeClr val="accent1"/>
                </a:solidFill>
                <a:latin typeface="Pfizer Tomorrow" charset="0"/>
                <a:ea typeface="微软雅黑" panose="020B0503020204020204" charset="-122"/>
                <a:sym typeface="Pfizer Tomorrow" charset="0"/>
              </a:rPr>
              <a:t>且需要静脉输注抗生素治疗的成人住院患者</a:t>
            </a:r>
            <a:endParaRPr lang="zh-CN" altLang="en-US" sz="1400" dirty="0">
              <a:solidFill>
                <a:schemeClr val="accent1"/>
              </a:solidFill>
              <a:latin typeface="Pfizer Tomorrow" charset="0"/>
              <a:ea typeface="微软雅黑" panose="020B0503020204020204" charset="-122"/>
              <a:sym typeface="Pfizer Tomorrow" charset="0"/>
            </a:endParaRPr>
          </a:p>
        </p:txBody>
      </p:sp>
      <p:grpSp>
        <p:nvGrpSpPr>
          <p:cNvPr id="93" name="Group 6"/>
          <p:cNvGrpSpPr>
            <a:grpSpLocks noChangeAspect="1"/>
          </p:cNvGrpSpPr>
          <p:nvPr/>
        </p:nvGrpSpPr>
        <p:grpSpPr bwMode="auto">
          <a:xfrm>
            <a:off x="1576895" y="2194693"/>
            <a:ext cx="763540" cy="450409"/>
            <a:chOff x="2939" y="1633"/>
            <a:chExt cx="1800" cy="1051"/>
          </a:xfrm>
          <a:solidFill>
            <a:schemeClr val="accent1"/>
          </a:solidFill>
        </p:grpSpPr>
        <p:sp>
          <p:nvSpPr>
            <p:cNvPr id="94" name="Freeform 7"/>
            <p:cNvSpPr/>
            <p:nvPr/>
          </p:nvSpPr>
          <p:spPr bwMode="auto">
            <a:xfrm>
              <a:off x="3650" y="1886"/>
              <a:ext cx="375" cy="328"/>
            </a:xfrm>
            <a:custGeom>
              <a:avLst/>
              <a:gdLst>
                <a:gd name="T0" fmla="*/ 23 w 159"/>
                <a:gd name="T1" fmla="*/ 51 h 139"/>
                <a:gd name="T2" fmla="*/ 25 w 159"/>
                <a:gd name="T3" fmla="*/ 47 h 139"/>
                <a:gd name="T4" fmla="*/ 25 w 159"/>
                <a:gd name="T5" fmla="*/ 54 h 139"/>
                <a:gd name="T6" fmla="*/ 56 w 159"/>
                <a:gd name="T7" fmla="*/ 139 h 139"/>
                <a:gd name="T8" fmla="*/ 104 w 159"/>
                <a:gd name="T9" fmla="*/ 139 h 139"/>
                <a:gd name="T10" fmla="*/ 135 w 159"/>
                <a:gd name="T11" fmla="*/ 54 h 139"/>
                <a:gd name="T12" fmla="*/ 135 w 159"/>
                <a:gd name="T13" fmla="*/ 47 h 139"/>
                <a:gd name="T14" fmla="*/ 137 w 159"/>
                <a:gd name="T15" fmla="*/ 51 h 139"/>
                <a:gd name="T16" fmla="*/ 159 w 159"/>
                <a:gd name="T17" fmla="*/ 26 h 139"/>
                <a:gd name="T18" fmla="*/ 150 w 159"/>
                <a:gd name="T19" fmla="*/ 15 h 139"/>
                <a:gd name="T20" fmla="*/ 122 w 159"/>
                <a:gd name="T21" fmla="*/ 0 h 139"/>
                <a:gd name="T22" fmla="*/ 120 w 159"/>
                <a:gd name="T23" fmla="*/ 0 h 139"/>
                <a:gd name="T24" fmla="*/ 120 w 159"/>
                <a:gd name="T25" fmla="*/ 0 h 139"/>
                <a:gd name="T26" fmla="*/ 118 w 159"/>
                <a:gd name="T27" fmla="*/ 0 h 139"/>
                <a:gd name="T28" fmla="*/ 116 w 159"/>
                <a:gd name="T29" fmla="*/ 0 h 139"/>
                <a:gd name="T30" fmla="*/ 43 w 159"/>
                <a:gd name="T31" fmla="*/ 0 h 139"/>
                <a:gd name="T32" fmla="*/ 41 w 159"/>
                <a:gd name="T33" fmla="*/ 0 h 139"/>
                <a:gd name="T34" fmla="*/ 39 w 159"/>
                <a:gd name="T35" fmla="*/ 0 h 139"/>
                <a:gd name="T36" fmla="*/ 39 w 159"/>
                <a:gd name="T37" fmla="*/ 0 h 139"/>
                <a:gd name="T38" fmla="*/ 38 w 159"/>
                <a:gd name="T39" fmla="*/ 0 h 139"/>
                <a:gd name="T40" fmla="*/ 9 w 159"/>
                <a:gd name="T41" fmla="*/ 15 h 139"/>
                <a:gd name="T42" fmla="*/ 0 w 159"/>
                <a:gd name="T43" fmla="*/ 26 h 139"/>
                <a:gd name="T44" fmla="*/ 23 w 159"/>
                <a:gd name="T4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139">
                  <a:moveTo>
                    <a:pt x="23" y="51"/>
                  </a:moveTo>
                  <a:cubicBezTo>
                    <a:pt x="24" y="49"/>
                    <a:pt x="24" y="48"/>
                    <a:pt x="25" y="47"/>
                  </a:cubicBezTo>
                  <a:cubicBezTo>
                    <a:pt x="25" y="54"/>
                    <a:pt x="25" y="54"/>
                    <a:pt x="25" y="54"/>
                  </a:cubicBezTo>
                  <a:cubicBezTo>
                    <a:pt x="37" y="72"/>
                    <a:pt x="48" y="100"/>
                    <a:pt x="56" y="139"/>
                  </a:cubicBezTo>
                  <a:cubicBezTo>
                    <a:pt x="104" y="139"/>
                    <a:pt x="104" y="139"/>
                    <a:pt x="104" y="139"/>
                  </a:cubicBezTo>
                  <a:cubicBezTo>
                    <a:pt x="111" y="100"/>
                    <a:pt x="123" y="72"/>
                    <a:pt x="135" y="54"/>
                  </a:cubicBezTo>
                  <a:cubicBezTo>
                    <a:pt x="135" y="47"/>
                    <a:pt x="135" y="47"/>
                    <a:pt x="135" y="47"/>
                  </a:cubicBezTo>
                  <a:cubicBezTo>
                    <a:pt x="135" y="48"/>
                    <a:pt x="136" y="49"/>
                    <a:pt x="137" y="51"/>
                  </a:cubicBezTo>
                  <a:cubicBezTo>
                    <a:pt x="144" y="40"/>
                    <a:pt x="152" y="32"/>
                    <a:pt x="159" y="26"/>
                  </a:cubicBezTo>
                  <a:cubicBezTo>
                    <a:pt x="156" y="22"/>
                    <a:pt x="153" y="18"/>
                    <a:pt x="150" y="15"/>
                  </a:cubicBezTo>
                  <a:cubicBezTo>
                    <a:pt x="142" y="6"/>
                    <a:pt x="132" y="1"/>
                    <a:pt x="122" y="0"/>
                  </a:cubicBezTo>
                  <a:cubicBezTo>
                    <a:pt x="121" y="0"/>
                    <a:pt x="121" y="0"/>
                    <a:pt x="120" y="0"/>
                  </a:cubicBezTo>
                  <a:cubicBezTo>
                    <a:pt x="120" y="0"/>
                    <a:pt x="120" y="0"/>
                    <a:pt x="120" y="0"/>
                  </a:cubicBezTo>
                  <a:cubicBezTo>
                    <a:pt x="119" y="0"/>
                    <a:pt x="119" y="0"/>
                    <a:pt x="118" y="0"/>
                  </a:cubicBezTo>
                  <a:cubicBezTo>
                    <a:pt x="117" y="0"/>
                    <a:pt x="117" y="0"/>
                    <a:pt x="116" y="0"/>
                  </a:cubicBezTo>
                  <a:cubicBezTo>
                    <a:pt x="43" y="0"/>
                    <a:pt x="43" y="0"/>
                    <a:pt x="43" y="0"/>
                  </a:cubicBezTo>
                  <a:cubicBezTo>
                    <a:pt x="43" y="0"/>
                    <a:pt x="42" y="0"/>
                    <a:pt x="41" y="0"/>
                  </a:cubicBezTo>
                  <a:cubicBezTo>
                    <a:pt x="41" y="0"/>
                    <a:pt x="40" y="0"/>
                    <a:pt x="39" y="0"/>
                  </a:cubicBezTo>
                  <a:cubicBezTo>
                    <a:pt x="39" y="0"/>
                    <a:pt x="39" y="0"/>
                    <a:pt x="39" y="0"/>
                  </a:cubicBezTo>
                  <a:cubicBezTo>
                    <a:pt x="39" y="0"/>
                    <a:pt x="38" y="0"/>
                    <a:pt x="38" y="0"/>
                  </a:cubicBezTo>
                  <a:cubicBezTo>
                    <a:pt x="27" y="1"/>
                    <a:pt x="17" y="6"/>
                    <a:pt x="9" y="15"/>
                  </a:cubicBezTo>
                  <a:cubicBezTo>
                    <a:pt x="6" y="18"/>
                    <a:pt x="3" y="22"/>
                    <a:pt x="0" y="26"/>
                  </a:cubicBezTo>
                  <a:cubicBezTo>
                    <a:pt x="8" y="32"/>
                    <a:pt x="15" y="40"/>
                    <a:pt x="23" y="5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5" name="Freeform 8"/>
            <p:cNvSpPr/>
            <p:nvPr/>
          </p:nvSpPr>
          <p:spPr bwMode="auto">
            <a:xfrm>
              <a:off x="3709" y="2231"/>
              <a:ext cx="260" cy="453"/>
            </a:xfrm>
            <a:custGeom>
              <a:avLst/>
              <a:gdLst>
                <a:gd name="T0" fmla="*/ 108 w 110"/>
                <a:gd name="T1" fmla="*/ 79 h 192"/>
                <a:gd name="T2" fmla="*/ 108 w 110"/>
                <a:gd name="T3" fmla="*/ 75 h 192"/>
                <a:gd name="T4" fmla="*/ 110 w 110"/>
                <a:gd name="T5" fmla="*/ 45 h 192"/>
                <a:gd name="T6" fmla="*/ 110 w 110"/>
                <a:gd name="T7" fmla="*/ 35 h 192"/>
                <a:gd name="T8" fmla="*/ 96 w 110"/>
                <a:gd name="T9" fmla="*/ 40 h 192"/>
                <a:gd name="T10" fmla="*/ 93 w 110"/>
                <a:gd name="T11" fmla="*/ 40 h 192"/>
                <a:gd name="T12" fmla="*/ 75 w 110"/>
                <a:gd name="T13" fmla="*/ 16 h 192"/>
                <a:gd name="T14" fmla="*/ 77 w 110"/>
                <a:gd name="T15" fmla="*/ 0 h 192"/>
                <a:gd name="T16" fmla="*/ 32 w 110"/>
                <a:gd name="T17" fmla="*/ 0 h 192"/>
                <a:gd name="T18" fmla="*/ 34 w 110"/>
                <a:gd name="T19" fmla="*/ 16 h 192"/>
                <a:gd name="T20" fmla="*/ 16 w 110"/>
                <a:gd name="T21" fmla="*/ 40 h 192"/>
                <a:gd name="T22" fmla="*/ 13 w 110"/>
                <a:gd name="T23" fmla="*/ 40 h 192"/>
                <a:gd name="T24" fmla="*/ 0 w 110"/>
                <a:gd name="T25" fmla="*/ 35 h 192"/>
                <a:gd name="T26" fmla="*/ 0 w 110"/>
                <a:gd name="T27" fmla="*/ 45 h 192"/>
                <a:gd name="T28" fmla="*/ 1 w 110"/>
                <a:gd name="T29" fmla="*/ 75 h 192"/>
                <a:gd name="T30" fmla="*/ 1 w 110"/>
                <a:gd name="T31" fmla="*/ 79 h 192"/>
                <a:gd name="T32" fmla="*/ 0 w 110"/>
                <a:gd name="T33" fmla="*/ 80 h 192"/>
                <a:gd name="T34" fmla="*/ 0 w 110"/>
                <a:gd name="T35" fmla="*/ 167 h 192"/>
                <a:gd name="T36" fmla="*/ 25 w 110"/>
                <a:gd name="T37" fmla="*/ 192 h 192"/>
                <a:gd name="T38" fmla="*/ 50 w 110"/>
                <a:gd name="T39" fmla="*/ 167 h 192"/>
                <a:gd name="T40" fmla="*/ 50 w 110"/>
                <a:gd name="T41" fmla="*/ 48 h 192"/>
                <a:gd name="T42" fmla="*/ 60 w 110"/>
                <a:gd name="T43" fmla="*/ 48 h 192"/>
                <a:gd name="T44" fmla="*/ 60 w 110"/>
                <a:gd name="T45" fmla="*/ 167 h 192"/>
                <a:gd name="T46" fmla="*/ 85 w 110"/>
                <a:gd name="T47" fmla="*/ 192 h 192"/>
                <a:gd name="T48" fmla="*/ 110 w 110"/>
                <a:gd name="T49" fmla="*/ 167 h 192"/>
                <a:gd name="T50" fmla="*/ 110 w 110"/>
                <a:gd name="T51" fmla="*/ 80 h 192"/>
                <a:gd name="T52" fmla="*/ 108 w 110"/>
                <a:gd name="T53"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92">
                  <a:moveTo>
                    <a:pt x="108" y="79"/>
                  </a:moveTo>
                  <a:cubicBezTo>
                    <a:pt x="108" y="75"/>
                    <a:pt x="108" y="75"/>
                    <a:pt x="108" y="75"/>
                  </a:cubicBezTo>
                  <a:cubicBezTo>
                    <a:pt x="108" y="66"/>
                    <a:pt x="109" y="56"/>
                    <a:pt x="110" y="45"/>
                  </a:cubicBezTo>
                  <a:cubicBezTo>
                    <a:pt x="110" y="35"/>
                    <a:pt x="110" y="35"/>
                    <a:pt x="110" y="35"/>
                  </a:cubicBezTo>
                  <a:cubicBezTo>
                    <a:pt x="106" y="38"/>
                    <a:pt x="101" y="40"/>
                    <a:pt x="96" y="40"/>
                  </a:cubicBezTo>
                  <a:cubicBezTo>
                    <a:pt x="95" y="40"/>
                    <a:pt x="94" y="40"/>
                    <a:pt x="93" y="40"/>
                  </a:cubicBezTo>
                  <a:cubicBezTo>
                    <a:pt x="82" y="38"/>
                    <a:pt x="73" y="28"/>
                    <a:pt x="75" y="16"/>
                  </a:cubicBezTo>
                  <a:cubicBezTo>
                    <a:pt x="76" y="11"/>
                    <a:pt x="77" y="5"/>
                    <a:pt x="77" y="0"/>
                  </a:cubicBezTo>
                  <a:cubicBezTo>
                    <a:pt x="32" y="0"/>
                    <a:pt x="32" y="0"/>
                    <a:pt x="32" y="0"/>
                  </a:cubicBezTo>
                  <a:cubicBezTo>
                    <a:pt x="33" y="5"/>
                    <a:pt x="34" y="11"/>
                    <a:pt x="34" y="16"/>
                  </a:cubicBezTo>
                  <a:cubicBezTo>
                    <a:pt x="36" y="28"/>
                    <a:pt x="28" y="38"/>
                    <a:pt x="16" y="40"/>
                  </a:cubicBezTo>
                  <a:cubicBezTo>
                    <a:pt x="15" y="40"/>
                    <a:pt x="14" y="40"/>
                    <a:pt x="13" y="40"/>
                  </a:cubicBezTo>
                  <a:cubicBezTo>
                    <a:pt x="8" y="40"/>
                    <a:pt x="3" y="38"/>
                    <a:pt x="0" y="35"/>
                  </a:cubicBezTo>
                  <a:cubicBezTo>
                    <a:pt x="0" y="45"/>
                    <a:pt x="0" y="45"/>
                    <a:pt x="0" y="45"/>
                  </a:cubicBezTo>
                  <a:cubicBezTo>
                    <a:pt x="1" y="56"/>
                    <a:pt x="1" y="66"/>
                    <a:pt x="1" y="75"/>
                  </a:cubicBezTo>
                  <a:cubicBezTo>
                    <a:pt x="1" y="79"/>
                    <a:pt x="1" y="79"/>
                    <a:pt x="1"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8" y="192"/>
                    <a:pt x="110" y="181"/>
                    <a:pt x="110" y="167"/>
                  </a:cubicBezTo>
                  <a:cubicBezTo>
                    <a:pt x="110" y="80"/>
                    <a:pt x="110" y="80"/>
                    <a:pt x="110" y="80"/>
                  </a:cubicBezTo>
                  <a:lnTo>
                    <a:pt x="108"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6" name="Oval 9"/>
            <p:cNvSpPr/>
            <p:nvPr/>
          </p:nvSpPr>
          <p:spPr bwMode="auto">
            <a:xfrm>
              <a:off x="3720"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7" name="Freeform 10"/>
            <p:cNvSpPr/>
            <p:nvPr/>
          </p:nvSpPr>
          <p:spPr bwMode="auto">
            <a:xfrm>
              <a:off x="4363" y="2231"/>
              <a:ext cx="260" cy="453"/>
            </a:xfrm>
            <a:custGeom>
              <a:avLst/>
              <a:gdLst>
                <a:gd name="T0" fmla="*/ 32 w 110"/>
                <a:gd name="T1" fmla="*/ 0 h 192"/>
                <a:gd name="T2" fmla="*/ 35 w 110"/>
                <a:gd name="T3" fmla="*/ 16 h 192"/>
                <a:gd name="T4" fmla="*/ 17 w 110"/>
                <a:gd name="T5" fmla="*/ 40 h 192"/>
                <a:gd name="T6" fmla="*/ 14 w 110"/>
                <a:gd name="T7" fmla="*/ 40 h 192"/>
                <a:gd name="T8" fmla="*/ 0 w 110"/>
                <a:gd name="T9" fmla="*/ 35 h 192"/>
                <a:gd name="T10" fmla="*/ 0 w 110"/>
                <a:gd name="T11" fmla="*/ 45 h 192"/>
                <a:gd name="T12" fmla="*/ 2 w 110"/>
                <a:gd name="T13" fmla="*/ 75 h 192"/>
                <a:gd name="T14" fmla="*/ 2 w 110"/>
                <a:gd name="T15" fmla="*/ 79 h 192"/>
                <a:gd name="T16" fmla="*/ 0 w 110"/>
                <a:gd name="T17" fmla="*/ 80 h 192"/>
                <a:gd name="T18" fmla="*/ 0 w 110"/>
                <a:gd name="T19" fmla="*/ 167 h 192"/>
                <a:gd name="T20" fmla="*/ 25 w 110"/>
                <a:gd name="T21" fmla="*/ 192 h 192"/>
                <a:gd name="T22" fmla="*/ 50 w 110"/>
                <a:gd name="T23" fmla="*/ 167 h 192"/>
                <a:gd name="T24" fmla="*/ 50 w 110"/>
                <a:gd name="T25" fmla="*/ 48 h 192"/>
                <a:gd name="T26" fmla="*/ 60 w 110"/>
                <a:gd name="T27" fmla="*/ 48 h 192"/>
                <a:gd name="T28" fmla="*/ 60 w 110"/>
                <a:gd name="T29" fmla="*/ 167 h 192"/>
                <a:gd name="T30" fmla="*/ 85 w 110"/>
                <a:gd name="T31" fmla="*/ 192 h 192"/>
                <a:gd name="T32" fmla="*/ 110 w 110"/>
                <a:gd name="T33" fmla="*/ 167 h 192"/>
                <a:gd name="T34" fmla="*/ 110 w 110"/>
                <a:gd name="T35" fmla="*/ 8 h 192"/>
                <a:gd name="T36" fmla="*/ 110 w 110"/>
                <a:gd name="T37" fmla="*/ 0 h 192"/>
                <a:gd name="T38" fmla="*/ 32 w 110"/>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32" y="0"/>
                  </a:moveTo>
                  <a:cubicBezTo>
                    <a:pt x="33" y="5"/>
                    <a:pt x="34" y="11"/>
                    <a:pt x="35" y="16"/>
                  </a:cubicBezTo>
                  <a:cubicBezTo>
                    <a:pt x="36" y="28"/>
                    <a:pt x="28" y="38"/>
                    <a:pt x="17" y="40"/>
                  </a:cubicBezTo>
                  <a:cubicBezTo>
                    <a:pt x="16" y="40"/>
                    <a:pt x="15" y="40"/>
                    <a:pt x="14" y="40"/>
                  </a:cubicBezTo>
                  <a:cubicBezTo>
                    <a:pt x="9" y="40"/>
                    <a:pt x="4" y="38"/>
                    <a:pt x="0" y="35"/>
                  </a:cubicBezTo>
                  <a:cubicBezTo>
                    <a:pt x="0" y="45"/>
                    <a:pt x="0" y="45"/>
                    <a:pt x="0" y="45"/>
                  </a:cubicBezTo>
                  <a:cubicBezTo>
                    <a:pt x="1" y="56"/>
                    <a:pt x="2" y="66"/>
                    <a:pt x="2" y="75"/>
                  </a:cubicBezTo>
                  <a:cubicBezTo>
                    <a:pt x="2" y="79"/>
                    <a:pt x="2" y="79"/>
                    <a:pt x="2"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
                    <a:pt x="110" y="8"/>
                    <a:pt x="110" y="8"/>
                  </a:cubicBezTo>
                  <a:cubicBezTo>
                    <a:pt x="110" y="0"/>
                    <a:pt x="110" y="0"/>
                    <a:pt x="110" y="0"/>
                  </a:cubicBez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8" name="Freeform 11"/>
            <p:cNvSpPr/>
            <p:nvPr/>
          </p:nvSpPr>
          <p:spPr bwMode="auto">
            <a:xfrm>
              <a:off x="4306" y="1886"/>
              <a:ext cx="433" cy="413"/>
            </a:xfrm>
            <a:custGeom>
              <a:avLst/>
              <a:gdLst>
                <a:gd name="T0" fmla="*/ 121 w 183"/>
                <a:gd name="T1" fmla="*/ 0 h 175"/>
                <a:gd name="T2" fmla="*/ 120 w 183"/>
                <a:gd name="T3" fmla="*/ 0 h 175"/>
                <a:gd name="T4" fmla="*/ 119 w 183"/>
                <a:gd name="T5" fmla="*/ 0 h 175"/>
                <a:gd name="T6" fmla="*/ 117 w 183"/>
                <a:gd name="T7" fmla="*/ 0 h 175"/>
                <a:gd name="T8" fmla="*/ 116 w 183"/>
                <a:gd name="T9" fmla="*/ 0 h 175"/>
                <a:gd name="T10" fmla="*/ 43 w 183"/>
                <a:gd name="T11" fmla="*/ 0 h 175"/>
                <a:gd name="T12" fmla="*/ 41 w 183"/>
                <a:gd name="T13" fmla="*/ 0 h 175"/>
                <a:gd name="T14" fmla="*/ 39 w 183"/>
                <a:gd name="T15" fmla="*/ 0 h 175"/>
                <a:gd name="T16" fmla="*/ 39 w 183"/>
                <a:gd name="T17" fmla="*/ 0 h 175"/>
                <a:gd name="T18" fmla="*/ 37 w 183"/>
                <a:gd name="T19" fmla="*/ 0 h 175"/>
                <a:gd name="T20" fmla="*/ 8 w 183"/>
                <a:gd name="T21" fmla="*/ 15 h 175"/>
                <a:gd name="T22" fmla="*/ 0 w 183"/>
                <a:gd name="T23" fmla="*/ 26 h 175"/>
                <a:gd name="T24" fmla="*/ 22 w 183"/>
                <a:gd name="T25" fmla="*/ 51 h 175"/>
                <a:gd name="T26" fmla="*/ 24 w 183"/>
                <a:gd name="T27" fmla="*/ 47 h 175"/>
                <a:gd name="T28" fmla="*/ 24 w 183"/>
                <a:gd name="T29" fmla="*/ 54 h 175"/>
                <a:gd name="T30" fmla="*/ 55 w 183"/>
                <a:gd name="T31" fmla="*/ 139 h 175"/>
                <a:gd name="T32" fmla="*/ 134 w 183"/>
                <a:gd name="T33" fmla="*/ 139 h 175"/>
                <a:gd name="T34" fmla="*/ 134 w 183"/>
                <a:gd name="T35" fmla="*/ 107 h 175"/>
                <a:gd name="T36" fmla="*/ 134 w 183"/>
                <a:gd name="T37" fmla="*/ 47 h 175"/>
                <a:gd name="T38" fmla="*/ 148 w 183"/>
                <a:gd name="T39" fmla="*/ 159 h 175"/>
                <a:gd name="T40" fmla="*/ 163 w 183"/>
                <a:gd name="T41" fmla="*/ 175 h 175"/>
                <a:gd name="T42" fmla="*/ 163 w 183"/>
                <a:gd name="T43" fmla="*/ 175 h 175"/>
                <a:gd name="T44" fmla="*/ 179 w 183"/>
                <a:gd name="T45" fmla="*/ 160 h 175"/>
                <a:gd name="T46" fmla="*/ 150 w 183"/>
                <a:gd name="T47" fmla="*/ 15 h 175"/>
                <a:gd name="T48" fmla="*/ 121 w 183"/>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121" y="0"/>
                  </a:moveTo>
                  <a:cubicBezTo>
                    <a:pt x="121" y="0"/>
                    <a:pt x="120" y="0"/>
                    <a:pt x="120" y="0"/>
                  </a:cubicBezTo>
                  <a:cubicBezTo>
                    <a:pt x="119" y="0"/>
                    <a:pt x="119" y="0"/>
                    <a:pt x="119" y="0"/>
                  </a:cubicBezTo>
                  <a:cubicBezTo>
                    <a:pt x="119" y="0"/>
                    <a:pt x="118" y="0"/>
                    <a:pt x="117" y="0"/>
                  </a:cubicBezTo>
                  <a:cubicBezTo>
                    <a:pt x="117" y="0"/>
                    <a:pt x="116" y="0"/>
                    <a:pt x="116" y="0"/>
                  </a:cubicBezTo>
                  <a:cubicBezTo>
                    <a:pt x="43" y="0"/>
                    <a:pt x="43" y="0"/>
                    <a:pt x="43" y="0"/>
                  </a:cubicBezTo>
                  <a:cubicBezTo>
                    <a:pt x="42" y="0"/>
                    <a:pt x="41" y="0"/>
                    <a:pt x="41" y="0"/>
                  </a:cubicBezTo>
                  <a:cubicBezTo>
                    <a:pt x="40" y="0"/>
                    <a:pt x="39" y="0"/>
                    <a:pt x="39" y="0"/>
                  </a:cubicBezTo>
                  <a:cubicBezTo>
                    <a:pt x="39" y="0"/>
                    <a:pt x="39" y="0"/>
                    <a:pt x="39" y="0"/>
                  </a:cubicBezTo>
                  <a:cubicBezTo>
                    <a:pt x="38" y="0"/>
                    <a:pt x="37" y="0"/>
                    <a:pt x="37" y="0"/>
                  </a:cubicBezTo>
                  <a:cubicBezTo>
                    <a:pt x="26" y="1"/>
                    <a:pt x="17" y="6"/>
                    <a:pt x="8" y="15"/>
                  </a:cubicBezTo>
                  <a:cubicBezTo>
                    <a:pt x="5" y="18"/>
                    <a:pt x="2" y="22"/>
                    <a:pt x="0" y="26"/>
                  </a:cubicBezTo>
                  <a:cubicBezTo>
                    <a:pt x="7" y="32"/>
                    <a:pt x="15" y="40"/>
                    <a:pt x="22" y="51"/>
                  </a:cubicBezTo>
                  <a:cubicBezTo>
                    <a:pt x="23" y="49"/>
                    <a:pt x="24" y="48"/>
                    <a:pt x="24" y="47"/>
                  </a:cubicBezTo>
                  <a:cubicBezTo>
                    <a:pt x="24" y="54"/>
                    <a:pt x="24" y="54"/>
                    <a:pt x="24" y="54"/>
                  </a:cubicBezTo>
                  <a:cubicBezTo>
                    <a:pt x="36" y="72"/>
                    <a:pt x="48" y="100"/>
                    <a:pt x="55" y="139"/>
                  </a:cubicBezTo>
                  <a:cubicBezTo>
                    <a:pt x="134" y="139"/>
                    <a:pt x="134" y="139"/>
                    <a:pt x="134" y="139"/>
                  </a:cubicBezTo>
                  <a:cubicBezTo>
                    <a:pt x="134" y="107"/>
                    <a:pt x="134" y="107"/>
                    <a:pt x="134" y="107"/>
                  </a:cubicBezTo>
                  <a:cubicBezTo>
                    <a:pt x="134" y="47"/>
                    <a:pt x="134" y="47"/>
                    <a:pt x="134" y="47"/>
                  </a:cubicBezTo>
                  <a:cubicBezTo>
                    <a:pt x="142" y="62"/>
                    <a:pt x="151" y="94"/>
                    <a:pt x="148" y="159"/>
                  </a:cubicBezTo>
                  <a:cubicBezTo>
                    <a:pt x="147" y="167"/>
                    <a:pt x="154" y="175"/>
                    <a:pt x="163" y="175"/>
                  </a:cubicBezTo>
                  <a:cubicBezTo>
                    <a:pt x="163" y="175"/>
                    <a:pt x="163" y="175"/>
                    <a:pt x="163" y="175"/>
                  </a:cubicBezTo>
                  <a:cubicBezTo>
                    <a:pt x="172" y="175"/>
                    <a:pt x="179" y="169"/>
                    <a:pt x="179" y="160"/>
                  </a:cubicBezTo>
                  <a:cubicBezTo>
                    <a:pt x="183" y="89"/>
                    <a:pt x="172" y="39"/>
                    <a:pt x="150" y="15"/>
                  </a:cubicBezTo>
                  <a:cubicBezTo>
                    <a:pt x="141" y="6"/>
                    <a:pt x="132" y="1"/>
                    <a:pt x="1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9" name="Oval 12"/>
            <p:cNvSpPr/>
            <p:nvPr/>
          </p:nvSpPr>
          <p:spPr bwMode="auto">
            <a:xfrm>
              <a:off x="4377" y="1633"/>
              <a:ext cx="232"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0" name="Freeform 13"/>
            <p:cNvSpPr/>
            <p:nvPr/>
          </p:nvSpPr>
          <p:spPr bwMode="auto">
            <a:xfrm>
              <a:off x="3052" y="2231"/>
              <a:ext cx="260" cy="453"/>
            </a:xfrm>
            <a:custGeom>
              <a:avLst/>
              <a:gdLst>
                <a:gd name="T0" fmla="*/ 109 w 110"/>
                <a:gd name="T1" fmla="*/ 79 h 192"/>
                <a:gd name="T2" fmla="*/ 109 w 110"/>
                <a:gd name="T3" fmla="*/ 75 h 192"/>
                <a:gd name="T4" fmla="*/ 110 w 110"/>
                <a:gd name="T5" fmla="*/ 45 h 192"/>
                <a:gd name="T6" fmla="*/ 110 w 110"/>
                <a:gd name="T7" fmla="*/ 35 h 192"/>
                <a:gd name="T8" fmla="*/ 97 w 110"/>
                <a:gd name="T9" fmla="*/ 40 h 192"/>
                <a:gd name="T10" fmla="*/ 94 w 110"/>
                <a:gd name="T11" fmla="*/ 40 h 192"/>
                <a:gd name="T12" fmla="*/ 76 w 110"/>
                <a:gd name="T13" fmla="*/ 16 h 192"/>
                <a:gd name="T14" fmla="*/ 78 w 110"/>
                <a:gd name="T15" fmla="*/ 0 h 192"/>
                <a:gd name="T16" fmla="*/ 0 w 110"/>
                <a:gd name="T17" fmla="*/ 0 h 192"/>
                <a:gd name="T18" fmla="*/ 0 w 110"/>
                <a:gd name="T19" fmla="*/ 8 h 192"/>
                <a:gd name="T20" fmla="*/ 0 w 110"/>
                <a:gd name="T21" fmla="*/ 167 h 192"/>
                <a:gd name="T22" fmla="*/ 25 w 110"/>
                <a:gd name="T23" fmla="*/ 192 h 192"/>
                <a:gd name="T24" fmla="*/ 50 w 110"/>
                <a:gd name="T25" fmla="*/ 167 h 192"/>
                <a:gd name="T26" fmla="*/ 50 w 110"/>
                <a:gd name="T27" fmla="*/ 48 h 192"/>
                <a:gd name="T28" fmla="*/ 60 w 110"/>
                <a:gd name="T29" fmla="*/ 48 h 192"/>
                <a:gd name="T30" fmla="*/ 60 w 110"/>
                <a:gd name="T31" fmla="*/ 167 h 192"/>
                <a:gd name="T32" fmla="*/ 85 w 110"/>
                <a:gd name="T33" fmla="*/ 192 h 192"/>
                <a:gd name="T34" fmla="*/ 110 w 110"/>
                <a:gd name="T35" fmla="*/ 167 h 192"/>
                <a:gd name="T36" fmla="*/ 110 w 110"/>
                <a:gd name="T37" fmla="*/ 80 h 192"/>
                <a:gd name="T38" fmla="*/ 109 w 110"/>
                <a:gd name="T39"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109" y="79"/>
                  </a:moveTo>
                  <a:cubicBezTo>
                    <a:pt x="109" y="75"/>
                    <a:pt x="109" y="75"/>
                    <a:pt x="109" y="75"/>
                  </a:cubicBezTo>
                  <a:cubicBezTo>
                    <a:pt x="109" y="66"/>
                    <a:pt x="109" y="56"/>
                    <a:pt x="110" y="45"/>
                  </a:cubicBezTo>
                  <a:cubicBezTo>
                    <a:pt x="110" y="35"/>
                    <a:pt x="110" y="35"/>
                    <a:pt x="110" y="35"/>
                  </a:cubicBezTo>
                  <a:cubicBezTo>
                    <a:pt x="107" y="38"/>
                    <a:pt x="102" y="40"/>
                    <a:pt x="97" y="40"/>
                  </a:cubicBezTo>
                  <a:cubicBezTo>
                    <a:pt x="96" y="40"/>
                    <a:pt x="95" y="40"/>
                    <a:pt x="94" y="40"/>
                  </a:cubicBezTo>
                  <a:cubicBezTo>
                    <a:pt x="82" y="38"/>
                    <a:pt x="74" y="28"/>
                    <a:pt x="76" y="16"/>
                  </a:cubicBezTo>
                  <a:cubicBezTo>
                    <a:pt x="76" y="11"/>
                    <a:pt x="77" y="5"/>
                    <a:pt x="78" y="0"/>
                  </a:cubicBezTo>
                  <a:cubicBezTo>
                    <a:pt x="0" y="0"/>
                    <a:pt x="0" y="0"/>
                    <a:pt x="0" y="0"/>
                  </a:cubicBezTo>
                  <a:cubicBezTo>
                    <a:pt x="0" y="8"/>
                    <a:pt x="0" y="8"/>
                    <a:pt x="0" y="8"/>
                  </a:cubicBezTo>
                  <a:cubicBezTo>
                    <a:pt x="0" y="167"/>
                    <a:pt x="0" y="167"/>
                    <a:pt x="0" y="167"/>
                  </a:cubicBezTo>
                  <a:cubicBezTo>
                    <a:pt x="0" y="181"/>
                    <a:pt x="12"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0"/>
                    <a:pt x="110" y="80"/>
                    <a:pt x="110" y="80"/>
                  </a:cubicBezTo>
                  <a:lnTo>
                    <a:pt x="109"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1" name="Freeform 14"/>
            <p:cNvSpPr/>
            <p:nvPr/>
          </p:nvSpPr>
          <p:spPr bwMode="auto">
            <a:xfrm>
              <a:off x="2939" y="1886"/>
              <a:ext cx="432" cy="413"/>
            </a:xfrm>
            <a:custGeom>
              <a:avLst/>
              <a:gdLst>
                <a:gd name="T0" fmla="*/ 48 w 183"/>
                <a:gd name="T1" fmla="*/ 107 h 175"/>
                <a:gd name="T2" fmla="*/ 48 w 183"/>
                <a:gd name="T3" fmla="*/ 139 h 175"/>
                <a:gd name="T4" fmla="*/ 127 w 183"/>
                <a:gd name="T5" fmla="*/ 139 h 175"/>
                <a:gd name="T6" fmla="*/ 158 w 183"/>
                <a:gd name="T7" fmla="*/ 54 h 175"/>
                <a:gd name="T8" fmla="*/ 158 w 183"/>
                <a:gd name="T9" fmla="*/ 47 h 175"/>
                <a:gd name="T10" fmla="*/ 160 w 183"/>
                <a:gd name="T11" fmla="*/ 51 h 175"/>
                <a:gd name="T12" fmla="*/ 183 w 183"/>
                <a:gd name="T13" fmla="*/ 26 h 175"/>
                <a:gd name="T14" fmla="*/ 174 w 183"/>
                <a:gd name="T15" fmla="*/ 15 h 175"/>
                <a:gd name="T16" fmla="*/ 146 w 183"/>
                <a:gd name="T17" fmla="*/ 0 h 175"/>
                <a:gd name="T18" fmla="*/ 144 w 183"/>
                <a:gd name="T19" fmla="*/ 0 h 175"/>
                <a:gd name="T20" fmla="*/ 144 w 183"/>
                <a:gd name="T21" fmla="*/ 0 h 175"/>
                <a:gd name="T22" fmla="*/ 142 w 183"/>
                <a:gd name="T23" fmla="*/ 0 h 175"/>
                <a:gd name="T24" fmla="*/ 140 w 183"/>
                <a:gd name="T25" fmla="*/ 0 h 175"/>
                <a:gd name="T26" fmla="*/ 67 w 183"/>
                <a:gd name="T27" fmla="*/ 0 h 175"/>
                <a:gd name="T28" fmla="*/ 65 w 183"/>
                <a:gd name="T29" fmla="*/ 0 h 175"/>
                <a:gd name="T30" fmla="*/ 63 w 183"/>
                <a:gd name="T31" fmla="*/ 0 h 175"/>
                <a:gd name="T32" fmla="*/ 63 w 183"/>
                <a:gd name="T33" fmla="*/ 0 h 175"/>
                <a:gd name="T34" fmla="*/ 61 w 183"/>
                <a:gd name="T35" fmla="*/ 0 h 175"/>
                <a:gd name="T36" fmla="*/ 33 w 183"/>
                <a:gd name="T37" fmla="*/ 15 h 175"/>
                <a:gd name="T38" fmla="*/ 3 w 183"/>
                <a:gd name="T39" fmla="*/ 160 h 175"/>
                <a:gd name="T40" fmla="*/ 19 w 183"/>
                <a:gd name="T41" fmla="*/ 175 h 175"/>
                <a:gd name="T42" fmla="*/ 20 w 183"/>
                <a:gd name="T43" fmla="*/ 175 h 175"/>
                <a:gd name="T44" fmla="*/ 35 w 183"/>
                <a:gd name="T45" fmla="*/ 159 h 175"/>
                <a:gd name="T46" fmla="*/ 48 w 183"/>
                <a:gd name="T47" fmla="*/ 47 h 175"/>
                <a:gd name="T48" fmla="*/ 48 w 183"/>
                <a:gd name="T49"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48" y="107"/>
                  </a:moveTo>
                  <a:cubicBezTo>
                    <a:pt x="48" y="139"/>
                    <a:pt x="48" y="139"/>
                    <a:pt x="48" y="139"/>
                  </a:cubicBezTo>
                  <a:cubicBezTo>
                    <a:pt x="127" y="139"/>
                    <a:pt x="127" y="139"/>
                    <a:pt x="127" y="139"/>
                  </a:cubicBezTo>
                  <a:cubicBezTo>
                    <a:pt x="135" y="100"/>
                    <a:pt x="146" y="72"/>
                    <a:pt x="158" y="54"/>
                  </a:cubicBezTo>
                  <a:cubicBezTo>
                    <a:pt x="158" y="47"/>
                    <a:pt x="158" y="47"/>
                    <a:pt x="158" y="47"/>
                  </a:cubicBezTo>
                  <a:cubicBezTo>
                    <a:pt x="159" y="48"/>
                    <a:pt x="160" y="49"/>
                    <a:pt x="160" y="51"/>
                  </a:cubicBezTo>
                  <a:cubicBezTo>
                    <a:pt x="168" y="40"/>
                    <a:pt x="175" y="32"/>
                    <a:pt x="183" y="26"/>
                  </a:cubicBezTo>
                  <a:cubicBezTo>
                    <a:pt x="180" y="22"/>
                    <a:pt x="177" y="18"/>
                    <a:pt x="174" y="15"/>
                  </a:cubicBezTo>
                  <a:cubicBezTo>
                    <a:pt x="166" y="6"/>
                    <a:pt x="156" y="1"/>
                    <a:pt x="146" y="0"/>
                  </a:cubicBezTo>
                  <a:cubicBezTo>
                    <a:pt x="145" y="0"/>
                    <a:pt x="144" y="0"/>
                    <a:pt x="144" y="0"/>
                  </a:cubicBezTo>
                  <a:cubicBezTo>
                    <a:pt x="144" y="0"/>
                    <a:pt x="144" y="0"/>
                    <a:pt x="144" y="0"/>
                  </a:cubicBezTo>
                  <a:cubicBezTo>
                    <a:pt x="143" y="0"/>
                    <a:pt x="142" y="0"/>
                    <a:pt x="142" y="0"/>
                  </a:cubicBezTo>
                  <a:cubicBezTo>
                    <a:pt x="141" y="0"/>
                    <a:pt x="140" y="0"/>
                    <a:pt x="140" y="0"/>
                  </a:cubicBezTo>
                  <a:cubicBezTo>
                    <a:pt x="67" y="0"/>
                    <a:pt x="67" y="0"/>
                    <a:pt x="67" y="0"/>
                  </a:cubicBezTo>
                  <a:cubicBezTo>
                    <a:pt x="66" y="0"/>
                    <a:pt x="66" y="0"/>
                    <a:pt x="65" y="0"/>
                  </a:cubicBezTo>
                  <a:cubicBezTo>
                    <a:pt x="64" y="0"/>
                    <a:pt x="64" y="0"/>
                    <a:pt x="63" y="0"/>
                  </a:cubicBezTo>
                  <a:cubicBezTo>
                    <a:pt x="63" y="0"/>
                    <a:pt x="63" y="0"/>
                    <a:pt x="63" y="0"/>
                  </a:cubicBezTo>
                  <a:cubicBezTo>
                    <a:pt x="62" y="0"/>
                    <a:pt x="62" y="0"/>
                    <a:pt x="61" y="0"/>
                  </a:cubicBezTo>
                  <a:cubicBezTo>
                    <a:pt x="51" y="1"/>
                    <a:pt x="41" y="6"/>
                    <a:pt x="33" y="15"/>
                  </a:cubicBezTo>
                  <a:cubicBezTo>
                    <a:pt x="10" y="39"/>
                    <a:pt x="0" y="89"/>
                    <a:pt x="3" y="160"/>
                  </a:cubicBezTo>
                  <a:cubicBezTo>
                    <a:pt x="4" y="169"/>
                    <a:pt x="11" y="175"/>
                    <a:pt x="19" y="175"/>
                  </a:cubicBezTo>
                  <a:cubicBezTo>
                    <a:pt x="19" y="175"/>
                    <a:pt x="19" y="175"/>
                    <a:pt x="20" y="175"/>
                  </a:cubicBezTo>
                  <a:cubicBezTo>
                    <a:pt x="28" y="175"/>
                    <a:pt x="35" y="167"/>
                    <a:pt x="35" y="159"/>
                  </a:cubicBezTo>
                  <a:cubicBezTo>
                    <a:pt x="31" y="94"/>
                    <a:pt x="41" y="62"/>
                    <a:pt x="48" y="47"/>
                  </a:cubicBezTo>
                  <a:lnTo>
                    <a:pt x="48" y="10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2" name="Oval 15"/>
            <p:cNvSpPr/>
            <p:nvPr/>
          </p:nvSpPr>
          <p:spPr bwMode="auto">
            <a:xfrm>
              <a:off x="3066"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3" name="Freeform 16"/>
            <p:cNvSpPr/>
            <p:nvPr/>
          </p:nvSpPr>
          <p:spPr bwMode="auto">
            <a:xfrm>
              <a:off x="3402" y="2453"/>
              <a:ext cx="92" cy="229"/>
            </a:xfrm>
            <a:custGeom>
              <a:avLst/>
              <a:gdLst>
                <a:gd name="T0" fmla="*/ 0 w 39"/>
                <a:gd name="T1" fmla="*/ 0 h 97"/>
                <a:gd name="T2" fmla="*/ 0 w 39"/>
                <a:gd name="T3" fmla="*/ 78 h 97"/>
                <a:gd name="T4" fmla="*/ 20 w 39"/>
                <a:gd name="T5" fmla="*/ 97 h 97"/>
                <a:gd name="T6" fmla="*/ 39 w 39"/>
                <a:gd name="T7" fmla="*/ 78 h 97"/>
                <a:gd name="T8" fmla="*/ 39 w 39"/>
                <a:gd name="T9" fmla="*/ 5 h 97"/>
                <a:gd name="T10" fmla="*/ 0 w 39"/>
                <a:gd name="T11" fmla="*/ 0 h 97"/>
              </a:gdLst>
              <a:ahLst/>
              <a:cxnLst>
                <a:cxn ang="0">
                  <a:pos x="T0" y="T1"/>
                </a:cxn>
                <a:cxn ang="0">
                  <a:pos x="T2" y="T3"/>
                </a:cxn>
                <a:cxn ang="0">
                  <a:pos x="T4" y="T5"/>
                </a:cxn>
                <a:cxn ang="0">
                  <a:pos x="T6" y="T7"/>
                </a:cxn>
                <a:cxn ang="0">
                  <a:pos x="T8" y="T9"/>
                </a:cxn>
                <a:cxn ang="0">
                  <a:pos x="T10" y="T11"/>
                </a:cxn>
              </a:cxnLst>
              <a:rect l="0" t="0" r="r" b="b"/>
              <a:pathLst>
                <a:path w="39" h="97">
                  <a:moveTo>
                    <a:pt x="0" y="0"/>
                  </a:moveTo>
                  <a:cubicBezTo>
                    <a:pt x="0" y="78"/>
                    <a:pt x="0" y="78"/>
                    <a:pt x="0" y="78"/>
                  </a:cubicBezTo>
                  <a:cubicBezTo>
                    <a:pt x="0" y="89"/>
                    <a:pt x="9" y="97"/>
                    <a:pt x="20" y="97"/>
                  </a:cubicBezTo>
                  <a:cubicBezTo>
                    <a:pt x="30" y="97"/>
                    <a:pt x="39" y="89"/>
                    <a:pt x="39" y="78"/>
                  </a:cubicBezTo>
                  <a:cubicBezTo>
                    <a:pt x="39" y="5"/>
                    <a:pt x="39" y="5"/>
                    <a:pt x="39"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4" name="Freeform 17"/>
            <p:cNvSpPr/>
            <p:nvPr/>
          </p:nvSpPr>
          <p:spPr bwMode="auto">
            <a:xfrm>
              <a:off x="3527" y="2453"/>
              <a:ext cx="92" cy="229"/>
            </a:xfrm>
            <a:custGeom>
              <a:avLst/>
              <a:gdLst>
                <a:gd name="T0" fmla="*/ 0 w 39"/>
                <a:gd name="T1" fmla="*/ 78 h 97"/>
                <a:gd name="T2" fmla="*/ 19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19" y="97"/>
                  </a:cubicBezTo>
                  <a:cubicBezTo>
                    <a:pt x="30" y="97"/>
                    <a:pt x="39" y="89"/>
                    <a:pt x="39" y="78"/>
                  </a:cubicBezTo>
                  <a:cubicBezTo>
                    <a:pt x="39" y="0"/>
                    <a:pt x="39" y="0"/>
                    <a:pt x="39" y="0"/>
                  </a:cubicBezTo>
                  <a:cubicBezTo>
                    <a:pt x="28"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5" name="Freeform 18"/>
            <p:cNvSpPr/>
            <p:nvPr/>
          </p:nvSpPr>
          <p:spPr bwMode="auto">
            <a:xfrm>
              <a:off x="3397" y="1678"/>
              <a:ext cx="227" cy="229"/>
            </a:xfrm>
            <a:custGeom>
              <a:avLst/>
              <a:gdLst>
                <a:gd name="T0" fmla="*/ 48 w 96"/>
                <a:gd name="T1" fmla="*/ 96 h 97"/>
                <a:gd name="T2" fmla="*/ 50 w 96"/>
                <a:gd name="T3" fmla="*/ 97 h 97"/>
                <a:gd name="T4" fmla="*/ 96 w 96"/>
                <a:gd name="T5" fmla="*/ 48 h 97"/>
                <a:gd name="T6" fmla="*/ 48 w 96"/>
                <a:gd name="T7" fmla="*/ 0 h 97"/>
                <a:gd name="T8" fmla="*/ 0 w 96"/>
                <a:gd name="T9" fmla="*/ 48 h 97"/>
                <a:gd name="T10" fmla="*/ 46 w 96"/>
                <a:gd name="T11" fmla="*/ 97 h 97"/>
                <a:gd name="T12" fmla="*/ 48 w 96"/>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6" h="97">
                  <a:moveTo>
                    <a:pt x="48" y="96"/>
                  </a:moveTo>
                  <a:cubicBezTo>
                    <a:pt x="49" y="96"/>
                    <a:pt x="50" y="96"/>
                    <a:pt x="50" y="97"/>
                  </a:cubicBezTo>
                  <a:cubicBezTo>
                    <a:pt x="76" y="95"/>
                    <a:pt x="96" y="74"/>
                    <a:pt x="96" y="48"/>
                  </a:cubicBezTo>
                  <a:cubicBezTo>
                    <a:pt x="96" y="22"/>
                    <a:pt x="75" y="0"/>
                    <a:pt x="48" y="0"/>
                  </a:cubicBezTo>
                  <a:cubicBezTo>
                    <a:pt x="21" y="0"/>
                    <a:pt x="0" y="22"/>
                    <a:pt x="0" y="48"/>
                  </a:cubicBezTo>
                  <a:cubicBezTo>
                    <a:pt x="0" y="74"/>
                    <a:pt x="20" y="95"/>
                    <a:pt x="46" y="97"/>
                  </a:cubicBezTo>
                  <a:cubicBezTo>
                    <a:pt x="46" y="96"/>
                    <a:pt x="47"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6" name="Freeform 19"/>
            <p:cNvSpPr/>
            <p:nvPr/>
          </p:nvSpPr>
          <p:spPr bwMode="auto">
            <a:xfrm>
              <a:off x="3246" y="1923"/>
              <a:ext cx="529" cy="525"/>
            </a:xfrm>
            <a:custGeom>
              <a:avLst/>
              <a:gdLst>
                <a:gd name="T0" fmla="*/ 1 w 224"/>
                <a:gd name="T1" fmla="*/ 147 h 222"/>
                <a:gd name="T2" fmla="*/ 13 w 224"/>
                <a:gd name="T3" fmla="*/ 163 h 222"/>
                <a:gd name="T4" fmla="*/ 28 w 224"/>
                <a:gd name="T5" fmla="*/ 151 h 222"/>
                <a:gd name="T6" fmla="*/ 55 w 224"/>
                <a:gd name="T7" fmla="*/ 61 h 222"/>
                <a:gd name="T8" fmla="*/ 34 w 224"/>
                <a:gd name="T9" fmla="*/ 205 h 222"/>
                <a:gd name="T10" fmla="*/ 112 w 224"/>
                <a:gd name="T11" fmla="*/ 222 h 222"/>
                <a:gd name="T12" fmla="*/ 190 w 224"/>
                <a:gd name="T13" fmla="*/ 205 h 222"/>
                <a:gd name="T14" fmla="*/ 169 w 224"/>
                <a:gd name="T15" fmla="*/ 61 h 222"/>
                <a:gd name="T16" fmla="*/ 196 w 224"/>
                <a:gd name="T17" fmla="*/ 151 h 222"/>
                <a:gd name="T18" fmla="*/ 209 w 224"/>
                <a:gd name="T19" fmla="*/ 163 h 222"/>
                <a:gd name="T20" fmla="*/ 211 w 224"/>
                <a:gd name="T21" fmla="*/ 163 h 222"/>
                <a:gd name="T22" fmla="*/ 223 w 224"/>
                <a:gd name="T23" fmla="*/ 147 h 222"/>
                <a:gd name="T24" fmla="*/ 149 w 224"/>
                <a:gd name="T25" fmla="*/ 5 h 222"/>
                <a:gd name="T26" fmla="*/ 131 w 224"/>
                <a:gd name="T27" fmla="*/ 1 h 222"/>
                <a:gd name="T28" fmla="*/ 112 w 224"/>
                <a:gd name="T29" fmla="*/ 0 h 222"/>
                <a:gd name="T30" fmla="*/ 93 w 224"/>
                <a:gd name="T31" fmla="*/ 1 h 222"/>
                <a:gd name="T32" fmla="*/ 75 w 224"/>
                <a:gd name="T33" fmla="*/ 5 h 222"/>
                <a:gd name="T34" fmla="*/ 1 w 224"/>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2">
                  <a:moveTo>
                    <a:pt x="1" y="147"/>
                  </a:moveTo>
                  <a:cubicBezTo>
                    <a:pt x="0" y="155"/>
                    <a:pt x="5" y="162"/>
                    <a:pt x="13" y="163"/>
                  </a:cubicBezTo>
                  <a:cubicBezTo>
                    <a:pt x="20" y="164"/>
                    <a:pt x="27" y="158"/>
                    <a:pt x="28" y="151"/>
                  </a:cubicBezTo>
                  <a:cubicBezTo>
                    <a:pt x="34" y="107"/>
                    <a:pt x="45" y="79"/>
                    <a:pt x="55" y="61"/>
                  </a:cubicBezTo>
                  <a:cubicBezTo>
                    <a:pt x="46" y="105"/>
                    <a:pt x="34" y="166"/>
                    <a:pt x="34" y="205"/>
                  </a:cubicBezTo>
                  <a:cubicBezTo>
                    <a:pt x="34" y="205"/>
                    <a:pt x="63" y="222"/>
                    <a:pt x="112" y="222"/>
                  </a:cubicBezTo>
                  <a:cubicBezTo>
                    <a:pt x="161" y="222"/>
                    <a:pt x="190" y="205"/>
                    <a:pt x="190" y="205"/>
                  </a:cubicBezTo>
                  <a:cubicBezTo>
                    <a:pt x="190" y="166"/>
                    <a:pt x="178" y="105"/>
                    <a:pt x="169" y="61"/>
                  </a:cubicBezTo>
                  <a:cubicBezTo>
                    <a:pt x="179" y="79"/>
                    <a:pt x="190" y="107"/>
                    <a:pt x="196" y="151"/>
                  </a:cubicBezTo>
                  <a:cubicBezTo>
                    <a:pt x="197" y="158"/>
                    <a:pt x="203" y="163"/>
                    <a:pt x="209" y="163"/>
                  </a:cubicBezTo>
                  <a:cubicBezTo>
                    <a:pt x="210" y="163"/>
                    <a:pt x="211" y="163"/>
                    <a:pt x="211" y="163"/>
                  </a:cubicBezTo>
                  <a:cubicBezTo>
                    <a:pt x="219" y="162"/>
                    <a:pt x="224" y="155"/>
                    <a:pt x="223" y="147"/>
                  </a:cubicBezTo>
                  <a:cubicBezTo>
                    <a:pt x="208" y="38"/>
                    <a:pt x="167" y="12"/>
                    <a:pt x="149" y="5"/>
                  </a:cubicBezTo>
                  <a:cubicBezTo>
                    <a:pt x="145" y="4"/>
                    <a:pt x="139" y="2"/>
                    <a:pt x="131" y="1"/>
                  </a:cubicBezTo>
                  <a:cubicBezTo>
                    <a:pt x="126" y="0"/>
                    <a:pt x="119" y="0"/>
                    <a:pt x="112" y="0"/>
                  </a:cubicBezTo>
                  <a:cubicBezTo>
                    <a:pt x="105" y="0"/>
                    <a:pt x="98" y="0"/>
                    <a:pt x="93" y="1"/>
                  </a:cubicBezTo>
                  <a:cubicBezTo>
                    <a:pt x="85" y="2"/>
                    <a:pt x="79" y="4"/>
                    <a:pt x="75" y="5"/>
                  </a:cubicBezTo>
                  <a:cubicBezTo>
                    <a:pt x="57"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7" name="Freeform 20"/>
            <p:cNvSpPr/>
            <p:nvPr/>
          </p:nvSpPr>
          <p:spPr bwMode="auto">
            <a:xfrm>
              <a:off x="4056" y="2453"/>
              <a:ext cx="94" cy="229"/>
            </a:xfrm>
            <a:custGeom>
              <a:avLst/>
              <a:gdLst>
                <a:gd name="T0" fmla="*/ 0 w 40"/>
                <a:gd name="T1" fmla="*/ 0 h 97"/>
                <a:gd name="T2" fmla="*/ 0 w 40"/>
                <a:gd name="T3" fmla="*/ 78 h 97"/>
                <a:gd name="T4" fmla="*/ 20 w 40"/>
                <a:gd name="T5" fmla="*/ 97 h 97"/>
                <a:gd name="T6" fmla="*/ 40 w 40"/>
                <a:gd name="T7" fmla="*/ 78 h 97"/>
                <a:gd name="T8" fmla="*/ 40 w 40"/>
                <a:gd name="T9" fmla="*/ 5 h 97"/>
                <a:gd name="T10" fmla="*/ 0 w 40"/>
                <a:gd name="T11" fmla="*/ 0 h 97"/>
              </a:gdLst>
              <a:ahLst/>
              <a:cxnLst>
                <a:cxn ang="0">
                  <a:pos x="T0" y="T1"/>
                </a:cxn>
                <a:cxn ang="0">
                  <a:pos x="T2" y="T3"/>
                </a:cxn>
                <a:cxn ang="0">
                  <a:pos x="T4" y="T5"/>
                </a:cxn>
                <a:cxn ang="0">
                  <a:pos x="T6" y="T7"/>
                </a:cxn>
                <a:cxn ang="0">
                  <a:pos x="T8" y="T9"/>
                </a:cxn>
                <a:cxn ang="0">
                  <a:pos x="T10" y="T11"/>
                </a:cxn>
              </a:cxnLst>
              <a:rect l="0" t="0" r="r" b="b"/>
              <a:pathLst>
                <a:path w="40" h="97">
                  <a:moveTo>
                    <a:pt x="0" y="0"/>
                  </a:moveTo>
                  <a:cubicBezTo>
                    <a:pt x="0" y="78"/>
                    <a:pt x="0" y="78"/>
                    <a:pt x="0" y="78"/>
                  </a:cubicBezTo>
                  <a:cubicBezTo>
                    <a:pt x="0" y="89"/>
                    <a:pt x="9" y="97"/>
                    <a:pt x="20" y="97"/>
                  </a:cubicBezTo>
                  <a:cubicBezTo>
                    <a:pt x="31" y="97"/>
                    <a:pt x="40" y="89"/>
                    <a:pt x="40" y="78"/>
                  </a:cubicBezTo>
                  <a:cubicBezTo>
                    <a:pt x="40" y="5"/>
                    <a:pt x="40" y="5"/>
                    <a:pt x="40"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8" name="Freeform 21"/>
            <p:cNvSpPr/>
            <p:nvPr/>
          </p:nvSpPr>
          <p:spPr bwMode="auto">
            <a:xfrm>
              <a:off x="4181" y="2453"/>
              <a:ext cx="92" cy="229"/>
            </a:xfrm>
            <a:custGeom>
              <a:avLst/>
              <a:gdLst>
                <a:gd name="T0" fmla="*/ 0 w 39"/>
                <a:gd name="T1" fmla="*/ 78 h 97"/>
                <a:gd name="T2" fmla="*/ 20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20" y="97"/>
                  </a:cubicBezTo>
                  <a:cubicBezTo>
                    <a:pt x="31" y="97"/>
                    <a:pt x="39" y="89"/>
                    <a:pt x="39" y="78"/>
                  </a:cubicBezTo>
                  <a:cubicBezTo>
                    <a:pt x="39" y="0"/>
                    <a:pt x="39" y="0"/>
                    <a:pt x="39" y="0"/>
                  </a:cubicBezTo>
                  <a:cubicBezTo>
                    <a:pt x="29"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9" name="Freeform 22"/>
            <p:cNvSpPr/>
            <p:nvPr/>
          </p:nvSpPr>
          <p:spPr bwMode="auto">
            <a:xfrm>
              <a:off x="4051" y="1678"/>
              <a:ext cx="229" cy="229"/>
            </a:xfrm>
            <a:custGeom>
              <a:avLst/>
              <a:gdLst>
                <a:gd name="T0" fmla="*/ 48 w 97"/>
                <a:gd name="T1" fmla="*/ 96 h 97"/>
                <a:gd name="T2" fmla="*/ 51 w 97"/>
                <a:gd name="T3" fmla="*/ 97 h 97"/>
                <a:gd name="T4" fmla="*/ 97 w 97"/>
                <a:gd name="T5" fmla="*/ 48 h 97"/>
                <a:gd name="T6" fmla="*/ 48 w 97"/>
                <a:gd name="T7" fmla="*/ 0 h 97"/>
                <a:gd name="T8" fmla="*/ 0 w 97"/>
                <a:gd name="T9" fmla="*/ 48 h 97"/>
                <a:gd name="T10" fmla="*/ 46 w 97"/>
                <a:gd name="T11" fmla="*/ 97 h 97"/>
                <a:gd name="T12" fmla="*/ 48 w 97"/>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48" y="96"/>
                  </a:moveTo>
                  <a:cubicBezTo>
                    <a:pt x="49" y="96"/>
                    <a:pt x="50" y="96"/>
                    <a:pt x="51" y="97"/>
                  </a:cubicBezTo>
                  <a:cubicBezTo>
                    <a:pt x="76" y="95"/>
                    <a:pt x="97" y="74"/>
                    <a:pt x="97" y="48"/>
                  </a:cubicBezTo>
                  <a:cubicBezTo>
                    <a:pt x="97" y="22"/>
                    <a:pt x="75" y="0"/>
                    <a:pt x="48" y="0"/>
                  </a:cubicBezTo>
                  <a:cubicBezTo>
                    <a:pt x="22" y="0"/>
                    <a:pt x="0" y="22"/>
                    <a:pt x="0" y="48"/>
                  </a:cubicBezTo>
                  <a:cubicBezTo>
                    <a:pt x="0" y="74"/>
                    <a:pt x="21" y="95"/>
                    <a:pt x="46" y="97"/>
                  </a:cubicBezTo>
                  <a:cubicBezTo>
                    <a:pt x="47" y="96"/>
                    <a:pt x="48"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10" name="Freeform 23"/>
            <p:cNvSpPr/>
            <p:nvPr/>
          </p:nvSpPr>
          <p:spPr bwMode="auto">
            <a:xfrm>
              <a:off x="3900" y="1923"/>
              <a:ext cx="532" cy="525"/>
            </a:xfrm>
            <a:custGeom>
              <a:avLst/>
              <a:gdLst>
                <a:gd name="T0" fmla="*/ 1 w 225"/>
                <a:gd name="T1" fmla="*/ 147 h 222"/>
                <a:gd name="T2" fmla="*/ 13 w 225"/>
                <a:gd name="T3" fmla="*/ 163 h 222"/>
                <a:gd name="T4" fmla="*/ 29 w 225"/>
                <a:gd name="T5" fmla="*/ 151 h 222"/>
                <a:gd name="T6" fmla="*/ 55 w 225"/>
                <a:gd name="T7" fmla="*/ 61 h 222"/>
                <a:gd name="T8" fmla="*/ 34 w 225"/>
                <a:gd name="T9" fmla="*/ 205 h 222"/>
                <a:gd name="T10" fmla="*/ 112 w 225"/>
                <a:gd name="T11" fmla="*/ 222 h 222"/>
                <a:gd name="T12" fmla="*/ 191 w 225"/>
                <a:gd name="T13" fmla="*/ 205 h 222"/>
                <a:gd name="T14" fmla="*/ 169 w 225"/>
                <a:gd name="T15" fmla="*/ 61 h 222"/>
                <a:gd name="T16" fmla="*/ 196 w 225"/>
                <a:gd name="T17" fmla="*/ 151 h 222"/>
                <a:gd name="T18" fmla="*/ 210 w 225"/>
                <a:gd name="T19" fmla="*/ 163 h 222"/>
                <a:gd name="T20" fmla="*/ 212 w 225"/>
                <a:gd name="T21" fmla="*/ 163 h 222"/>
                <a:gd name="T22" fmla="*/ 224 w 225"/>
                <a:gd name="T23" fmla="*/ 147 h 222"/>
                <a:gd name="T24" fmla="*/ 149 w 225"/>
                <a:gd name="T25" fmla="*/ 5 h 222"/>
                <a:gd name="T26" fmla="*/ 132 w 225"/>
                <a:gd name="T27" fmla="*/ 1 h 222"/>
                <a:gd name="T28" fmla="*/ 112 w 225"/>
                <a:gd name="T29" fmla="*/ 0 h 222"/>
                <a:gd name="T30" fmla="*/ 93 w 225"/>
                <a:gd name="T31" fmla="*/ 1 h 222"/>
                <a:gd name="T32" fmla="*/ 76 w 225"/>
                <a:gd name="T33" fmla="*/ 5 h 222"/>
                <a:gd name="T34" fmla="*/ 1 w 225"/>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2">
                  <a:moveTo>
                    <a:pt x="1" y="147"/>
                  </a:moveTo>
                  <a:cubicBezTo>
                    <a:pt x="0" y="155"/>
                    <a:pt x="5" y="162"/>
                    <a:pt x="13" y="163"/>
                  </a:cubicBezTo>
                  <a:cubicBezTo>
                    <a:pt x="21" y="164"/>
                    <a:pt x="28" y="158"/>
                    <a:pt x="29" y="151"/>
                  </a:cubicBezTo>
                  <a:cubicBezTo>
                    <a:pt x="35" y="107"/>
                    <a:pt x="45" y="79"/>
                    <a:pt x="55" y="61"/>
                  </a:cubicBezTo>
                  <a:cubicBezTo>
                    <a:pt x="46" y="105"/>
                    <a:pt x="34" y="166"/>
                    <a:pt x="34" y="205"/>
                  </a:cubicBezTo>
                  <a:cubicBezTo>
                    <a:pt x="34" y="205"/>
                    <a:pt x="63" y="222"/>
                    <a:pt x="112" y="222"/>
                  </a:cubicBezTo>
                  <a:cubicBezTo>
                    <a:pt x="161" y="222"/>
                    <a:pt x="191" y="205"/>
                    <a:pt x="191" y="205"/>
                  </a:cubicBezTo>
                  <a:cubicBezTo>
                    <a:pt x="191" y="166"/>
                    <a:pt x="179" y="105"/>
                    <a:pt x="169" y="61"/>
                  </a:cubicBezTo>
                  <a:cubicBezTo>
                    <a:pt x="180" y="79"/>
                    <a:pt x="190" y="107"/>
                    <a:pt x="196" y="151"/>
                  </a:cubicBezTo>
                  <a:cubicBezTo>
                    <a:pt x="197" y="158"/>
                    <a:pt x="203" y="163"/>
                    <a:pt x="210" y="163"/>
                  </a:cubicBezTo>
                  <a:cubicBezTo>
                    <a:pt x="210" y="163"/>
                    <a:pt x="211" y="163"/>
                    <a:pt x="212" y="163"/>
                  </a:cubicBezTo>
                  <a:cubicBezTo>
                    <a:pt x="219" y="162"/>
                    <a:pt x="225" y="155"/>
                    <a:pt x="224" y="147"/>
                  </a:cubicBezTo>
                  <a:cubicBezTo>
                    <a:pt x="209" y="38"/>
                    <a:pt x="167" y="12"/>
                    <a:pt x="149" y="5"/>
                  </a:cubicBezTo>
                  <a:cubicBezTo>
                    <a:pt x="145" y="4"/>
                    <a:pt x="140" y="2"/>
                    <a:pt x="132" y="1"/>
                  </a:cubicBezTo>
                  <a:cubicBezTo>
                    <a:pt x="126" y="0"/>
                    <a:pt x="119" y="0"/>
                    <a:pt x="112" y="0"/>
                  </a:cubicBezTo>
                  <a:cubicBezTo>
                    <a:pt x="106" y="0"/>
                    <a:pt x="99" y="0"/>
                    <a:pt x="93" y="1"/>
                  </a:cubicBezTo>
                  <a:cubicBezTo>
                    <a:pt x="85" y="2"/>
                    <a:pt x="80" y="4"/>
                    <a:pt x="76" y="5"/>
                  </a:cubicBezTo>
                  <a:cubicBezTo>
                    <a:pt x="58"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grpSp>
      <p:sp>
        <p:nvSpPr>
          <p:cNvPr id="111" name="矩形: 圆角 110"/>
          <p:cNvSpPr/>
          <p:nvPr/>
        </p:nvSpPr>
        <p:spPr>
          <a:xfrm>
            <a:off x="3549650" y="2073275"/>
            <a:ext cx="3757613" cy="585788"/>
          </a:xfrm>
          <a:prstGeom prst="roundRect">
            <a:avLst>
              <a:gd name="adj" fmla="val 1019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12" name="矩形: 圆角 111"/>
          <p:cNvSpPr/>
          <p:nvPr/>
        </p:nvSpPr>
        <p:spPr>
          <a:xfrm>
            <a:off x="3549650" y="3522663"/>
            <a:ext cx="3757613" cy="587375"/>
          </a:xfrm>
          <a:prstGeom prst="roundRect">
            <a:avLst>
              <a:gd name="adj" fmla="val 1019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30" name="文本框 112"/>
          <p:cNvSpPr txBox="1"/>
          <p:nvPr/>
        </p:nvSpPr>
        <p:spPr>
          <a:xfrm>
            <a:off x="3397250" y="2974975"/>
            <a:ext cx="1520825" cy="317500"/>
          </a:xfrm>
          <a:prstGeom prst="rect">
            <a:avLst/>
          </a:prstGeom>
          <a:noFill/>
          <a:ln w="9525">
            <a:noFill/>
          </a:ln>
        </p:spPr>
        <p:txBody>
          <a:bodyPr wrap="none" lIns="45720" tIns="45720" rIns="45720" bIns="45720" anchor="ctr" anchorCtr="0"/>
          <a:p>
            <a:pPr>
              <a:lnSpc>
                <a:spcPct val="90000"/>
              </a:lnSpc>
              <a:spcBef>
                <a:spcPts val="1000"/>
              </a:spcBef>
            </a:pPr>
            <a:r>
              <a:rPr lang="en-US" altLang="zh-CN" sz="1200" dirty="0">
                <a:solidFill>
                  <a:srgbClr val="404040"/>
                </a:solidFill>
                <a:latin typeface="Pfizer Tomorrow" charset="0"/>
                <a:ea typeface="微软雅黑" panose="020B0503020204020204" charset="-122"/>
                <a:sym typeface="Pfizer Tomorrow" charset="0"/>
              </a:rPr>
              <a:t>2:1</a:t>
            </a:r>
            <a:r>
              <a:rPr lang="zh-CN" altLang="en-US" sz="1200" dirty="0">
                <a:solidFill>
                  <a:srgbClr val="404040"/>
                </a:solidFill>
                <a:latin typeface="Pfizer Tomorrow" charset="0"/>
                <a:ea typeface="微软雅黑" panose="020B0503020204020204" charset="-122"/>
                <a:sym typeface="Pfizer Tomorrow" charset="0"/>
              </a:rPr>
              <a:t>随机分组</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60431" name="文本框 113"/>
          <p:cNvSpPr txBox="1"/>
          <p:nvPr/>
        </p:nvSpPr>
        <p:spPr>
          <a:xfrm>
            <a:off x="3808413" y="4360863"/>
            <a:ext cx="3328987" cy="460375"/>
          </a:xfrm>
          <a:prstGeom prst="rect">
            <a:avLst/>
          </a:prstGeom>
          <a:noFill/>
          <a:ln w="9525">
            <a:noFill/>
          </a:ln>
        </p:spPr>
        <p:txBody>
          <a:bodyPr wrap="square" anchor="t" anchorCtr="0">
            <a:spAutoFit/>
          </a:bodyPr>
          <a:p>
            <a:pPr defTabSz="914400">
              <a:buNone/>
            </a:pPr>
            <a:r>
              <a:rPr lang="zh-CN" altLang="en-US" sz="1200" dirty="0">
                <a:solidFill>
                  <a:srgbClr val="404040"/>
                </a:solidFill>
                <a:latin typeface="Pfizer Tomorrow" charset="0"/>
                <a:ea typeface="微软雅黑" panose="020B0503020204020204" charset="-122"/>
                <a:sym typeface="Pfizer Tomorrow" charset="0"/>
              </a:rPr>
              <a:t>最短治疗时间：</a:t>
            </a:r>
            <a:r>
              <a:rPr lang="en-US" altLang="zh-CN" sz="1200" dirty="0" err="1">
                <a:solidFill>
                  <a:srgbClr val="404040"/>
                </a:solidFill>
                <a:latin typeface="Pfizer Tomorrow" charset="0"/>
                <a:ea typeface="微软雅黑" panose="020B0503020204020204" charset="-122"/>
                <a:sym typeface="Pfizer Tomorrow" charset="0"/>
              </a:rPr>
              <a:t>cIAI</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5</a:t>
            </a:r>
            <a:r>
              <a:rPr lang="zh-CN" altLang="en-US" sz="1200" dirty="0">
                <a:solidFill>
                  <a:srgbClr val="404040"/>
                </a:solidFill>
                <a:latin typeface="Pfizer Tomorrow" charset="0"/>
                <a:ea typeface="微软雅黑" panose="020B0503020204020204" charset="-122"/>
                <a:sym typeface="Pfizer Tomorrow" charset="0"/>
              </a:rPr>
              <a:t>天，</a:t>
            </a:r>
            <a:r>
              <a:rPr lang="en-US" altLang="zh-CN" sz="1200" dirty="0">
                <a:solidFill>
                  <a:srgbClr val="404040"/>
                </a:solidFill>
                <a:latin typeface="Pfizer Tomorrow" charset="0"/>
                <a:ea typeface="微软雅黑" panose="020B0503020204020204" charset="-122"/>
                <a:sym typeface="Pfizer Tomorrow" charset="0"/>
              </a:rPr>
              <a:t>HAP/VAP</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7</a:t>
            </a:r>
            <a:r>
              <a:rPr lang="zh-CN" altLang="en-US" sz="1200" dirty="0">
                <a:solidFill>
                  <a:srgbClr val="404040"/>
                </a:solidFill>
                <a:latin typeface="Pfizer Tomorrow" charset="0"/>
                <a:ea typeface="微软雅黑" panose="020B0503020204020204" charset="-122"/>
                <a:sym typeface="Pfizer Tomorrow" charset="0"/>
              </a:rPr>
              <a:t>天</a:t>
            </a:r>
            <a:endParaRPr lang="zh-CN" altLang="en-US" sz="1200" dirty="0">
              <a:solidFill>
                <a:srgbClr val="404040"/>
              </a:solidFill>
              <a:latin typeface="Pfizer Tomorrow" charset="0"/>
              <a:ea typeface="微软雅黑" panose="020B0503020204020204" charset="-122"/>
              <a:sym typeface="Pfizer Tomorrow" charset="0"/>
            </a:endParaRPr>
          </a:p>
          <a:p>
            <a:pPr defTabSz="914400">
              <a:buNone/>
            </a:pPr>
            <a:r>
              <a:rPr lang="zh-CN" altLang="en-US" sz="1200" dirty="0">
                <a:solidFill>
                  <a:srgbClr val="404040"/>
                </a:solidFill>
                <a:latin typeface="Pfizer Tomorrow" charset="0"/>
                <a:ea typeface="微软雅黑" panose="020B0503020204020204" charset="-122"/>
                <a:sym typeface="Pfizer Tomorrow" charset="0"/>
              </a:rPr>
              <a:t>最长治疗时间：</a:t>
            </a:r>
            <a:r>
              <a:rPr lang="en-US" altLang="zh-CN" sz="1200" dirty="0">
                <a:solidFill>
                  <a:srgbClr val="404040"/>
                </a:solidFill>
                <a:latin typeface="Pfizer Tomorrow" charset="0"/>
                <a:ea typeface="微软雅黑" panose="020B0503020204020204" charset="-122"/>
                <a:sym typeface="Pfizer Tomorrow" charset="0"/>
              </a:rPr>
              <a:t>14</a:t>
            </a:r>
            <a:r>
              <a:rPr lang="zh-CN" altLang="en-US" sz="1200" dirty="0">
                <a:solidFill>
                  <a:srgbClr val="404040"/>
                </a:solidFill>
                <a:latin typeface="Pfizer Tomorrow" charset="0"/>
                <a:ea typeface="微软雅黑" panose="020B0503020204020204" charset="-122"/>
                <a:sym typeface="Pfizer Tomorrow" charset="0"/>
              </a:rPr>
              <a:t>天</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115" name="左大括号 114"/>
          <p:cNvSpPr/>
          <p:nvPr/>
        </p:nvSpPr>
        <p:spPr>
          <a:xfrm>
            <a:off x="3192463" y="2362200"/>
            <a:ext cx="307975" cy="1427163"/>
          </a:xfrm>
          <a:prstGeom prst="leftBrace">
            <a:avLst>
              <a:gd name="adj1" fmla="val 0"/>
              <a:gd name="adj2" fmla="val 50000"/>
            </a:avLst>
          </a:prstGeom>
          <a:ln w="158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16" name="文本框 115"/>
          <p:cNvSpPr txBox="1"/>
          <p:nvPr/>
        </p:nvSpPr>
        <p:spPr bwMode="gray">
          <a:xfrm>
            <a:off x="3790950" y="2097088"/>
            <a:ext cx="3328988" cy="522288"/>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氨曲南</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阿维巴坦</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甲硝唑</a:t>
            </a:r>
            <a:r>
              <a:rPr kumimoji="0" lang="en-US" altLang="zh-CN" sz="1400" b="1" i="0" kern="1200" cap="none" spc="0" normalizeH="0" baseline="30000" noProof="0">
                <a:solidFill>
                  <a:schemeClr val="bg1"/>
                </a:solidFill>
                <a:latin typeface="Pfizer Tomorrow" charset="0"/>
                <a:ea typeface="微软雅黑" panose="020B0503020204020204" charset="-122"/>
                <a:cs typeface="+mn-ea"/>
                <a:sym typeface="Pfizer Tomorrow" charset="0"/>
              </a:rPr>
              <a:t>#</a:t>
            </a:r>
            <a:b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b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n=282</a:t>
            </a:r>
            <a:endPar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endParaRPr>
          </a:p>
        </p:txBody>
      </p:sp>
      <p:sp>
        <p:nvSpPr>
          <p:cNvPr id="117" name="文本框 116"/>
          <p:cNvSpPr txBox="1"/>
          <p:nvPr/>
        </p:nvSpPr>
        <p:spPr bwMode="gray">
          <a:xfrm>
            <a:off x="4043363" y="3563938"/>
            <a:ext cx="2776538" cy="522288"/>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美罗培南</a:t>
            </a: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多黏菌素</a:t>
            </a: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E*</a:t>
            </a:r>
            <a:b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b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n=140</a:t>
            </a:r>
            <a:endPar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118" name="矩形: 圆角 117"/>
          <p:cNvSpPr/>
          <p:nvPr/>
        </p:nvSpPr>
        <p:spPr>
          <a:xfrm>
            <a:off x="7445375" y="1865313"/>
            <a:ext cx="3956050" cy="2909888"/>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36" name="文本框 10"/>
          <p:cNvSpPr txBox="1"/>
          <p:nvPr/>
        </p:nvSpPr>
        <p:spPr>
          <a:xfrm>
            <a:off x="3706813" y="2630488"/>
            <a:ext cx="3770312" cy="430212"/>
          </a:xfrm>
          <a:prstGeom prst="rect">
            <a:avLst/>
          </a:prstGeom>
          <a:noFill/>
          <a:ln w="9525">
            <a:noFill/>
          </a:ln>
        </p:spPr>
        <p:txBody>
          <a:bodyPr wrap="square" anchor="t" anchorCtr="0">
            <a:spAutoFit/>
          </a:bodyPr>
          <a:p>
            <a:r>
              <a:rPr lang="en-US" altLang="zh-CN" sz="1100" baseline="300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氨曲南</a:t>
            </a:r>
            <a:r>
              <a:rPr lang="en-US" altLang="zh-CN" sz="11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阿维巴坦治疗</a:t>
            </a:r>
            <a:r>
              <a:rPr lang="en-US" altLang="zh-CN" sz="1100" dirty="0" err="1">
                <a:solidFill>
                  <a:srgbClr val="404040"/>
                </a:solidFill>
                <a:latin typeface="Pfizer Tomorrow" charset="0"/>
                <a:ea typeface="微软雅黑" panose="020B0503020204020204" charset="-122"/>
                <a:sym typeface="Pfizer Tomorrow" charset="0"/>
              </a:rPr>
              <a:t>cIAI</a:t>
            </a:r>
            <a:r>
              <a:rPr lang="zh-CN" altLang="en-US" sz="1100" dirty="0">
                <a:solidFill>
                  <a:srgbClr val="404040"/>
                </a:solidFill>
                <a:latin typeface="Pfizer Tomorrow" charset="0"/>
                <a:ea typeface="微软雅黑" panose="020B0503020204020204" charset="-122"/>
                <a:sym typeface="Pfizer Tomorrow" charset="0"/>
              </a:rPr>
              <a:t>患者时联合甲硝唑，治疗</a:t>
            </a:r>
            <a:r>
              <a:rPr lang="en-US" altLang="zh-CN" sz="1100" dirty="0">
                <a:solidFill>
                  <a:srgbClr val="404040"/>
                </a:solidFill>
                <a:latin typeface="Pfizer Tomorrow" charset="0"/>
                <a:ea typeface="微软雅黑" panose="020B0503020204020204" charset="-122"/>
                <a:sym typeface="Pfizer Tomorrow" charset="0"/>
              </a:rPr>
              <a:t>HAP/VAP</a:t>
            </a:r>
            <a:r>
              <a:rPr lang="zh-CN" altLang="en-US" sz="1100" dirty="0">
                <a:solidFill>
                  <a:srgbClr val="404040"/>
                </a:solidFill>
                <a:latin typeface="Pfizer Tomorrow" charset="0"/>
                <a:ea typeface="微软雅黑" panose="020B0503020204020204" charset="-122"/>
                <a:sym typeface="Pfizer Tomorrow" charset="0"/>
              </a:rPr>
              <a:t>患者时不联合甲硝唑；</a:t>
            </a:r>
            <a:endParaRPr lang="zh-CN" altLang="en-US" sz="1100" dirty="0">
              <a:solidFill>
                <a:srgbClr val="404040"/>
              </a:solidFill>
              <a:latin typeface="Pfizer Tomorrow" charset="0"/>
              <a:ea typeface="微软雅黑" panose="020B0503020204020204" charset="-122"/>
              <a:sym typeface="Pfizer Tomorrow" charset="0"/>
            </a:endParaRPr>
          </a:p>
        </p:txBody>
      </p:sp>
      <p:sp>
        <p:nvSpPr>
          <p:cNvPr id="60437" name="文本框 12"/>
          <p:cNvSpPr txBox="1"/>
          <p:nvPr/>
        </p:nvSpPr>
        <p:spPr>
          <a:xfrm>
            <a:off x="3535363" y="4125913"/>
            <a:ext cx="6096000" cy="261937"/>
          </a:xfrm>
          <a:prstGeom prst="rect">
            <a:avLst/>
          </a:prstGeom>
          <a:noFill/>
          <a:ln w="9525">
            <a:noFill/>
          </a:ln>
        </p:spPr>
        <p:txBody>
          <a:bodyPr wrap="square" anchor="t" anchorCtr="0">
            <a:spAutoFit/>
          </a:bodyPr>
          <a:p>
            <a:r>
              <a:rPr lang="en-US" altLang="zh-CN" sz="11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多黏菌素</a:t>
            </a:r>
            <a:r>
              <a:rPr lang="en-US" altLang="zh-CN" sz="1100" dirty="0">
                <a:solidFill>
                  <a:srgbClr val="404040"/>
                </a:solidFill>
                <a:latin typeface="Pfizer Tomorrow" charset="0"/>
                <a:ea typeface="微软雅黑" panose="020B0503020204020204" charset="-122"/>
                <a:sym typeface="Pfizer Tomorrow" charset="0"/>
              </a:rPr>
              <a:t>E</a:t>
            </a:r>
            <a:r>
              <a:rPr lang="zh-CN" altLang="en-US" sz="1100" dirty="0">
                <a:solidFill>
                  <a:srgbClr val="404040"/>
                </a:solidFill>
                <a:latin typeface="Pfizer Tomorrow" charset="0"/>
                <a:ea typeface="微软雅黑" panose="020B0503020204020204" charset="-122"/>
                <a:sym typeface="Pfizer Tomorrow" charset="0"/>
              </a:rPr>
              <a:t>不可获得时可使用多黏菌素</a:t>
            </a:r>
            <a:r>
              <a:rPr lang="en-US" altLang="zh-CN" sz="1100" dirty="0">
                <a:solidFill>
                  <a:srgbClr val="404040"/>
                </a:solidFill>
                <a:latin typeface="Pfizer Tomorrow" charset="0"/>
                <a:ea typeface="微软雅黑" panose="020B0503020204020204" charset="-122"/>
                <a:sym typeface="Pfizer Tomorrow" charset="0"/>
              </a:rPr>
              <a:t>B</a:t>
            </a:r>
            <a:r>
              <a:rPr lang="zh-CN" altLang="en-US" sz="1100" dirty="0">
                <a:solidFill>
                  <a:srgbClr val="404040"/>
                </a:solidFill>
                <a:latin typeface="Pfizer Tomorrow" charset="0"/>
                <a:ea typeface="微软雅黑" panose="020B0503020204020204" charset="-122"/>
                <a:sym typeface="Pfizer Tomorrow" charset="0"/>
              </a:rPr>
              <a:t>替代；</a:t>
            </a:r>
            <a:endParaRPr lang="zh-CN" altLang="en-US" sz="1100" dirty="0">
              <a:solidFill>
                <a:srgbClr val="404040"/>
              </a:solidFill>
              <a:latin typeface="Pfizer Tomorrow" charset="0"/>
              <a:ea typeface="微软雅黑" panose="020B0503020204020204" charset="-122"/>
              <a:sym typeface="Pfizer Tomorrow" charset="0"/>
            </a:endParaRPr>
          </a:p>
        </p:txBody>
      </p:sp>
      <p:sp>
        <p:nvSpPr>
          <p:cNvPr id="14" name="文本框 13"/>
          <p:cNvSpPr txBox="1"/>
          <p:nvPr/>
        </p:nvSpPr>
        <p:spPr bwMode="gray">
          <a:xfrm>
            <a:off x="7502525" y="1930400"/>
            <a:ext cx="3867150" cy="2786063"/>
          </a:xfrm>
          <a:prstGeom prst="rect">
            <a:avLst/>
          </a:prstGeom>
          <a:noFill/>
        </p:spPr>
        <p:txBody>
          <a:bodyPr wrap="square">
            <a:spAutoFit/>
          </a:bodyPr>
          <a:p>
            <a:pPr marL="0" lvl="1" indent="0" defTabSz="914400" fontAlgn="base">
              <a:lnSpc>
                <a:spcPct val="110000"/>
              </a:lnSpc>
              <a:spcAft>
                <a:spcPct val="0"/>
              </a:spcAft>
            </a:pPr>
            <a:r>
              <a:rPr lang="zh-CN" altLang="en-US" sz="1400" b="1" u="none" baseline="0" dirty="0">
                <a:solidFill>
                  <a:schemeClr val="accent1"/>
                </a:solidFill>
                <a:latin typeface="Pfizer Tomorrow" charset="0"/>
                <a:ea typeface="微软雅黑" panose="020B0503020204020204" charset="-122"/>
                <a:sym typeface="Pfizer Tomorrow" charset="0"/>
              </a:rPr>
              <a:t>主要终点</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a:t>
            </a:r>
            <a:r>
              <a:rPr lang="en-US" altLang="zh-CN" sz="1200" u="none" baseline="0" dirty="0">
                <a:solidFill>
                  <a:schemeClr val="accent1"/>
                </a:solidFill>
                <a:latin typeface="Pfizer Tomorrow" charset="0"/>
                <a:ea typeface="微软雅黑" panose="020B0503020204020204" charset="-122"/>
                <a:sym typeface="Pfizer Tomorrow" charset="0"/>
              </a:rPr>
              <a:t>28±3</a:t>
            </a:r>
            <a:r>
              <a:rPr lang="zh-CN" altLang="en-US" sz="1200" u="none" baseline="0" dirty="0">
                <a:solidFill>
                  <a:schemeClr val="accent1"/>
                </a:solidFill>
                <a:latin typeface="Pfizer Tomorrow" charset="0"/>
                <a:ea typeface="微软雅黑" panose="020B0503020204020204" charset="-122"/>
                <a:sym typeface="Pfizer Tomorrow" charset="0"/>
              </a:rPr>
              <a:t>天）时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ITT</a:t>
            </a:r>
            <a:r>
              <a:rPr lang="zh-CN" altLang="en-US" sz="1200" u="none" baseline="0" dirty="0">
                <a:solidFill>
                  <a:schemeClr val="accent1"/>
                </a:solidFill>
                <a:latin typeface="Pfizer Tomorrow" charset="0"/>
                <a:ea typeface="微软雅黑" panose="020B0503020204020204" charset="-122"/>
                <a:sym typeface="Pfizer Tomorrow" charset="0"/>
              </a:rPr>
              <a:t>分析集</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CE</a:t>
            </a:r>
            <a:r>
              <a:rPr lang="zh-CN" altLang="en-US" sz="1200" u="none" baseline="0" dirty="0">
                <a:solidFill>
                  <a:schemeClr val="accent1"/>
                </a:solidFill>
                <a:latin typeface="Pfizer Tomorrow" charset="0"/>
                <a:ea typeface="微软雅黑" panose="020B0503020204020204" charset="-122"/>
                <a:sym typeface="Pfizer Tomorrow" charset="0"/>
              </a:rPr>
              <a:t>分析集</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pPr>
            <a:r>
              <a:rPr lang="zh-CN" altLang="en-US" sz="1400" b="1" dirty="0">
                <a:solidFill>
                  <a:schemeClr val="accent1"/>
                </a:solidFill>
                <a:latin typeface="Pfizer Tomorrow" charset="0"/>
                <a:ea typeface="微软雅黑" panose="020B0503020204020204" charset="-122"/>
                <a:sym typeface="Pfizer Tomorrow" charset="0"/>
              </a:rPr>
              <a:t>次要终点：</a:t>
            </a:r>
            <a:endParaRPr lang="en-US" altLang="zh-CN" sz="1400" b="1"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时</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CE</a:t>
            </a:r>
            <a:r>
              <a:rPr lang="zh-CN" altLang="en-US" sz="1200" u="none" baseline="0" dirty="0">
                <a:solidFill>
                  <a:schemeClr val="accent1"/>
                </a:solidFill>
                <a:latin typeface="Pfizer Tomorrow" charset="0"/>
                <a:ea typeface="微软雅黑" panose="020B0503020204020204" charset="-122"/>
                <a:sym typeface="Pfizer Tomorrow" charset="0"/>
              </a:rPr>
              <a:t>人群不同感染类型的患者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MBL</a:t>
            </a:r>
            <a:r>
              <a:rPr lang="zh-CN" altLang="en-US" sz="1200" u="none" baseline="0" dirty="0">
                <a:solidFill>
                  <a:schemeClr val="accent1"/>
                </a:solidFill>
                <a:latin typeface="Pfizer Tomorrow" charset="0"/>
                <a:ea typeface="微软雅黑" panose="020B0503020204020204" charset="-122"/>
                <a:sym typeface="Pfizer Tomorrow" charset="0"/>
              </a:rPr>
              <a:t>感染患者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微生物学清除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28</a:t>
            </a:r>
            <a:r>
              <a:rPr lang="zh-CN" altLang="en-US" sz="1200" u="none" baseline="0" dirty="0">
                <a:solidFill>
                  <a:schemeClr val="accent1"/>
                </a:solidFill>
                <a:latin typeface="Pfizer Tomorrow" charset="0"/>
                <a:ea typeface="微软雅黑" panose="020B0503020204020204" charset="-122"/>
                <a:sym typeface="Pfizer Tomorrow" charset="0"/>
              </a:rPr>
              <a:t>天死亡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人群</a:t>
            </a:r>
            <a:r>
              <a:rPr lang="en-US" altLang="zh-CN" sz="1200" u="none" baseline="0" dirty="0">
                <a:solidFill>
                  <a:schemeClr val="accent1"/>
                </a:solidFill>
                <a:latin typeface="Pfizer Tomorrow" charset="0"/>
                <a:ea typeface="微软雅黑" panose="020B0503020204020204" charset="-122"/>
                <a:sym typeface="Pfizer Tomorrow" charset="0"/>
              </a:rPr>
              <a:t>PK</a:t>
            </a:r>
            <a:r>
              <a:rPr lang="zh-CN" altLang="en-US" sz="1200" u="none" baseline="0" dirty="0">
                <a:solidFill>
                  <a:schemeClr val="accent1"/>
                </a:solidFill>
                <a:latin typeface="Pfizer Tomorrow" charset="0"/>
                <a:ea typeface="微软雅黑" panose="020B0503020204020204" charset="-122"/>
                <a:sym typeface="Pfizer Tomorrow" charset="0"/>
              </a:rPr>
              <a:t>参数</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安全性</a:t>
            </a:r>
            <a:endParaRPr lang="zh-CN" altLang="en-US" sz="1200" u="none" baseline="0" dirty="0">
              <a:solidFill>
                <a:schemeClr val="accent1"/>
              </a:solidFill>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顶角 5"/>
          <p:cNvSpPr/>
          <p:nvPr/>
        </p:nvSpPr>
        <p:spPr>
          <a:xfrm>
            <a:off x="2468563" y="1341438"/>
            <a:ext cx="7864475"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dirty="0">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研究主要终点：</a:t>
            </a:r>
            <a:r>
              <a:rPr lang="en-US" altLang="zh-CN" sz="1600" b="1" strike="noStrike" noProof="1" dirty="0">
                <a:solidFill>
                  <a:schemeClr val="bg1"/>
                </a:solidFill>
                <a:latin typeface="Pfizer Tomorrow" charset="0"/>
                <a:ea typeface="微软雅黑" panose="020B0503020204020204" charset="-122"/>
                <a:cs typeface="+mn-ea"/>
                <a:sym typeface="Pfizer Tomorrow" charset="0"/>
              </a:rPr>
              <a:t>TOC</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访视时的临床治愈率</a:t>
            </a:r>
            <a:endParaRPr lang="zh-CN" altLang="en-US" sz="1600" b="1" strike="noStrike" noProof="1" dirty="0">
              <a:solidFill>
                <a:schemeClr val="bg1"/>
              </a:solidFill>
              <a:latin typeface="Pfizer Tomorrow" charset="0"/>
              <a:ea typeface="微软雅黑" panose="020B0503020204020204" charset="-122"/>
              <a:cs typeface="+mn-ea"/>
              <a:sym typeface="Pfizer Tomorrow" charset="0"/>
            </a:endParaRPr>
          </a:p>
        </p:txBody>
      </p:sp>
      <p:sp>
        <p:nvSpPr>
          <p:cNvPr id="5" name="矩形: 圆角 4"/>
          <p:cNvSpPr/>
          <p:nvPr/>
        </p:nvSpPr>
        <p:spPr>
          <a:xfrm>
            <a:off x="587375" y="1685925"/>
            <a:ext cx="11017250" cy="34305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62467" name="标题 1"/>
          <p:cNvSpPr>
            <a:spLocks noGrp="1"/>
          </p:cNvSpPr>
          <p:nvPr>
            <p:ph type="title"/>
          </p:nvPr>
        </p:nvSpPr>
        <p:spPr>
          <a:xfrm>
            <a:off x="463550" y="-172720"/>
            <a:ext cx="11341735" cy="1198880"/>
          </a:xfrm>
        </p:spPr>
        <p:txBody>
          <a:bodyPr wrap="square" lIns="91440" tIns="45720" rIns="91440" bIns="45720" anchor="b" anchorCtr="0">
            <a:spAutoFit/>
          </a:bodyPr>
          <a:p>
            <a:pPr algn="ctr" defTabSz="914400">
              <a:buClrTx/>
              <a:buSzTx/>
              <a:buFontTx/>
              <a:buNone/>
            </a:pP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dirty="0">
                <a:solidFill>
                  <a:srgbClr val="000D45"/>
                </a:solidFill>
                <a:latin typeface="Pfizer Tomorrow" charset="0"/>
                <a:ea typeface="微软雅黑" panose="020B0503020204020204" charset="-122"/>
                <a:sym typeface="Pfizer Tomorrow" charset="0"/>
              </a:rPr>
              <a:t>REVISIT研究</a:t>
            </a:r>
            <a:r>
              <a:rPr lang="en-US" altLang="zh-CN" b="1" dirty="0">
                <a:solidFill>
                  <a:srgbClr val="000D45"/>
                </a:solidFill>
                <a:latin typeface="Pfizer Tomorrow" charset="0"/>
                <a:ea typeface="微软雅黑" panose="020B0503020204020204" charset="-122"/>
                <a:sym typeface="Pfizer Tomorrow" charset="0"/>
              </a:rPr>
              <a:t>：</a:t>
            </a:r>
            <a:br>
              <a:rPr lang="en-US" altLang="zh-CN" b="1" dirty="0">
                <a:solidFill>
                  <a:srgbClr val="000D45"/>
                </a:solidFill>
                <a:latin typeface="Pfizer Tomorrow" charset="0"/>
                <a:ea typeface="微软雅黑" panose="020B0503020204020204" charset="-122"/>
                <a:sym typeface="Pfizer Tomorrow" charset="0"/>
              </a:rPr>
            </a:b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的临床治愈率与美罗培南±多黏菌素E相当</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2468" name="文本框 3"/>
          <p:cNvSpPr txBox="1"/>
          <p:nvPr/>
        </p:nvSpPr>
        <p:spPr>
          <a:xfrm>
            <a:off x="463550" y="6642100"/>
            <a:ext cx="4017963"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Yehuda Carmeli, et al. Lancet Infect Dis. 2025 </a:t>
            </a:r>
            <a:r>
              <a:rPr lang="en-US" altLang="zh-CN" sz="800" dirty="0" err="1">
                <a:latin typeface="Pfizer Tomorrow" charset="0"/>
                <a:ea typeface="微软雅黑" panose="020B0503020204020204" charset="-122"/>
                <a:sym typeface="Pfizer Tomorrow" charset="0"/>
              </a:rPr>
              <a:t>Feb;25</a:t>
            </a:r>
            <a:r>
              <a:rPr lang="en-US" altLang="zh-CN" sz="800" dirty="0">
                <a:latin typeface="Pfizer Tomorrow" charset="0"/>
                <a:ea typeface="微软雅黑" panose="020B0503020204020204" charset="-122"/>
                <a:sym typeface="Pfizer Tomorrow" charset="0"/>
              </a:rPr>
              <a:t>(2):218-230. </a:t>
            </a:r>
            <a:endParaRPr lang="zh-CN" altLang="en-US" sz="800" dirty="0">
              <a:latin typeface="Pfizer Tomorrow" charset="0"/>
              <a:ea typeface="微软雅黑" panose="020B0503020204020204" charset="-122"/>
              <a:sym typeface="Pfizer Tomorrow" charset="0"/>
            </a:endParaRPr>
          </a:p>
        </p:txBody>
      </p:sp>
      <p:graphicFrame>
        <p:nvGraphicFramePr>
          <p:cNvPr id="8" name="图表 7"/>
          <p:cNvGraphicFramePr/>
          <p:nvPr/>
        </p:nvGraphicFramePr>
        <p:xfrm>
          <a:off x="636814" y="1841593"/>
          <a:ext cx="5520610" cy="3242185"/>
        </p:xfrm>
        <a:graphic>
          <a:graphicData uri="http://schemas.openxmlformats.org/drawingml/2006/chart">
            <c:chart xmlns:c="http://schemas.openxmlformats.org/drawingml/2006/chart" xmlns:r="http://schemas.openxmlformats.org/officeDocument/2006/relationships" r:id="rId1"/>
          </a:graphicData>
        </a:graphic>
      </p:graphicFrame>
      <p:sp>
        <p:nvSpPr>
          <p:cNvPr id="62470" name="文本框 8"/>
          <p:cNvSpPr txBox="1"/>
          <p:nvPr/>
        </p:nvSpPr>
        <p:spPr>
          <a:xfrm>
            <a:off x="425450" y="5143500"/>
            <a:ext cx="11341100" cy="1295400"/>
          </a:xfrm>
          <a:prstGeom prst="rect">
            <a:avLst/>
          </a:prstGeom>
          <a:noFill/>
          <a:ln w="9525">
            <a:noFill/>
          </a:ln>
        </p:spPr>
        <p:txBody>
          <a:bodyPr wrap="square" anchor="t" anchorCtr="0">
            <a:spAutoFit/>
          </a:bodyPr>
          <a:p>
            <a:pPr algn="just">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en-US" altLang="zh-CN" sz="1200" dirty="0">
              <a:latin typeface="Pfizer Tomorrow" charset="0"/>
              <a:ea typeface="微软雅黑" panose="020B0503020204020204" charset="-122"/>
              <a:sym typeface="Pfizer Tomorrow" charset="0"/>
            </a:endParaRPr>
          </a:p>
          <a:p>
            <a:pPr algn="just">
              <a:lnSpc>
                <a:spcPct val="110000"/>
              </a:lnSpc>
            </a:pPr>
            <a:r>
              <a:rPr lang="en-US" altLang="zh-CN" sz="1200" dirty="0">
                <a:latin typeface="Pfizer Tomorrow" charset="0"/>
                <a:ea typeface="微软雅黑" panose="020B0503020204020204" charset="-122"/>
                <a:sym typeface="Pfizer Tomorrow" charset="0"/>
              </a:rPr>
              <a:t>CE</a:t>
            </a:r>
            <a:r>
              <a:rPr lang="zh-CN" altLang="en-US" sz="1200" dirty="0">
                <a:latin typeface="Pfizer Tomorrow" charset="0"/>
                <a:ea typeface="微软雅黑" panose="020B0503020204020204" charset="-122"/>
                <a:sym typeface="Pfizer Tomorrow" charset="0"/>
              </a:rPr>
              <a:t>分析集包括符合疾病诊断标准、接受研究药物治疗≥</a:t>
            </a:r>
            <a:r>
              <a:rPr lang="en-US" altLang="zh-CN" sz="1200" dirty="0">
                <a:latin typeface="Pfizer Tomorrow" charset="0"/>
                <a:ea typeface="微软雅黑" panose="020B0503020204020204" charset="-122"/>
                <a:sym typeface="Pfizer Tomorrow" charset="0"/>
              </a:rPr>
              <a:t>48</a:t>
            </a:r>
            <a:r>
              <a:rPr lang="zh-CN" altLang="en-US" sz="1200" dirty="0">
                <a:latin typeface="Pfizer Tomorrow" charset="0"/>
                <a:ea typeface="微软雅黑" panose="020B0503020204020204" charset="-122"/>
                <a:sym typeface="Pfizer Tomorrow" charset="0"/>
              </a:rPr>
              <a:t>小时（或因</a:t>
            </a:r>
            <a:r>
              <a:rPr lang="en-US" altLang="zh-CN" sz="1200" dirty="0">
                <a:latin typeface="Pfizer Tomorrow" charset="0"/>
                <a:ea typeface="微软雅黑" panose="020B0503020204020204" charset="-122"/>
                <a:sym typeface="Pfizer Tomorrow" charset="0"/>
              </a:rPr>
              <a:t>AE</a:t>
            </a:r>
            <a:r>
              <a:rPr lang="zh-CN" altLang="en-US" sz="1200" dirty="0">
                <a:latin typeface="Pfizer Tomorrow" charset="0"/>
                <a:ea typeface="微软雅黑" panose="020B0503020204020204" charset="-122"/>
                <a:sym typeface="Pfizer Tomorrow" charset="0"/>
              </a:rPr>
              <a:t>停药但用药＜</a:t>
            </a:r>
            <a:r>
              <a:rPr lang="en-US" altLang="zh-CN" sz="1200" dirty="0">
                <a:latin typeface="Pfizer Tomorrow" charset="0"/>
                <a:ea typeface="微软雅黑" panose="020B0503020204020204" charset="-122"/>
                <a:sym typeface="Pfizer Tomorrow" charset="0"/>
              </a:rPr>
              <a:t>48</a:t>
            </a:r>
            <a:r>
              <a:rPr lang="zh-CN" altLang="en-US" sz="1200" dirty="0">
                <a:latin typeface="Pfizer Tomorrow" charset="0"/>
                <a:ea typeface="微软雅黑" panose="020B0503020204020204" charset="-122"/>
                <a:sym typeface="Pfizer Tomorrow" charset="0"/>
              </a:rPr>
              <a:t>小时）、无可能影响疗效评估的方案偏离、</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时无‘不确定’临床结局、无非合格病原体导致的单一微生物感染、且非仅存在革兰氏阳性病原体的患者</a:t>
            </a:r>
            <a:endParaRPr lang="zh-CN" altLang="en-US" sz="1200" dirty="0">
              <a:latin typeface="Pfizer Tomorrow" charset="0"/>
              <a:ea typeface="微软雅黑" panose="020B0503020204020204" charset="-122"/>
              <a:sym typeface="Pfizer Tomorrow" charset="0"/>
            </a:endParaRPr>
          </a:p>
        </p:txBody>
      </p:sp>
      <p:sp>
        <p:nvSpPr>
          <p:cNvPr id="11" name="文本框 10"/>
          <p:cNvSpPr txBox="1"/>
          <p:nvPr/>
        </p:nvSpPr>
        <p:spPr>
          <a:xfrm>
            <a:off x="404813" y="6334125"/>
            <a:ext cx="11341100" cy="261938"/>
          </a:xfrm>
          <a:prstGeom prst="rect">
            <a:avLst/>
          </a:prstGeom>
          <a:noFill/>
        </p:spPr>
        <p:txBody>
          <a:bodyPr wrap="square" rtlCol="0">
            <a:spAutoFit/>
          </a:bodyPr>
          <a:p>
            <a:pPr defTabSz="1075055">
              <a:buNone/>
            </a:pPr>
            <a:r>
              <a:rPr lang="en-US" altLang="zh-CN" sz="1100" baseline="0" dirty="0" err="1">
                <a:solidFill>
                  <a:srgbClr val="595959"/>
                </a:solidFill>
                <a:latin typeface="Pfizer Tomorrow" charset="0"/>
                <a:ea typeface="微软雅黑" panose="020B0503020204020204" charset="-122"/>
                <a:sym typeface="Pfizer Tomorrow" charset="0"/>
              </a:rPr>
              <a:t>cIAI</a:t>
            </a:r>
            <a:r>
              <a:rPr lang="en-US" altLang="zh-CN" sz="1100" dirty="0">
                <a:solidFill>
                  <a:srgbClr val="595959"/>
                </a:solidFill>
                <a:latin typeface="Pfizer Tomorrow" charset="0"/>
                <a:ea typeface="微软雅黑" panose="020B0503020204020204" charset="-122"/>
                <a:sym typeface="Pfizer Tomorrow" charset="0"/>
              </a:rPr>
              <a:t>: </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 HAP: </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 </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zh-CN" altLang="en-US" sz="1100" baseline="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ITT: </a:t>
            </a:r>
            <a:r>
              <a:rPr lang="zh-CN" altLang="en-US" sz="1100" baseline="0" dirty="0">
                <a:solidFill>
                  <a:srgbClr val="595959"/>
                </a:solidFill>
                <a:latin typeface="Pfizer Tomorrow" charset="0"/>
                <a:ea typeface="微软雅黑" panose="020B0503020204020204" charset="-122"/>
                <a:sym typeface="Pfizer Tomorrow" charset="0"/>
              </a:rPr>
              <a:t>意向性治疗；</a:t>
            </a:r>
            <a:r>
              <a:rPr lang="en-US" altLang="zh-CN" sz="1100" baseline="0" dirty="0">
                <a:solidFill>
                  <a:srgbClr val="595959"/>
                </a:solidFill>
                <a:latin typeface="Pfizer Tomorrow" charset="0"/>
                <a:ea typeface="微软雅黑" panose="020B0503020204020204" charset="-122"/>
                <a:sym typeface="Pfizer Tomorrow" charset="0"/>
              </a:rPr>
              <a:t>TOC: </a:t>
            </a:r>
            <a:r>
              <a:rPr lang="zh-CN" altLang="en-US" sz="1100" baseline="0" dirty="0">
                <a:solidFill>
                  <a:srgbClr val="595959"/>
                </a:solidFill>
                <a:latin typeface="Pfizer Tomorrow" charset="0"/>
                <a:ea typeface="微软雅黑" panose="020B0503020204020204" charset="-122"/>
                <a:sym typeface="Pfizer Tomorrow" charset="0"/>
              </a:rPr>
              <a:t>治愈访视</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CE</a:t>
            </a:r>
            <a:r>
              <a:rPr lang="zh-CN" altLang="en-US" sz="1100" baseline="0" dirty="0">
                <a:solidFill>
                  <a:srgbClr val="595959"/>
                </a:solidFill>
                <a:latin typeface="Pfizer Tomorrow" charset="0"/>
                <a:ea typeface="微软雅黑" panose="020B0503020204020204" charset="-122"/>
                <a:sym typeface="Pfizer Tomorrow" charset="0"/>
              </a:rPr>
              <a:t>：临床可评价；</a:t>
            </a:r>
            <a:r>
              <a:rPr lang="en-US" altLang="zh-CN" sz="1100" baseline="0" dirty="0">
                <a:solidFill>
                  <a:srgbClr val="595959"/>
                </a:solidFill>
                <a:latin typeface="Pfizer Tomorrow" charset="0"/>
                <a:ea typeface="微软雅黑" panose="020B0503020204020204" charset="-122"/>
                <a:sym typeface="Pfizer Tomorrow" charset="0"/>
              </a:rPr>
              <a:t>ITT</a:t>
            </a:r>
            <a:r>
              <a:rPr lang="zh-CN" altLang="en-US" sz="1100" baseline="0" dirty="0">
                <a:solidFill>
                  <a:srgbClr val="595959"/>
                </a:solidFill>
                <a:latin typeface="Pfizer Tomorrow" charset="0"/>
                <a:ea typeface="微软雅黑" panose="020B0503020204020204" charset="-122"/>
                <a:sym typeface="Pfizer Tomorrow" charset="0"/>
              </a:rPr>
              <a:t>分析集包括所有随机分组患者。</a:t>
            </a:r>
            <a:endParaRPr lang="en-US" altLang="zh-CN" sz="1100" baseline="0" dirty="0">
              <a:solidFill>
                <a:srgbClr val="595959"/>
              </a:solidFill>
              <a:latin typeface="Pfizer Tomorrow" charset="0"/>
              <a:ea typeface="微软雅黑" panose="020B0503020204020204" charset="-122"/>
              <a:sym typeface="Pfizer Tomorrow" charset="0"/>
            </a:endParaRPr>
          </a:p>
        </p:txBody>
      </p:sp>
      <p:sp>
        <p:nvSpPr>
          <p:cNvPr id="62472" name="文本框 9"/>
          <p:cNvSpPr txBox="1"/>
          <p:nvPr/>
        </p:nvSpPr>
        <p:spPr>
          <a:xfrm>
            <a:off x="2071688" y="1838325"/>
            <a:ext cx="3306762" cy="307975"/>
          </a:xfrm>
          <a:prstGeom prst="rect">
            <a:avLst/>
          </a:prstGeom>
          <a:noFill/>
          <a:ln w="9525">
            <a:noFill/>
          </a:ln>
        </p:spPr>
        <p:txBody>
          <a:bodyPr wrap="square" anchor="t" anchorCtr="0">
            <a:spAutoFit/>
          </a:bodyPr>
          <a:p>
            <a:pPr algn="ctr"/>
            <a:r>
              <a:rPr lang="en-US" altLang="zh-CN" sz="1400" b="1" dirty="0">
                <a:solidFill>
                  <a:schemeClr val="accent1"/>
                </a:solidFill>
                <a:latin typeface="Pfizer Tomorrow" charset="0"/>
                <a:ea typeface="微软雅黑" panose="020B0503020204020204" charset="-122"/>
                <a:sym typeface="Pfizer Tomorrow" charset="0"/>
              </a:rPr>
              <a:t>ITT</a:t>
            </a:r>
            <a:r>
              <a:rPr lang="zh-CN" altLang="en-US" sz="1400" b="1" dirty="0">
                <a:solidFill>
                  <a:schemeClr val="accent1"/>
                </a:solidFill>
                <a:latin typeface="Pfizer Tomorrow" charset="0"/>
                <a:ea typeface="微软雅黑" panose="020B0503020204020204" charset="-122"/>
                <a:sym typeface="Pfizer Tomorrow" charset="0"/>
              </a:rPr>
              <a:t>分析集</a:t>
            </a:r>
            <a:endParaRPr lang="zh-CN" altLang="en-US" sz="1400" b="1" dirty="0">
              <a:solidFill>
                <a:schemeClr val="accent1"/>
              </a:solidFill>
              <a:latin typeface="Pfizer Tomorrow" charset="0"/>
              <a:ea typeface="微软雅黑" panose="020B0503020204020204" charset="-122"/>
              <a:sym typeface="Pfizer Tomorrow" charset="0"/>
            </a:endParaRPr>
          </a:p>
        </p:txBody>
      </p:sp>
      <p:sp>
        <p:nvSpPr>
          <p:cNvPr id="62473" name="文本框 11"/>
          <p:cNvSpPr txBox="1"/>
          <p:nvPr/>
        </p:nvSpPr>
        <p:spPr>
          <a:xfrm>
            <a:off x="636588" y="4852988"/>
            <a:ext cx="5438775" cy="261937"/>
          </a:xfrm>
          <a:prstGeom prst="rect">
            <a:avLst/>
          </a:prstGeom>
          <a:noFill/>
          <a:ln w="9525">
            <a:noFill/>
          </a:ln>
        </p:spPr>
        <p:txBody>
          <a:bodyPr wrap="square" anchor="t" anchorCtr="0">
            <a:spAutoFit/>
          </a:bodyPr>
          <a:p>
            <a:r>
              <a:rPr lang="en-US" altLang="zh-CN" sz="1100" baseline="30000">
                <a:solidFill>
                  <a:srgbClr val="808080"/>
                </a:solidFill>
                <a:latin typeface="Pfizer Tomorrow" charset="0"/>
                <a:ea typeface="微软雅黑" panose="020B0503020204020204" charset="-122"/>
                <a:sym typeface="Pfizer Tomorrow" charset="0"/>
              </a:rPr>
              <a:t>#</a:t>
            </a:r>
            <a:r>
              <a:rPr lang="zh-CN" altLang="en-US" sz="1100">
                <a:solidFill>
                  <a:srgbClr val="808080"/>
                </a:solidFill>
                <a:latin typeface="Pfizer Tomorrow" charset="0"/>
                <a:ea typeface="微软雅黑" panose="020B0503020204020204" charset="-122"/>
                <a:sym typeface="Pfizer Tomorrow" charset="0"/>
              </a:rPr>
              <a:t>氨曲南</a:t>
            </a:r>
            <a:r>
              <a:rPr lang="en-US" altLang="zh-CN" sz="1100">
                <a:solidFill>
                  <a:srgbClr val="808080"/>
                </a:solidFill>
                <a:latin typeface="Pfizer Tomorrow" charset="0"/>
                <a:ea typeface="微软雅黑" panose="020B0503020204020204" charset="-122"/>
                <a:sym typeface="Pfizer Tomorrow" charset="0"/>
              </a:rPr>
              <a:t>-</a:t>
            </a:r>
            <a:r>
              <a:rPr lang="zh-CN" altLang="en-US" sz="1100">
                <a:solidFill>
                  <a:srgbClr val="808080"/>
                </a:solidFill>
                <a:latin typeface="Pfizer Tomorrow" charset="0"/>
                <a:ea typeface="微软雅黑" panose="020B0503020204020204" charset="-122"/>
                <a:sym typeface="Pfizer Tomorrow" charset="0"/>
              </a:rPr>
              <a:t>阿维巴坦治疗</a:t>
            </a:r>
            <a:r>
              <a:rPr lang="en-US" altLang="zh-CN" sz="1100" err="1">
                <a:solidFill>
                  <a:srgbClr val="808080"/>
                </a:solidFill>
                <a:latin typeface="Pfizer Tomorrow" charset="0"/>
                <a:ea typeface="微软雅黑" panose="020B0503020204020204" charset="-122"/>
                <a:sym typeface="Pfizer Tomorrow" charset="0"/>
              </a:rPr>
              <a:t>cIAI</a:t>
            </a:r>
            <a:r>
              <a:rPr lang="zh-CN" altLang="en-US" sz="1100">
                <a:solidFill>
                  <a:srgbClr val="808080"/>
                </a:solidFill>
                <a:latin typeface="Pfizer Tomorrow" charset="0"/>
                <a:ea typeface="微软雅黑" panose="020B0503020204020204" charset="-122"/>
                <a:sym typeface="Pfizer Tomorrow" charset="0"/>
              </a:rPr>
              <a:t>患者时联合甲硝唑，治疗</a:t>
            </a:r>
            <a:r>
              <a:rPr lang="en-US" altLang="zh-CN" sz="1100">
                <a:solidFill>
                  <a:srgbClr val="808080"/>
                </a:solidFill>
                <a:latin typeface="Pfizer Tomorrow" charset="0"/>
                <a:ea typeface="微软雅黑" panose="020B0503020204020204" charset="-122"/>
                <a:sym typeface="Pfizer Tomorrow" charset="0"/>
              </a:rPr>
              <a:t>HAP/VAP</a:t>
            </a:r>
            <a:r>
              <a:rPr lang="zh-CN" altLang="en-US" sz="1100">
                <a:solidFill>
                  <a:srgbClr val="808080"/>
                </a:solidFill>
                <a:latin typeface="Pfizer Tomorrow" charset="0"/>
                <a:ea typeface="微软雅黑" panose="020B0503020204020204" charset="-122"/>
                <a:sym typeface="Pfizer Tomorrow" charset="0"/>
              </a:rPr>
              <a:t>患者时不联合甲硝唑；</a:t>
            </a:r>
            <a:endParaRPr lang="zh-CN" altLang="en-US" sz="1100">
              <a:solidFill>
                <a:srgbClr val="808080"/>
              </a:solidFill>
              <a:latin typeface="Pfizer Tomorrow" charset="0"/>
              <a:ea typeface="微软雅黑" panose="020B0503020204020204" charset="-122"/>
              <a:sym typeface="Pfizer Tomorrow" charset="0"/>
            </a:endParaRPr>
          </a:p>
        </p:txBody>
      </p:sp>
      <p:sp>
        <p:nvSpPr>
          <p:cNvPr id="62474" name="文本框 13"/>
          <p:cNvSpPr txBox="1"/>
          <p:nvPr/>
        </p:nvSpPr>
        <p:spPr>
          <a:xfrm>
            <a:off x="5646738" y="4532313"/>
            <a:ext cx="312737"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5" name="文本框 15"/>
          <p:cNvSpPr txBox="1"/>
          <p:nvPr/>
        </p:nvSpPr>
        <p:spPr>
          <a:xfrm>
            <a:off x="3914775" y="4532313"/>
            <a:ext cx="312738"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6" name="文本框 12"/>
          <p:cNvSpPr txBox="1"/>
          <p:nvPr/>
        </p:nvSpPr>
        <p:spPr>
          <a:xfrm>
            <a:off x="8240713" y="1838325"/>
            <a:ext cx="2174875" cy="307975"/>
          </a:xfrm>
          <a:prstGeom prst="rect">
            <a:avLst/>
          </a:prstGeom>
          <a:noFill/>
          <a:ln w="9525">
            <a:noFill/>
          </a:ln>
        </p:spPr>
        <p:txBody>
          <a:bodyPr wrap="square" anchor="t" anchorCtr="0">
            <a:spAutoFit/>
          </a:bodyPr>
          <a:p>
            <a:pPr algn="ctr"/>
            <a:r>
              <a:rPr lang="en-US" altLang="zh-CN" sz="1400" b="1" dirty="0">
                <a:solidFill>
                  <a:schemeClr val="accent1"/>
                </a:solidFill>
                <a:latin typeface="Pfizer Tomorrow" charset="0"/>
                <a:ea typeface="微软雅黑" panose="020B0503020204020204" charset="-122"/>
                <a:sym typeface="Pfizer Tomorrow" charset="0"/>
              </a:rPr>
              <a:t>CE</a:t>
            </a:r>
            <a:r>
              <a:rPr lang="zh-CN" altLang="en-US" sz="1400" b="1" dirty="0">
                <a:solidFill>
                  <a:schemeClr val="accent1"/>
                </a:solidFill>
                <a:latin typeface="Pfizer Tomorrow" charset="0"/>
                <a:ea typeface="微软雅黑" panose="020B0503020204020204" charset="-122"/>
                <a:sym typeface="Pfizer Tomorrow" charset="0"/>
              </a:rPr>
              <a:t>分析集</a:t>
            </a:r>
            <a:endParaRPr lang="zh-CN" altLang="en-US" sz="1400" b="1" dirty="0">
              <a:solidFill>
                <a:schemeClr val="accent1"/>
              </a:solidFill>
              <a:latin typeface="Pfizer Tomorrow" charset="0"/>
              <a:ea typeface="微软雅黑" panose="020B0503020204020204" charset="-122"/>
              <a:sym typeface="Pfizer Tomorrow" charset="0"/>
            </a:endParaRPr>
          </a:p>
        </p:txBody>
      </p:sp>
      <p:graphicFrame>
        <p:nvGraphicFramePr>
          <p:cNvPr id="15" name="图表 14"/>
          <p:cNvGraphicFramePr/>
          <p:nvPr/>
        </p:nvGraphicFramePr>
        <p:xfrm>
          <a:off x="6117154" y="1841593"/>
          <a:ext cx="5520609" cy="3242185"/>
        </p:xfrm>
        <a:graphic>
          <a:graphicData uri="http://schemas.openxmlformats.org/drawingml/2006/chart">
            <c:chart xmlns:c="http://schemas.openxmlformats.org/drawingml/2006/chart" xmlns:r="http://schemas.openxmlformats.org/officeDocument/2006/relationships" r:id="rId2"/>
          </a:graphicData>
        </a:graphic>
      </p:graphicFrame>
      <p:sp>
        <p:nvSpPr>
          <p:cNvPr id="62478" name="文本框 16"/>
          <p:cNvSpPr txBox="1"/>
          <p:nvPr/>
        </p:nvSpPr>
        <p:spPr>
          <a:xfrm>
            <a:off x="11128375" y="4532313"/>
            <a:ext cx="311150"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9" name="文本框 17"/>
          <p:cNvSpPr txBox="1"/>
          <p:nvPr/>
        </p:nvSpPr>
        <p:spPr>
          <a:xfrm>
            <a:off x="9394825" y="4532313"/>
            <a:ext cx="312738"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grpSp>
        <p:nvGrpSpPr>
          <p:cNvPr id="62480" name="组合 2"/>
          <p:cNvGrpSpPr/>
          <p:nvPr/>
        </p:nvGrpSpPr>
        <p:grpSpPr>
          <a:xfrm rot="-642761">
            <a:off x="163513" y="1524000"/>
            <a:ext cx="1158875" cy="444500"/>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9" name="文本框 1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治愈</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4513"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REVISIT研究</a:t>
            </a:r>
            <a:r>
              <a:rPr lang="zh-CN" altLang="en-US" b="1" kern="1200" dirty="0">
                <a:solidFill>
                  <a:srgbClr val="000D45"/>
                </a:solidFill>
                <a:latin typeface="Pfizer Tomorrow" charset="0"/>
                <a:ea typeface="微软雅黑" panose="020B0503020204020204" charset="-122"/>
                <a:cs typeface="+mj-cs"/>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28天时</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全因死亡率较美罗培南±多黏菌素E更低</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4514" name="文本框 5"/>
          <p:cNvSpPr txBox="1"/>
          <p:nvPr/>
        </p:nvSpPr>
        <p:spPr>
          <a:xfrm>
            <a:off x="587375" y="6427788"/>
            <a:ext cx="10788650" cy="338137"/>
          </a:xfrm>
          <a:prstGeom prst="rect">
            <a:avLst/>
          </a:prstGeom>
          <a:noFill/>
          <a:ln w="9525">
            <a:noFill/>
          </a:ln>
        </p:spPr>
        <p:txBody>
          <a:bodyPr wrap="square" anchor="t" anchorCtr="0">
            <a:spAutoFit/>
          </a:bodyPr>
          <a:p>
            <a:pPr marL="228600" indent="-228600">
              <a:buFont typeface="宋体" pitchFamily="2" charset="-122"/>
              <a:buAutoNum type="arabicPeriod"/>
            </a:pPr>
            <a:r>
              <a:rPr lang="en-US" altLang="zh-CN" sz="800" dirty="0">
                <a:latin typeface="Pfizer Tomorrow" charset="0"/>
                <a:ea typeface="微软雅黑" panose="020B0503020204020204" charset="-122"/>
                <a:sym typeface="Pfizer Tomorrow" charset="0"/>
              </a:rPr>
              <a:t>Yehuda Carmeli, et al. Lancet Infect Dis. 2025 Feb;25(2):218-230. Supplementary appendix.</a:t>
            </a:r>
            <a:endParaRPr lang="en-US"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a:pPr>
            <a:r>
              <a:rPr lang="en-US" altLang="zh-CN" sz="800" dirty="0">
                <a:latin typeface="Pfizer Tomorrow" charset="0"/>
                <a:ea typeface="微软雅黑" panose="020B0503020204020204" charset="-122"/>
                <a:sym typeface="Pfizer Tomorrow" charset="0"/>
              </a:rPr>
              <a:t>Yehuda Carmeli, et al. Lancet Infect Dis. 2025 Feb;25(2):218-230. </a:t>
            </a:r>
            <a:endParaRPr lang="en-US" altLang="zh-CN" sz="800" dirty="0">
              <a:latin typeface="Pfizer Tomorrow" charset="0"/>
              <a:ea typeface="微软雅黑" panose="020B0503020204020204" charset="-122"/>
              <a:sym typeface="Pfizer Tomorrow" charset="0"/>
            </a:endParaRPr>
          </a:p>
        </p:txBody>
      </p:sp>
      <p:sp>
        <p:nvSpPr>
          <p:cNvPr id="3" name="Rounded Rectangle 8"/>
          <p:cNvSpPr/>
          <p:nvPr/>
        </p:nvSpPr>
        <p:spPr>
          <a:xfrm>
            <a:off x="639763" y="1857375"/>
            <a:ext cx="10902950" cy="3254375"/>
          </a:xfrm>
          <a:prstGeom prst="roundRect">
            <a:avLst>
              <a:gd name="adj" fmla="val 2130"/>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Pfizer Tomorrow" charset="0"/>
            </a:endParaRPr>
          </a:p>
        </p:txBody>
      </p:sp>
      <p:sp>
        <p:nvSpPr>
          <p:cNvPr id="15" name="矩形: 圆顶角 14"/>
          <p:cNvSpPr/>
          <p:nvPr/>
        </p:nvSpPr>
        <p:spPr>
          <a:xfrm>
            <a:off x="3246438" y="1431925"/>
            <a:ext cx="6049963" cy="425450"/>
          </a:xfrm>
          <a:prstGeom prst="round2SameRect">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lvl="0"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defRPr>
            </a:lvl1pPr>
            <a:lvl2pPr marL="457200" lvl="1"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2pPr>
            <a:lvl3pPr marL="914400" lvl="2"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3pPr>
            <a:lvl4pPr marL="1371600" lvl="3"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4pPr>
            <a:lvl5pPr marL="1828800" lvl="4"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5pPr>
          </a:lstStyle>
          <a:p>
            <a:pPr lvl="0" indent="0" algn="ctr" defTabSz="914400" fontAlgn="base">
              <a:lnSpc>
                <a:spcPct val="100000"/>
              </a:lnSpc>
              <a:spcBef>
                <a:spcPct val="0"/>
              </a:spcBef>
              <a:spcAft>
                <a:spcPct val="0"/>
              </a:spcAft>
              <a:buNone/>
            </a:pPr>
            <a:r>
              <a:rPr lang="en-US" altLang="zh-CN" sz="1600" b="1" u="none" baseline="0" dirty="0">
                <a:solidFill>
                  <a:schemeClr val="bg1"/>
                </a:solidFill>
                <a:latin typeface="Pfizer Tomorrow" charset="0"/>
                <a:ea typeface="微软雅黑" panose="020B0503020204020204" charset="-122"/>
                <a:sym typeface="Pfizer Tomorrow" charset="0"/>
              </a:rPr>
              <a:t>REVISIT</a:t>
            </a:r>
            <a:r>
              <a:rPr lang="zh-CN" altLang="en-US" sz="1600" b="1" u="none" baseline="0" dirty="0">
                <a:solidFill>
                  <a:schemeClr val="bg1"/>
                </a:solidFill>
                <a:latin typeface="Pfizer Tomorrow" charset="0"/>
                <a:ea typeface="微软雅黑" panose="020B0503020204020204" charset="-122"/>
                <a:sym typeface="Pfizer Tomorrow" charset="0"/>
              </a:rPr>
              <a:t>研究</a:t>
            </a:r>
            <a:r>
              <a:rPr lang="zh-CN" altLang="en-US" sz="1600" b="1" dirty="0">
                <a:solidFill>
                  <a:schemeClr val="bg1"/>
                </a:solidFill>
                <a:latin typeface="Pfizer Tomorrow" charset="0"/>
                <a:ea typeface="微软雅黑" panose="020B0503020204020204" charset="-122"/>
                <a:sym typeface="Pfizer Tomorrow" charset="0"/>
              </a:rPr>
              <a:t>次要终点：</a:t>
            </a:r>
            <a:r>
              <a:rPr lang="en-US" altLang="zh-CN" sz="1600" b="1" u="none" baseline="0" dirty="0">
                <a:solidFill>
                  <a:schemeClr val="bg1"/>
                </a:solidFill>
                <a:latin typeface="Pfizer Tomorrow" charset="0"/>
                <a:ea typeface="微软雅黑" panose="020B0503020204020204" charset="-122"/>
                <a:sym typeface="Pfizer Tomorrow" charset="0"/>
              </a:rPr>
              <a:t>28</a:t>
            </a:r>
            <a:r>
              <a:rPr lang="zh-CN" altLang="en-US" sz="1600" b="1" u="none" baseline="0" dirty="0">
                <a:solidFill>
                  <a:schemeClr val="bg1"/>
                </a:solidFill>
                <a:latin typeface="Pfizer Tomorrow" charset="0"/>
                <a:ea typeface="微软雅黑" panose="020B0503020204020204" charset="-122"/>
                <a:sym typeface="Pfizer Tomorrow" charset="0"/>
              </a:rPr>
              <a:t>天时的全因死亡率</a:t>
            </a:r>
            <a:r>
              <a:rPr lang="en-US" altLang="zh-CN" sz="1600" b="1" u="none" baseline="30000" dirty="0">
                <a:solidFill>
                  <a:schemeClr val="bg1"/>
                </a:solidFill>
                <a:latin typeface="Pfizer Tomorrow" charset="0"/>
                <a:ea typeface="微软雅黑" panose="020B0503020204020204" charset="-122"/>
                <a:sym typeface="Pfizer Tomorrow" charset="0"/>
              </a:rPr>
              <a:t>1</a:t>
            </a:r>
            <a:endParaRPr lang="zh-CN" altLang="en-US" sz="1600" b="1" u="none" baseline="30000" dirty="0">
              <a:solidFill>
                <a:schemeClr val="bg1"/>
              </a:solidFill>
              <a:latin typeface="Pfizer Tomorrow" charset="0"/>
              <a:ea typeface="微软雅黑" panose="020B0503020204020204" charset="-122"/>
              <a:sym typeface="Pfizer Tomorrow" charset="0"/>
            </a:endParaRPr>
          </a:p>
        </p:txBody>
      </p:sp>
      <p:sp>
        <p:nvSpPr>
          <p:cNvPr id="16" name="矩形: 圆角 15"/>
          <p:cNvSpPr/>
          <p:nvPr/>
        </p:nvSpPr>
        <p:spPr>
          <a:xfrm>
            <a:off x="762000" y="1970088"/>
            <a:ext cx="10553700" cy="320675"/>
          </a:xfrm>
          <a:prstGeom prst="roundRect">
            <a:avLst>
              <a:gd name="adj" fmla="val 5000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ea"/>
              <a:sym typeface="Pfizer Tomorrow" charset="0"/>
            </a:endParaRPr>
          </a:p>
        </p:txBody>
      </p:sp>
      <p:sp>
        <p:nvSpPr>
          <p:cNvPr id="18" name="文本框 17"/>
          <p:cNvSpPr txBox="1"/>
          <p:nvPr/>
        </p:nvSpPr>
        <p:spPr>
          <a:xfrm>
            <a:off x="587375" y="6088063"/>
            <a:ext cx="7658100" cy="260350"/>
          </a:xfrm>
          <a:prstGeom prst="rect">
            <a:avLst/>
          </a:prstGeom>
          <a:noFill/>
        </p:spPr>
        <p:txBody>
          <a:bodyPr wrap="square" rtlCol="0">
            <a:spAutoFit/>
          </a:bodyPr>
          <a:lstStyle/>
          <a:p>
            <a:pPr marR="0" defTabSz="1075055" rtl="0" fontAlgn="auto">
              <a:spcBef>
                <a:spcPts val="0"/>
              </a:spcBef>
              <a:spcAft>
                <a:spcPts val="0"/>
              </a:spcAft>
              <a:buClrTx/>
              <a:buSzTx/>
              <a:buFontTx/>
              <a:buNone/>
              <a:defRPr/>
            </a:pPr>
            <a:r>
              <a:rPr kumimoji="0" lang="en-US" altLang="zh-CN" sz="1100" b="0" i="0" kern="1200" cap="none" spc="0" normalizeH="0" baseline="0" noProof="0" dirty="0" err="1">
                <a:solidFill>
                  <a:schemeClr val="tx1">
                    <a:lumMod val="65000"/>
                    <a:lumOff val="35000"/>
                  </a:schemeClr>
                </a:solidFill>
                <a:latin typeface="Pfizer Tomorrow" charset="0"/>
                <a:ea typeface="微软雅黑" panose="020B0503020204020204" charset="-122"/>
                <a:cs typeface="+mn-ea"/>
                <a:sym typeface="Pfizer Tomorrow" charset="0"/>
              </a:rPr>
              <a:t>cIAI</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复杂性腹腔内感染；</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HAP</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医院获得性肺炎；</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VAP</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呼吸机相关性肺炎；</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ITT: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意向性治疗；</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TOC: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治愈访视</a:t>
            </a:r>
            <a:endPar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endParaRPr>
          </a:p>
        </p:txBody>
      </p:sp>
      <p:sp>
        <p:nvSpPr>
          <p:cNvPr id="19" name="文本框 18"/>
          <p:cNvSpPr txBox="1"/>
          <p:nvPr/>
        </p:nvSpPr>
        <p:spPr>
          <a:xfrm>
            <a:off x="587375" y="5129213"/>
            <a:ext cx="10902950" cy="958850"/>
          </a:xfrm>
          <a:prstGeom prst="rect">
            <a:avLst/>
          </a:prstGeom>
          <a:noFill/>
        </p:spPr>
        <p:txBody>
          <a:bodyPr wrap="square" rtlCol="0">
            <a:spAutoFit/>
          </a:bodyPr>
          <a:lstStyle>
            <a:defPPr>
              <a:defRPr lang="zh-CN"/>
            </a:defPPr>
            <a:lvl1pPr lvl="0" algn="just" defTabSz="1219200">
              <a:defRPr sz="800">
                <a:solidFill>
                  <a:prstClr val="white">
                    <a:lumMod val="50000"/>
                  </a:prstClr>
                </a:solidFill>
                <a:cs typeface="+mn-ea"/>
              </a:defRPr>
            </a:lvl1pPr>
            <a:lvl2pPr marL="609600" defTabSz="1219200">
              <a:defRPr sz="2400"/>
            </a:lvl2pPr>
            <a:lvl3pPr marL="1219200" defTabSz="1219200">
              <a:defRPr sz="2400"/>
            </a:lvl3pPr>
            <a:lvl4pPr marL="1828800" defTabSz="1219200">
              <a:defRPr sz="2400"/>
            </a:lvl4pPr>
            <a:lvl5pPr marL="2438400" defTabSz="1219200">
              <a:defRPr sz="2400"/>
            </a:lvl5pPr>
            <a:lvl6pPr marL="3048000" defTabSz="1219200">
              <a:defRPr sz="2400"/>
            </a:lvl6pPr>
            <a:lvl7pPr marL="3657600" defTabSz="1219200">
              <a:defRPr sz="2400"/>
            </a:lvl7pPr>
            <a:lvl8pPr marL="4267200" defTabSz="1219200">
              <a:defRPr sz="2400"/>
            </a:lvl8pPr>
            <a:lvl9pPr marL="4876800" defTabSz="1219200">
              <a:defRPr sz="2400"/>
            </a:lvl9pPr>
          </a:lstStyle>
          <a:p>
            <a:pPr marL="0" marR="0" lvl="0" indent="0" algn="l" defTabSz="1219200" rtl="0" eaLnBrk="1" fontAlgn="auto" latinLnBrk="0" hangingPunct="1">
              <a:lnSpc>
                <a:spcPct val="12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REVISI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是一项前瞻性、随机、多中心、开放标签、中央评估者盲法、平行组比较</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期临床试验，共纳入</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个国家</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81</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个地点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422</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住院成年患者（</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1</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随机分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82</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在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14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在美罗培南组，形成</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IT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分析集），其中</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1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患者（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7</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美罗培南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被随机分配但未接受研究治疗。治疗结束随访在最后一次输液后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4</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小时内进行，第</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8+/-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天时进行</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TOC</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第</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45+/-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天进行延迟随访访视。研究比较了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甲硝唑与美罗培南</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多黏菌素</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E</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在治疗</a:t>
            </a:r>
            <a:r>
              <a:rPr kumimoji="0" lang="en-US" altLang="zh-CN" sz="1200" b="0" i="0" u="none" strike="noStrike" kern="1200" cap="none" spc="0" normalizeH="0" baseline="0" noProof="0" dirty="0" err="1">
                <a:ln>
                  <a:noFill/>
                </a:ln>
                <a:solidFill>
                  <a:schemeClr val="tx1"/>
                </a:solidFill>
                <a:effectLst/>
                <a:uLnTx/>
                <a:uFillTx/>
                <a:latin typeface="Pfizer Tomorrow" charset="0"/>
                <a:ea typeface="微软雅黑" panose="020B0503020204020204" charset="-122"/>
                <a:cs typeface="+mn-ea"/>
                <a:sym typeface="Pfizer Tomorrow" charset="0"/>
              </a:rPr>
              <a:t>cIAI</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HAP</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和</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VAP</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上的有效性、安全性和耐受性</a:t>
            </a:r>
            <a:r>
              <a:rPr kumimoji="0" lang="en-US" altLang="zh-CN" sz="1200" b="0" i="0" u="none" strike="noStrike" kern="1200" cap="none" spc="0" normalizeH="0" baseline="30000" noProof="0" dirty="0">
                <a:ln>
                  <a:noFill/>
                </a:ln>
                <a:solidFill>
                  <a:schemeClr val="tx1"/>
                </a:solidFill>
                <a:effectLst/>
                <a:uLnTx/>
                <a:uFillTx/>
                <a:latin typeface="Pfizer Tomorrow" charset="0"/>
                <a:ea typeface="微软雅黑" panose="020B0503020204020204" charset="-122"/>
                <a:cs typeface="+mn-ea"/>
                <a:sym typeface="Pfizer Tomorrow" charset="0"/>
              </a:rPr>
              <a:t>2</a:t>
            </a:r>
            <a:endParaRPr kumimoji="0" lang="zh-CN" altLang="en-US" sz="1200" b="0" i="0" u="none" strike="noStrike" kern="1200" cap="none" spc="0" normalizeH="0" baseline="30000" noProof="0" dirty="0">
              <a:ln>
                <a:noFill/>
              </a:ln>
              <a:solidFill>
                <a:schemeClr val="tx1"/>
              </a:solidFill>
              <a:effectLst/>
              <a:uLnTx/>
              <a:uFillTx/>
              <a:latin typeface="Pfizer Tomorrow" charset="0"/>
              <a:ea typeface="微软雅黑" panose="020B0503020204020204" charset="-122"/>
              <a:sym typeface="Pfizer Tomorrow" charset="0"/>
            </a:endParaRPr>
          </a:p>
        </p:txBody>
      </p:sp>
      <p:graphicFrame>
        <p:nvGraphicFramePr>
          <p:cNvPr id="20" name="表格 19"/>
          <p:cNvGraphicFramePr>
            <a:graphicFrameLocks noGrp="1"/>
          </p:cNvGraphicFramePr>
          <p:nvPr/>
        </p:nvGraphicFramePr>
        <p:xfrm>
          <a:off x="720725" y="1985963"/>
          <a:ext cx="10741025" cy="2898775"/>
        </p:xfrm>
        <a:graphic>
          <a:graphicData uri="http://schemas.openxmlformats.org/drawingml/2006/table">
            <a:tbl>
              <a:tblPr firstRow="1" bandRow="1">
                <a:tableStyleId>{5C22544A-7EE6-4342-B048-85BDC9FD1C3A}</a:tableStyleId>
              </a:tblPr>
              <a:tblGrid>
                <a:gridCol w="1382665"/>
                <a:gridCol w="1559719"/>
                <a:gridCol w="1559719"/>
                <a:gridCol w="1559719"/>
                <a:gridCol w="1559719"/>
                <a:gridCol w="1559719"/>
                <a:gridCol w="1559719"/>
              </a:tblGrid>
              <a:tr h="483113">
                <a:tc>
                  <a:txBody>
                    <a:bodyPr/>
                    <a:lstStyle/>
                    <a:p>
                      <a:pPr algn="ctr"/>
                      <a:r>
                        <a:rPr lang="en-US" altLang="zh-CN" sz="1200" b="1" kern="1200" dirty="0">
                          <a:solidFill>
                            <a:srgbClr val="00033E"/>
                          </a:solidFill>
                          <a:latin typeface="Pfizer Tomorrow" charset="0"/>
                          <a:ea typeface="微软雅黑" panose="020B0503020204020204" charset="-122"/>
                          <a:cs typeface="+mn-ea"/>
                          <a:sym typeface="Pfizer Tomorrow" charset="0"/>
                        </a:rPr>
                        <a:t>n</a:t>
                      </a:r>
                      <a:r>
                        <a:rPr lang="zh-CN" altLang="en-US" sz="1200" b="1" kern="1200" dirty="0">
                          <a:solidFill>
                            <a:srgbClr val="00033E"/>
                          </a:solidFill>
                          <a:latin typeface="Pfizer Tomorrow" charset="0"/>
                          <a:ea typeface="微软雅黑" panose="020B0503020204020204" charset="-122"/>
                          <a:cs typeface="+mn-ea"/>
                          <a:sym typeface="Pfizer Tomorrow" charset="0"/>
                        </a:rPr>
                        <a:t>（</a:t>
                      </a:r>
                      <a:r>
                        <a:rPr lang="en-US" altLang="zh-CN" sz="1200" b="1" kern="1200" dirty="0">
                          <a:solidFill>
                            <a:srgbClr val="00033E"/>
                          </a:solidFill>
                          <a:latin typeface="Pfizer Tomorrow" charset="0"/>
                          <a:ea typeface="微软雅黑" panose="020B0503020204020204" charset="-122"/>
                          <a:cs typeface="+mn-ea"/>
                          <a:sym typeface="Pfizer Tomorrow" charset="0"/>
                        </a:rPr>
                        <a:t>%</a:t>
                      </a:r>
                      <a:r>
                        <a:rPr lang="zh-CN" altLang="en-US" sz="1200" b="1" kern="1200" dirty="0">
                          <a:solidFill>
                            <a:srgbClr val="00033E"/>
                          </a:solidFill>
                          <a:latin typeface="Pfizer Tomorrow" charset="0"/>
                          <a:ea typeface="微软雅黑" panose="020B0503020204020204" charset="-122"/>
                          <a:cs typeface="+mn-ea"/>
                          <a:sym typeface="Pfizer Tomorrow" charset="0"/>
                        </a:rPr>
                        <a:t>）</a:t>
                      </a:r>
                      <a:endParaRPr lang="zh-CN" altLang="en-US" sz="1200" b="1" kern="1200" dirty="0">
                        <a:solidFill>
                          <a:srgbClr val="00033E"/>
                        </a:solidFill>
                        <a:latin typeface="Pfizer Tomorrow" charset="0"/>
                        <a:ea typeface="微软雅黑" panose="020B0503020204020204" charset="-122"/>
                        <a:cs typeface="+mn-ea"/>
                        <a:sym typeface="Pfizer Tomorrow" charset="0"/>
                      </a:endParaRPr>
                    </a:p>
                  </a:txBody>
                  <a:tcPr marL="121920" marR="121920" marT="60960" marB="60960" anchor="ctr">
                    <a:lnB w="12700" cap="flat" cmpd="sng" algn="ctr">
                      <a:noFill/>
                      <a:prstDash val="solid"/>
                      <a:round/>
                      <a:headEnd type="none" w="med" len="med"/>
                      <a:tailEnd type="none" w="med" len="med"/>
                    </a:lnB>
                    <a:solidFill>
                      <a:srgbClr val="00C987"/>
                    </a:solidFill>
                  </a:tcPr>
                </a:tc>
                <a:tc gridSpan="2">
                  <a:txBody>
                    <a:bodyPr/>
                    <a:lstStyle/>
                    <a:p>
                      <a:pPr algn="ctr"/>
                      <a:r>
                        <a:rPr lang="en-US" altLang="zh-CN" sz="1200" dirty="0" err="1">
                          <a:solidFill>
                            <a:srgbClr val="00033E"/>
                          </a:solidFill>
                          <a:latin typeface="Pfizer Tomorrow" charset="0"/>
                          <a:ea typeface="微软雅黑" panose="020B0503020204020204" charset="-122"/>
                          <a:cs typeface="+mn-ea"/>
                          <a:sym typeface="Pfizer Tomorrow" charset="0"/>
                        </a:rPr>
                        <a:t>cIAI</a:t>
                      </a:r>
                      <a:endParaRPr lang="en-US" altLang="zh-CN" sz="1200" dirty="0" err="1">
                        <a:solidFill>
                          <a:srgbClr val="00033E"/>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gridSpan="2">
                  <a:txBody>
                    <a:bodyPr/>
                    <a:lstStyle/>
                    <a:p>
                      <a:pPr algn="ctr"/>
                      <a:r>
                        <a:rPr lang="en-US" altLang="zh-CN" sz="1200" dirty="0">
                          <a:solidFill>
                            <a:srgbClr val="00033E"/>
                          </a:solidFill>
                          <a:latin typeface="Pfizer Tomorrow" charset="0"/>
                          <a:ea typeface="微软雅黑" panose="020B0503020204020204" charset="-122"/>
                          <a:cs typeface="+mn-ea"/>
                          <a:sym typeface="Pfizer Tomorrow" charset="0"/>
                        </a:rPr>
                        <a:t>HAP/VAP</a:t>
                      </a:r>
                      <a:endParaRPr lang="en-US" altLang="zh-CN"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gridSpan="2">
                  <a:txBody>
                    <a:bodyPr/>
                    <a:lstStyle/>
                    <a:p>
                      <a:pPr algn="ctr"/>
                      <a:r>
                        <a:rPr lang="zh-CN" altLang="en-US" sz="1200" dirty="0">
                          <a:solidFill>
                            <a:srgbClr val="00033E"/>
                          </a:solidFill>
                          <a:latin typeface="Pfizer Tomorrow" charset="0"/>
                          <a:ea typeface="微软雅黑" panose="020B0503020204020204" charset="-122"/>
                          <a:cs typeface="+mn-ea"/>
                          <a:sym typeface="Pfizer Tomorrow" charset="0"/>
                        </a:rPr>
                        <a:t>总体</a:t>
                      </a:r>
                      <a:endParaRPr lang="zh-CN" altLang="en-US"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12700" cmpd="sng">
                      <a:noFill/>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noFill/>
                      <a:prstDash val="solid"/>
                      <a:round/>
                      <a:headEnd type="none" w="med" len="med"/>
                      <a:tailEnd type="none" w="med" len="med"/>
                    </a:lnL>
                    <a:lnR w="12700" cmpd="sng">
                      <a:noFill/>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r>
              <a:tr h="483113">
                <a:tc>
                  <a:txBody>
                    <a:bodyPr/>
                    <a:lstStyle/>
                    <a:p>
                      <a:pPr algn="ctr"/>
                      <a:r>
                        <a:rPr lang="en-US" altLang="zh-CN" sz="1200" b="1" kern="1200">
                          <a:solidFill>
                            <a:srgbClr val="00033E"/>
                          </a:solidFill>
                          <a:latin typeface="Pfizer Tomorrow" charset="0"/>
                          <a:ea typeface="微软雅黑" panose="020B0503020204020204" charset="-122"/>
                          <a:cs typeface="+mn-ea"/>
                          <a:sym typeface="Pfizer Tomorrow" charset="0"/>
                        </a:rPr>
                        <a:t>ITT</a:t>
                      </a:r>
                      <a:r>
                        <a:rPr lang="zh-CN" altLang="en-US" sz="1200" b="1" kern="1200">
                          <a:solidFill>
                            <a:srgbClr val="00033E"/>
                          </a:solidFill>
                          <a:latin typeface="Pfizer Tomorrow" charset="0"/>
                          <a:ea typeface="微软雅黑" panose="020B0503020204020204" charset="-122"/>
                          <a:cs typeface="+mn-ea"/>
                          <a:sym typeface="Pfizer Tomorrow" charset="0"/>
                        </a:rPr>
                        <a:t> 分析集</a:t>
                      </a:r>
                      <a:endParaRPr lang="zh-CN" altLang="en-US" sz="1200" b="1" kern="1200">
                        <a:solidFill>
                          <a:srgbClr val="00033E"/>
                        </a:solidFill>
                        <a:latin typeface="Pfizer Tomorrow" charset="0"/>
                        <a:ea typeface="微软雅黑" panose="020B0503020204020204" charset="-122"/>
                        <a:cs typeface="+mn-ea"/>
                        <a:sym typeface="Pfizer Tomorrow" charset="0"/>
                      </a:endParaRPr>
                    </a:p>
                  </a:txBody>
                  <a:tcPr marL="121920" marR="121920" marT="60960" marB="60960" anchor="ctr">
                    <a:lnT w="38100" cmpd="sng">
                      <a:noFill/>
                    </a:lnT>
                    <a:lnB w="12700" cap="flat" cmpd="sng" algn="ctr">
                      <a:noFill/>
                      <a:prstDash val="solid"/>
                      <a:round/>
                      <a:headEnd type="none" w="med" len="med"/>
                      <a:tailEnd type="none" w="med" len="med"/>
                    </a:lnB>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甲硝唑</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美罗培南</a:t>
                      </a:r>
                      <a:r>
                        <a:rPr lang="en-US" altLang="zh-CN" sz="1200">
                          <a:solidFill>
                            <a:srgbClr val="00033E"/>
                          </a:solidFill>
                          <a:latin typeface="Pfizer Tomorrow" charset="0"/>
                          <a:ea typeface="微软雅黑" panose="020B0503020204020204" charset="-122"/>
                          <a:cs typeface="+mn-ea"/>
                          <a:sym typeface="Pfizer Tomorrow" charset="0"/>
                        </a:rPr>
                        <a:t>±</a:t>
                      </a:r>
                      <a:endParaRPr lang="en-US" altLang="zh-CN" sz="1200">
                        <a:solidFill>
                          <a:srgbClr val="00033E"/>
                        </a:solidFill>
                        <a:latin typeface="Pfizer Tomorrow" charset="0"/>
                        <a:ea typeface="微软雅黑" panose="020B0503020204020204" charset="-122"/>
                        <a:cs typeface="+mn-ea"/>
                        <a:sym typeface="Pfizer Tomorrow" charset="0"/>
                      </a:endParaRPr>
                    </a:p>
                    <a:p>
                      <a:pPr algn="ctr"/>
                      <a:r>
                        <a:rPr lang="zh-CN" altLang="en-US" sz="1200">
                          <a:solidFill>
                            <a:srgbClr val="00033E"/>
                          </a:solidFill>
                          <a:latin typeface="Pfizer Tomorrow" charset="0"/>
                          <a:ea typeface="微软雅黑" panose="020B0503020204020204" charset="-122"/>
                          <a:cs typeface="+mn-ea"/>
                          <a:sym typeface="Pfizer Tomorrow" charset="0"/>
                        </a:rPr>
                        <a:t>多黏菌素</a:t>
                      </a:r>
                      <a:r>
                        <a:rPr lang="en-US" altLang="zh-CN" sz="1200">
                          <a:solidFill>
                            <a:srgbClr val="00033E"/>
                          </a:solidFill>
                          <a:latin typeface="Pfizer Tomorrow" charset="0"/>
                          <a:ea typeface="微软雅黑" panose="020B0503020204020204" charset="-122"/>
                          <a:cs typeface="+mn-ea"/>
                          <a:sym typeface="Pfizer Tomorrow" charset="0"/>
                        </a:rPr>
                        <a:t>E</a:t>
                      </a:r>
                      <a:endParaRPr lang="en-US" altLang="zh-CN"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美罗培南</a:t>
                      </a:r>
                      <a:r>
                        <a:rPr lang="en-US" altLang="zh-CN" sz="1200">
                          <a:solidFill>
                            <a:srgbClr val="00033E"/>
                          </a:solidFill>
                          <a:latin typeface="Pfizer Tomorrow" charset="0"/>
                          <a:ea typeface="微软雅黑" panose="020B0503020204020204" charset="-122"/>
                          <a:cs typeface="+mn-ea"/>
                          <a:sym typeface="Pfizer Tomorrow" charset="0"/>
                        </a:rPr>
                        <a:t>±</a:t>
                      </a:r>
                      <a:endParaRPr lang="en-US" altLang="zh-CN" sz="1200">
                        <a:solidFill>
                          <a:srgbClr val="00033E"/>
                        </a:solidFill>
                        <a:latin typeface="Pfizer Tomorrow" charset="0"/>
                        <a:ea typeface="微软雅黑" panose="020B0503020204020204" charset="-122"/>
                        <a:cs typeface="+mn-ea"/>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多黏菌素</a:t>
                      </a:r>
                      <a:r>
                        <a:rPr lang="en-US" altLang="zh-CN" sz="1200">
                          <a:solidFill>
                            <a:srgbClr val="00033E"/>
                          </a:solidFill>
                          <a:latin typeface="Pfizer Tomorrow" charset="0"/>
                          <a:ea typeface="微软雅黑" panose="020B0503020204020204" charset="-122"/>
                          <a:cs typeface="+mn-ea"/>
                          <a:sym typeface="Pfizer Tomorrow" charset="0"/>
                        </a:rPr>
                        <a:t>E</a:t>
                      </a:r>
                      <a:endParaRPr lang="en-US" altLang="zh-CN"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甲硝唑或单药</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033E"/>
                          </a:solidFill>
                          <a:latin typeface="Pfizer Tomorrow" charset="0"/>
                          <a:ea typeface="微软雅黑" panose="020B0503020204020204" charset="-122"/>
                          <a:cs typeface="+mn-ea"/>
                          <a:sym typeface="Pfizer Tomorrow" charset="0"/>
                        </a:rPr>
                        <a:t>美罗培南</a:t>
                      </a:r>
                      <a:r>
                        <a:rPr lang="en-US" altLang="zh-CN" sz="1200" dirty="0">
                          <a:solidFill>
                            <a:srgbClr val="00033E"/>
                          </a:solidFill>
                          <a:latin typeface="Pfizer Tomorrow" charset="0"/>
                          <a:ea typeface="微软雅黑" panose="020B0503020204020204" charset="-122"/>
                          <a:cs typeface="+mn-ea"/>
                          <a:sym typeface="Pfizer Tomorrow" charset="0"/>
                        </a:rPr>
                        <a:t>±</a:t>
                      </a:r>
                      <a:endParaRPr lang="en-US" altLang="zh-CN" sz="1200" dirty="0">
                        <a:solidFill>
                          <a:srgbClr val="00033E"/>
                        </a:solidFill>
                        <a:latin typeface="Pfizer Tomorrow" charset="0"/>
                        <a:ea typeface="微软雅黑" panose="020B0503020204020204" charset="-122"/>
                        <a:cs typeface="+mn-ea"/>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033E"/>
                          </a:solidFill>
                          <a:latin typeface="Pfizer Tomorrow" charset="0"/>
                          <a:ea typeface="微软雅黑" panose="020B0503020204020204" charset="-122"/>
                          <a:cs typeface="+mn-ea"/>
                          <a:sym typeface="Pfizer Tomorrow" charset="0"/>
                        </a:rPr>
                        <a:t>多黏菌素</a:t>
                      </a:r>
                      <a:r>
                        <a:rPr lang="en-US" altLang="zh-CN" sz="1200" dirty="0">
                          <a:solidFill>
                            <a:srgbClr val="00033E"/>
                          </a:solidFill>
                          <a:latin typeface="Pfizer Tomorrow" charset="0"/>
                          <a:ea typeface="微软雅黑" panose="020B0503020204020204" charset="-122"/>
                          <a:cs typeface="+mn-ea"/>
                          <a:sym typeface="Pfizer Tomorrow" charset="0"/>
                        </a:rPr>
                        <a:t>E</a:t>
                      </a:r>
                      <a:endParaRPr lang="en-US" altLang="zh-CN"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olid"/>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r>
              <a:tr h="483113">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b="1" dirty="0">
                          <a:solidFill>
                            <a:srgbClr val="00033E"/>
                          </a:solidFill>
                          <a:latin typeface="Pfizer Tomorrow" charset="0"/>
                          <a:ea typeface="微软雅黑" panose="020B0503020204020204" charset="-122"/>
                          <a:cs typeface="+mn-ea"/>
                          <a:sym typeface="Pfizer Tomorrow" charset="0"/>
                        </a:rPr>
                        <a:t>28</a:t>
                      </a:r>
                      <a:r>
                        <a:rPr lang="zh-CN" altLang="en-US" sz="1200" b="1" dirty="0">
                          <a:solidFill>
                            <a:srgbClr val="00033E"/>
                          </a:solidFill>
                          <a:latin typeface="Pfizer Tomorrow" charset="0"/>
                          <a:ea typeface="微软雅黑" panose="020B0503020204020204" charset="-122"/>
                          <a:cs typeface="+mn-ea"/>
                          <a:sym typeface="Pfizer Tomorrow" charset="0"/>
                        </a:rPr>
                        <a:t>天内死亡</a:t>
                      </a:r>
                      <a:endParaRPr lang="zh-CN" altLang="en-US" sz="1200" b="1"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4</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9%</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3</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2.9%</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8</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0.8%</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7</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9.4%</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12</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4.3%</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10</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7.1%</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r>
              <a:tr h="483113">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因原发感染</a:t>
                      </a:r>
                      <a:br>
                        <a:rPr lang="en-US" altLang="zh-CN" sz="1100">
                          <a:solidFill>
                            <a:schemeClr val="tx1">
                              <a:lumMod val="75000"/>
                              <a:lumOff val="25000"/>
                            </a:schemeClr>
                          </a:solidFill>
                          <a:latin typeface="Pfizer Tomorrow" charset="0"/>
                          <a:ea typeface="微软雅黑" panose="020B0503020204020204" charset="-122"/>
                          <a:cs typeface="+mn-ea"/>
                          <a:sym typeface="Pfizer Tomorrow" charset="0"/>
                        </a:rPr>
                      </a:b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导致的死亡</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4.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2.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0.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r>
              <a:tr h="483113">
                <a:tc>
                  <a:txBody>
                    <a:bodyPr/>
                    <a:lstStyle/>
                    <a:p>
                      <a:pPr algn="ctr">
                        <a:lnSpc>
                          <a:spcPct val="120000"/>
                        </a:lnSpc>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其他原因</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4</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2</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5</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6.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6</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6.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2%</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5.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r>
              <a:tr h="483113">
                <a:tc>
                  <a:txBody>
                    <a:bodyPr/>
                    <a:lstStyle/>
                    <a:p>
                      <a:pPr algn="ctr">
                        <a:lnSpc>
                          <a:spcPct val="120000"/>
                        </a:lnSpc>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未知原因</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0%</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0.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矩形: 圆角 13"/>
          <p:cNvSpPr/>
          <p:nvPr/>
        </p:nvSpPr>
        <p:spPr>
          <a:xfrm>
            <a:off x="587375" y="1865313"/>
            <a:ext cx="11017250" cy="3021013"/>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15" name="矩形: 圆顶角 14"/>
          <p:cNvSpPr/>
          <p:nvPr/>
        </p:nvSpPr>
        <p:spPr>
          <a:xfrm>
            <a:off x="2339975" y="1524000"/>
            <a:ext cx="7718425"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a:solidFill>
                  <a:schemeClr val="bg1"/>
                </a:solidFill>
                <a:latin typeface="Pfizer Tomorrow" charset="0"/>
                <a:ea typeface="微软雅黑" panose="020B0503020204020204" charset="-122"/>
                <a:cs typeface="+mn-ea"/>
                <a:sym typeface="Pfizer Tomorrow" charset="0"/>
              </a:rPr>
              <a:t>研究安全性结果</a:t>
            </a:r>
            <a:endParaRPr lang="zh-CN" altLang="en-US" sz="1600" b="1" strike="noStrike" noProof="1">
              <a:solidFill>
                <a:schemeClr val="bg1"/>
              </a:solidFill>
              <a:latin typeface="Pfizer Tomorrow" charset="0"/>
              <a:ea typeface="微软雅黑" panose="020B0503020204020204" charset="-122"/>
              <a:cs typeface="+mn-ea"/>
              <a:sym typeface="Pfizer Tomorrow" charset="0"/>
            </a:endParaRPr>
          </a:p>
        </p:txBody>
      </p:sp>
      <p:sp>
        <p:nvSpPr>
          <p:cNvPr id="9" name="矩形 8"/>
          <p:cNvSpPr/>
          <p:nvPr/>
        </p:nvSpPr>
        <p:spPr>
          <a:xfrm>
            <a:off x="2728913" y="3865563"/>
            <a:ext cx="8650288" cy="911225"/>
          </a:xfrm>
          <a:prstGeom prst="rect">
            <a:avLst/>
          </a:prstGeom>
          <a:solidFill>
            <a:srgbClr val="8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6564" name="标题 9"/>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REVISIT研究</a:t>
            </a:r>
            <a:r>
              <a:rPr lang="en-US" altLang="zh-CN" b="1" dirty="0">
                <a:solidFill>
                  <a:srgbClr val="000D45"/>
                </a:solidFill>
                <a:latin typeface="Pfizer Tomorrow" charset="0"/>
                <a:ea typeface="微软雅黑" panose="020B0503020204020204" charset="-122"/>
                <a:sym typeface="Pfizer Tomorrow" charset="0"/>
              </a:rPr>
              <a:t>：</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无治疗相关的严重不良事件，耐受性良好</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6565" name="文本框 5"/>
          <p:cNvSpPr txBox="1"/>
          <p:nvPr/>
        </p:nvSpPr>
        <p:spPr>
          <a:xfrm>
            <a:off x="649288" y="6521450"/>
            <a:ext cx="10788650"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Yehuda Carmeli, et al. Lancet Infect Dis. 2025 </a:t>
            </a:r>
            <a:r>
              <a:rPr lang="en-US" altLang="zh-CN" sz="800" dirty="0" err="1">
                <a:latin typeface="Pfizer Tomorrow" charset="0"/>
                <a:ea typeface="微软雅黑" panose="020B0503020204020204" charset="-122"/>
                <a:sym typeface="Pfizer Tomorrow" charset="0"/>
              </a:rPr>
              <a:t>Feb;25</a:t>
            </a:r>
            <a:r>
              <a:rPr lang="en-US" altLang="zh-CN" sz="800" dirty="0">
                <a:latin typeface="Pfizer Tomorrow" charset="0"/>
                <a:ea typeface="微软雅黑" panose="020B0503020204020204" charset="-122"/>
                <a:sym typeface="Pfizer Tomorrow" charset="0"/>
              </a:rPr>
              <a:t>(2):218-230. </a:t>
            </a:r>
            <a:endParaRPr lang="zh-CN" altLang="en-US" sz="800" dirty="0">
              <a:latin typeface="Pfizer Tomorrow" charset="0"/>
              <a:ea typeface="微软雅黑" panose="020B0503020204020204" charset="-122"/>
              <a:sym typeface="Pfizer Tomorrow" charset="0"/>
            </a:endParaRPr>
          </a:p>
        </p:txBody>
      </p:sp>
      <p:sp>
        <p:nvSpPr>
          <p:cNvPr id="66566" name="文本框 4"/>
          <p:cNvSpPr txBox="1"/>
          <p:nvPr/>
        </p:nvSpPr>
        <p:spPr>
          <a:xfrm>
            <a:off x="587375" y="5159375"/>
            <a:ext cx="10912475" cy="889000"/>
          </a:xfrm>
          <a:prstGeom prst="rect">
            <a:avLst/>
          </a:prstGeom>
          <a:noFill/>
          <a:ln w="9525">
            <a:noFill/>
          </a:ln>
        </p:spPr>
        <p:txBody>
          <a:bodyPr wrap="square" anchor="t" anchorCtr="0">
            <a:spAutoFit/>
          </a:bodyPr>
          <a:p>
            <a:pPr>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zh-CN" altLang="en-US" sz="1200" dirty="0">
              <a:latin typeface="Pfizer Tomorrow" charset="0"/>
              <a:ea typeface="微软雅黑" panose="020B0503020204020204" charset="-122"/>
              <a:sym typeface="Pfizer Tomorrow" charset="0"/>
            </a:endParaRPr>
          </a:p>
        </p:txBody>
      </p:sp>
      <p:sp>
        <p:nvSpPr>
          <p:cNvPr id="7" name="文本框 6"/>
          <p:cNvSpPr txBox="1"/>
          <p:nvPr/>
        </p:nvSpPr>
        <p:spPr>
          <a:xfrm>
            <a:off x="587375" y="6030913"/>
            <a:ext cx="10202863" cy="271463"/>
          </a:xfrm>
          <a:prstGeom prst="rect">
            <a:avLst/>
          </a:prstGeom>
          <a:noFill/>
        </p:spPr>
        <p:txBody>
          <a:bodyPr wrap="square">
            <a:spAutoFit/>
          </a:bodyPr>
          <a:p>
            <a:pPr defTabSz="1075055">
              <a:lnSpc>
                <a:spcPct val="115000"/>
              </a:lnSpc>
              <a:buNone/>
            </a:pPr>
            <a:r>
              <a:rPr lang="en-US" altLang="zh-CN" sz="1100" baseline="0" dirty="0" err="1">
                <a:solidFill>
                  <a:srgbClr val="595959"/>
                </a:solidFill>
                <a:latin typeface="Pfizer Tomorrow" charset="0"/>
                <a:ea typeface="微软雅黑" panose="020B0503020204020204" charset="-122"/>
                <a:sym typeface="Pfizer Tomorrow" charset="0"/>
              </a:rPr>
              <a:t>cIAI</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 </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 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zh-CN" altLang="en-US" sz="1100" baseline="0" dirty="0">
                <a:solidFill>
                  <a:srgbClr val="595959"/>
                </a:solidFill>
                <a:latin typeface="Pfizer Tomorrow" charset="0"/>
                <a:ea typeface="微软雅黑" panose="020B0503020204020204" charset="-122"/>
                <a:sym typeface="Pfizer Tomorrow" charset="0"/>
              </a:rPr>
              <a:t> ；</a:t>
            </a:r>
            <a:r>
              <a:rPr lang="en-US" altLang="zh-CN" sz="1100" baseline="0" dirty="0">
                <a:solidFill>
                  <a:srgbClr val="595959"/>
                </a:solidFill>
                <a:latin typeface="Pfizer Tomorrow" charset="0"/>
                <a:ea typeface="微软雅黑" panose="020B0503020204020204" charset="-122"/>
                <a:sym typeface="Pfizer Tomorrow" charset="0"/>
              </a:rPr>
              <a:t>ITT:</a:t>
            </a:r>
            <a:r>
              <a:rPr lang="zh-CN" altLang="en-US" sz="1100" baseline="0" dirty="0">
                <a:solidFill>
                  <a:srgbClr val="595959"/>
                </a:solidFill>
                <a:latin typeface="Pfizer Tomorrow" charset="0"/>
                <a:ea typeface="微软雅黑" panose="020B0503020204020204" charset="-122"/>
                <a:sym typeface="Pfizer Tomorrow" charset="0"/>
              </a:rPr>
              <a:t> 意向性治疗；</a:t>
            </a:r>
            <a:r>
              <a:rPr lang="en-US" altLang="zh-CN" sz="1100" baseline="0" dirty="0">
                <a:solidFill>
                  <a:srgbClr val="595959"/>
                </a:solidFill>
                <a:latin typeface="Pfizer Tomorrow" charset="0"/>
                <a:ea typeface="微软雅黑" panose="020B0503020204020204" charset="-122"/>
                <a:sym typeface="Pfizer Tomorrow" charset="0"/>
              </a:rPr>
              <a:t>TOC: </a:t>
            </a:r>
            <a:r>
              <a:rPr lang="zh-CN" altLang="en-US" sz="1100" baseline="0" dirty="0">
                <a:solidFill>
                  <a:srgbClr val="595959"/>
                </a:solidFill>
                <a:latin typeface="Pfizer Tomorrow" charset="0"/>
                <a:ea typeface="微软雅黑" panose="020B0503020204020204" charset="-122"/>
                <a:sym typeface="Pfizer Tomorrow" charset="0"/>
              </a:rPr>
              <a:t>治愈访视</a:t>
            </a:r>
            <a:endParaRPr lang="zh-CN" altLang="zh-CN" sz="1100" baseline="0" dirty="0">
              <a:solidFill>
                <a:srgbClr val="595959"/>
              </a:solidFill>
              <a:latin typeface="Pfizer Tomorrow" charset="0"/>
              <a:ea typeface="微软雅黑" panose="020B0503020204020204" charset="-122"/>
              <a:sym typeface="Pfizer Tomorrow" charset="0"/>
            </a:endParaRPr>
          </a:p>
        </p:txBody>
      </p:sp>
      <p:sp>
        <p:nvSpPr>
          <p:cNvPr id="66568" name="文本框 18"/>
          <p:cNvSpPr txBox="1"/>
          <p:nvPr/>
        </p:nvSpPr>
        <p:spPr>
          <a:xfrm>
            <a:off x="587375" y="4887913"/>
            <a:ext cx="8107363" cy="261937"/>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不良事件按</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监管活动医学词典</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第</a:t>
            </a:r>
            <a:r>
              <a:rPr lang="en-US" altLang="zh-CN" sz="1100" dirty="0">
                <a:solidFill>
                  <a:srgbClr val="595959"/>
                </a:solidFill>
                <a:latin typeface="Pfizer Tomorrow" charset="0"/>
                <a:ea typeface="微软雅黑" panose="020B0503020204020204" charset="-122"/>
                <a:sym typeface="Pfizer Tomorrow" charset="0"/>
              </a:rPr>
              <a:t>26.0</a:t>
            </a:r>
            <a:r>
              <a:rPr lang="zh-CN" altLang="en-US" sz="1100" dirty="0">
                <a:solidFill>
                  <a:srgbClr val="595959"/>
                </a:solidFill>
                <a:latin typeface="Pfizer Tomorrow" charset="0"/>
                <a:ea typeface="微软雅黑" panose="020B0503020204020204" charset="-122"/>
                <a:sym typeface="Pfizer Tomorrow" charset="0"/>
              </a:rPr>
              <a:t>版分类</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2" name="矩形 1"/>
          <p:cNvSpPr/>
          <p:nvPr/>
        </p:nvSpPr>
        <p:spPr>
          <a:xfrm>
            <a:off x="836613" y="1958975"/>
            <a:ext cx="1830388" cy="2814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en-US">
                <a:solidFill>
                  <a:schemeClr val="lt1"/>
                </a:solidFill>
              </a:defRPr>
            </a:defPPr>
            <a:lvl1pPr marL="0" lvl="0"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1pPr>
            <a:lvl2pPr marL="457200" lvl="1"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2pPr>
            <a:lvl3pPr marL="914400" lvl="2"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3pPr>
            <a:lvl4pPr marL="1371600" lvl="3"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4pPr>
            <a:lvl5pPr marL="1828800" lvl="4"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5pPr>
            <a:lvl6pPr marL="2286000" lvl="5"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6pPr>
            <a:lvl7pPr marL="2743200" lvl="6"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7pPr>
            <a:lvl8pPr marL="3200400" lvl="7"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8pPr>
            <a:lvl9pPr marL="3657600" lvl="8"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9p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1">
              <a:ln>
                <a:noFill/>
              </a:ln>
              <a:solidFill>
                <a:schemeClr val="lt1"/>
              </a:solidFill>
              <a:effectLst/>
              <a:uLnTx/>
              <a:uFillTx/>
              <a:latin typeface="Pfizer Tomorrow" charset="0"/>
              <a:sym typeface="Pfizer Tomorrow" charset="0"/>
            </a:endParaRPr>
          </a:p>
          <a:p>
            <a:pPr marL="0" marR="0" lvl="0" indent="0" algn="ctr" defTabSz="457200" rtl="0" eaLnBrk="1" fontAlgn="auto" latinLnBrk="0" hangingPunct="1">
              <a:lnSpc>
                <a:spcPct val="100000"/>
              </a:lnSpc>
              <a:spcBef>
                <a:spcPct val="0"/>
              </a:spcBef>
              <a:spcAft>
                <a:spcPct val="0"/>
              </a:spcAft>
              <a:buClrTx/>
              <a:buSzTx/>
              <a:buFontTx/>
              <a:buNone/>
              <a:defRPr/>
            </a:pPr>
            <a:r>
              <a:rPr kumimoji="0" lang="zh-CN" altLang="en-US" sz="2000" b="1" i="0" u="none" strike="noStrike" kern="1200" cap="none" spc="0" normalizeH="0" baseline="0" noProof="1">
                <a:ln>
                  <a:noFill/>
                </a:ln>
                <a:solidFill>
                  <a:schemeClr val="lt1"/>
                </a:solidFill>
                <a:effectLst/>
                <a:uLnTx/>
                <a:uFillTx/>
                <a:latin typeface="Pfizer Tomorrow" charset="0"/>
                <a:sym typeface="Pfizer Tomorrow" charset="0"/>
              </a:rPr>
              <a:t>安全性分析集中的不良事件汇总</a:t>
            </a:r>
            <a:r>
              <a:rPr kumimoji="0" lang="en-US" altLang="zh-CN" sz="2000" b="1" i="0" u="none" strike="noStrike" kern="1200" cap="none" spc="0" normalizeH="0" baseline="0" noProof="1">
                <a:ln>
                  <a:noFill/>
                </a:ln>
                <a:solidFill>
                  <a:schemeClr val="lt1"/>
                </a:solidFill>
                <a:effectLst/>
                <a:uLnTx/>
                <a:uFillTx/>
                <a:latin typeface="Pfizer Tomorrow" charset="0"/>
                <a:sym typeface="Pfizer Tomorrow" charset="0"/>
              </a:rPr>
              <a:t>*</a:t>
            </a:r>
            <a:endParaRPr kumimoji="0" lang="zh-CN" altLang="en-US" sz="2000" b="1" i="0" u="none" strike="noStrike" kern="1200" cap="none" spc="0" normalizeH="0" baseline="0" noProof="1">
              <a:ln>
                <a:noFill/>
              </a:ln>
              <a:solidFill>
                <a:schemeClr val="lt1"/>
              </a:solidFill>
              <a:effectLst/>
              <a:uLnTx/>
              <a:uFillTx/>
              <a:latin typeface="Pfizer Tomorrow" charset="0"/>
              <a:sym typeface="Pfizer Tomorrow" charset="0"/>
            </a:endParaRPr>
          </a:p>
        </p:txBody>
      </p:sp>
      <p:sp>
        <p:nvSpPr>
          <p:cNvPr id="8" name="矩形 7"/>
          <p:cNvSpPr/>
          <p:nvPr/>
        </p:nvSpPr>
        <p:spPr>
          <a:xfrm>
            <a:off x="1266825" y="3860800"/>
            <a:ext cx="1398588" cy="91281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solidFill>
                  <a:schemeClr val="lt1"/>
                </a:solidFill>
              </a:defRPr>
            </a:defPPr>
            <a:lvl1pPr marL="0" lvl="0"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1pPr>
            <a:lvl2pPr marL="457200" lvl="1"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2pPr>
            <a:lvl3pPr marL="914400" lvl="2"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3pPr>
            <a:lvl4pPr marL="1371600" lvl="3"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4pPr>
            <a:lvl5pPr marL="1828800" lvl="4"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5pPr>
            <a:lvl6pPr marL="2286000" lvl="5"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6pPr>
            <a:lvl7pPr marL="2743200" lvl="6"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7pPr>
            <a:lvl8pPr marL="3200400" lvl="7"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8pPr>
            <a:lvl9pPr marL="3657600" lvl="8"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rPr>
              <a:t>治疗相关的严重</a:t>
            </a:r>
            <a:br>
              <a:rPr kumimoji="0" lang="en-US" altLang="zh-CN" b="1" i="0" u="none" strike="noStrike" kern="1200" cap="none" spc="0" normalizeH="0" baseline="0" noProof="1">
                <a:ln>
                  <a:noFill/>
                </a:ln>
                <a:solidFill>
                  <a:schemeClr val="accent1"/>
                </a:solidFill>
                <a:effectLst/>
                <a:uLnTx/>
                <a:uFillTx/>
                <a:latin typeface="Pfizer Tomorrow" charset="0"/>
                <a:sym typeface="Pfizer Tomorrow" charset="0"/>
              </a:rPr>
            </a:br>
            <a:r>
              <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rPr>
              <a:t>不良事件</a:t>
            </a:r>
            <a:endPar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endParaRPr>
          </a:p>
        </p:txBody>
      </p:sp>
      <p:cxnSp>
        <p:nvCxnSpPr>
          <p:cNvPr id="13" name="直接连接符 12"/>
          <p:cNvCxnSpPr/>
          <p:nvPr/>
        </p:nvCxnSpPr>
        <p:spPr>
          <a:xfrm>
            <a:off x="2728913" y="3860800"/>
            <a:ext cx="8650288" cy="0"/>
          </a:xfrm>
          <a:prstGeom prst="line">
            <a:avLst/>
          </a:prstGeom>
          <a:ln w="19050">
            <a:solidFill>
              <a:srgbClr val="000D45"/>
            </a:solidFill>
          </a:ln>
        </p:spPr>
        <p:style>
          <a:lnRef idx="1">
            <a:schemeClr val="accent1"/>
          </a:lnRef>
          <a:fillRef idx="0">
            <a:schemeClr val="accent1"/>
          </a:fillRef>
          <a:effectRef idx="0">
            <a:schemeClr val="accent1"/>
          </a:effectRef>
          <a:fontRef idx="minor">
            <a:schemeClr val="tx1"/>
          </a:fontRef>
        </p:style>
      </p:cxnSp>
      <p:sp>
        <p:nvSpPr>
          <p:cNvPr id="66572" name="文本框 16"/>
          <p:cNvSpPr txBox="1"/>
          <p:nvPr/>
        </p:nvSpPr>
        <p:spPr>
          <a:xfrm>
            <a:off x="2873375" y="3998913"/>
            <a:ext cx="7085013" cy="774700"/>
          </a:xfrm>
          <a:prstGeom prst="rect">
            <a:avLst/>
          </a:prstGeom>
          <a:noFill/>
          <a:ln w="9525">
            <a:noFill/>
          </a:ln>
        </p:spPr>
        <p:txBody>
          <a:bodyPr wrap="square" anchor="ctr" anchorCtr="0">
            <a:spAutoFit/>
          </a:bodyPr>
          <a:p>
            <a:pPr marL="285750" indent="-285750">
              <a:lnSpc>
                <a:spcPct val="120000"/>
              </a:lnSpc>
              <a:spcAft>
                <a:spcPts val="600"/>
              </a:spcAft>
              <a:buFont typeface="Arial" panose="020B0604020202090204" pitchFamily="34" charset="0"/>
              <a:buChar char="•"/>
            </a:pPr>
            <a:r>
              <a:rPr lang="zh-CN" altLang="en-US" sz="1400" dirty="0">
                <a:solidFill>
                  <a:schemeClr val="tx1"/>
                </a:solidFill>
                <a:latin typeface="Pfizer Tomorrow" charset="0"/>
                <a:ea typeface="微软雅黑" panose="020B0503020204020204" charset="-122"/>
                <a:sym typeface="Pfizer Tomorrow" charset="0"/>
              </a:rPr>
              <a:t>氨曲南</a:t>
            </a:r>
            <a:r>
              <a:rPr lang="en-US" altLang="zh-CN" sz="1400" dirty="0">
                <a:solidFill>
                  <a:schemeClr val="tx1"/>
                </a:solidFill>
                <a:latin typeface="Pfizer Tomorrow" charset="0"/>
                <a:ea typeface="微软雅黑" panose="020B0503020204020204" charset="-122"/>
                <a:sym typeface="Pfizer Tomorrow" charset="0"/>
              </a:rPr>
              <a:t>-</a:t>
            </a:r>
            <a:r>
              <a:rPr lang="zh-CN" altLang="en-US" sz="1400" dirty="0">
                <a:solidFill>
                  <a:schemeClr val="tx1"/>
                </a:solidFill>
                <a:latin typeface="Pfizer Tomorrow" charset="0"/>
                <a:ea typeface="微软雅黑" panose="020B0503020204020204" charset="-122"/>
                <a:sym typeface="Pfizer Tomorrow" charset="0"/>
              </a:rPr>
              <a:t>阿维巴坦组治疗相关严重不良事件为</a:t>
            </a:r>
            <a:r>
              <a:rPr lang="en-US" altLang="zh-CN" sz="2000" b="1" dirty="0">
                <a:solidFill>
                  <a:schemeClr val="tx1"/>
                </a:solidFill>
                <a:latin typeface="Pfizer Tomorrow" charset="0"/>
                <a:ea typeface="微软雅黑" panose="020B0503020204020204" charset="-122"/>
                <a:sym typeface="Pfizer Tomorrow" charset="0"/>
              </a:rPr>
              <a:t>0%</a:t>
            </a:r>
            <a:endParaRPr lang="en-US" altLang="zh-CN" sz="1400" b="1" dirty="0">
              <a:solidFill>
                <a:schemeClr val="tx1"/>
              </a:solidFill>
              <a:latin typeface="Pfizer Tomorrow" charset="0"/>
              <a:ea typeface="微软雅黑" panose="020B0503020204020204" charset="-122"/>
              <a:sym typeface="Pfizer Tomorrow" charset="0"/>
            </a:endParaRPr>
          </a:p>
          <a:p>
            <a:pPr marL="285750" indent="-285750">
              <a:lnSpc>
                <a:spcPct val="120000"/>
              </a:lnSpc>
              <a:spcAft>
                <a:spcPts val="600"/>
              </a:spcAft>
              <a:buFont typeface="Arial" panose="020B0604020202090204" pitchFamily="34" charset="0"/>
              <a:buChar char="•"/>
            </a:pPr>
            <a:r>
              <a:rPr lang="zh-CN" altLang="en-US" sz="1400" dirty="0">
                <a:solidFill>
                  <a:schemeClr val="tx1"/>
                </a:solidFill>
                <a:latin typeface="Pfizer Tomorrow" charset="0"/>
                <a:ea typeface="微软雅黑" panose="020B0503020204020204" charset="-122"/>
                <a:sym typeface="Pfizer Tomorrow" charset="0"/>
              </a:rPr>
              <a:t>美罗培南组有</a:t>
            </a:r>
            <a:r>
              <a:rPr lang="en-US" altLang="zh-CN" sz="1400" dirty="0">
                <a:solidFill>
                  <a:schemeClr val="tx1"/>
                </a:solidFill>
                <a:latin typeface="Pfizer Tomorrow" charset="0"/>
                <a:ea typeface="微软雅黑" panose="020B0503020204020204" charset="-122"/>
                <a:sym typeface="Pfizer Tomorrow" charset="0"/>
              </a:rPr>
              <a:t>1</a:t>
            </a:r>
            <a:r>
              <a:rPr lang="zh-CN" altLang="en-US" sz="1400" dirty="0">
                <a:solidFill>
                  <a:schemeClr val="tx1"/>
                </a:solidFill>
                <a:latin typeface="Pfizer Tomorrow" charset="0"/>
                <a:ea typeface="微软雅黑" panose="020B0503020204020204" charset="-122"/>
                <a:sym typeface="Pfizer Tomorrow" charset="0"/>
              </a:rPr>
              <a:t>例治疗相关严重不良事件（中度肝功能异常）</a:t>
            </a:r>
            <a:endParaRPr lang="zh-CN" altLang="en-US" sz="1400" dirty="0">
              <a:solidFill>
                <a:schemeClr val="tx1"/>
              </a:solidFill>
              <a:latin typeface="Pfizer Tomorrow" charset="0"/>
              <a:ea typeface="微软雅黑" panose="020B0503020204020204" charset="-122"/>
              <a:sym typeface="Pfizer Tomorrow" charset="0"/>
            </a:endParaRPr>
          </a:p>
        </p:txBody>
      </p:sp>
      <p:graphicFrame>
        <p:nvGraphicFramePr>
          <p:cNvPr id="16" name="表格 15"/>
          <p:cNvGraphicFramePr>
            <a:graphicFrameLocks noGrp="1"/>
          </p:cNvGraphicFramePr>
          <p:nvPr/>
        </p:nvGraphicFramePr>
        <p:xfrm>
          <a:off x="2728739" y="1975457"/>
          <a:ext cx="8650461" cy="1873742"/>
        </p:xfrm>
        <a:graphic>
          <a:graphicData uri="http://schemas.openxmlformats.org/drawingml/2006/table">
            <a:tbl>
              <a:tblPr firstRow="1" firstCol="1" bandRow="1">
                <a:tableStyleId>{284E427A-3D55-4303-BF80-6455036E1DE7}</a:tableStyleId>
              </a:tblPr>
              <a:tblGrid>
                <a:gridCol w="1347367"/>
                <a:gridCol w="1333637"/>
                <a:gridCol w="1151341"/>
                <a:gridCol w="1313610"/>
                <a:gridCol w="998665"/>
                <a:gridCol w="1337354"/>
                <a:gridCol w="1168486"/>
              </a:tblGrid>
              <a:tr h="297596">
                <a:tc row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dirty="0" err="1">
                          <a:solidFill>
                            <a:schemeClr val="accent1"/>
                          </a:solidFill>
                          <a:effectLst/>
                          <a:latin typeface="Pfizer Tomorrow" charset="0"/>
                          <a:ea typeface="微软雅黑" panose="020B0503020204020204" charset="-122"/>
                          <a:sym typeface="Pfizer Tomorrow" charset="0"/>
                        </a:rPr>
                        <a:t>患者数量</a:t>
                      </a:r>
                      <a:r>
                        <a:rPr lang="zh-CN" altLang="en-US" sz="1200" b="1" spc="-10" dirty="0">
                          <a:solidFill>
                            <a:schemeClr val="accent1"/>
                          </a:solidFill>
                          <a:effectLst/>
                          <a:latin typeface="Pfizer Tomorrow" charset="0"/>
                          <a:ea typeface="微软雅黑" panose="020B0503020204020204" charset="-122"/>
                          <a:sym typeface="Pfizer Tomorrow" charset="0"/>
                        </a:rPr>
                        <a:t>（</a:t>
                      </a:r>
                      <a:r>
                        <a:rPr lang="en-US" altLang="zh-CN" sz="1200" b="1" spc="-10" dirty="0">
                          <a:solidFill>
                            <a:schemeClr val="accent1"/>
                          </a:solidFill>
                          <a:effectLst/>
                          <a:latin typeface="Pfizer Tomorrow" charset="0"/>
                          <a:ea typeface="微软雅黑" panose="020B0503020204020204" charset="-122"/>
                          <a:sym typeface="Pfizer Tomorrow" charset="0"/>
                        </a:rPr>
                        <a:t>%</a:t>
                      </a:r>
                      <a:r>
                        <a:rPr lang="zh-CN" altLang="en-US" sz="1200" b="1" spc="-10" dirty="0">
                          <a:solidFill>
                            <a:schemeClr val="accent1"/>
                          </a:solidFill>
                          <a:effectLst/>
                          <a:latin typeface="Pfizer Tomorrow" charset="0"/>
                          <a:ea typeface="微软雅黑" panose="020B0503020204020204" charset="-122"/>
                          <a:sym typeface="Pfizer Tomorrow" charset="0"/>
                        </a:rPr>
                        <a:t>）</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6350" cap="flat" cmpd="sng" algn="ctr">
                      <a:noFill/>
                      <a:prstDash val="solid"/>
                      <a:miter lim="800000"/>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zh-CN" altLang="en-US" sz="1200" b="1" spc="-10" dirty="0">
                          <a:solidFill>
                            <a:schemeClr val="accent1"/>
                          </a:solidFill>
                          <a:effectLst/>
                          <a:latin typeface="Pfizer Tomorrow" charset="0"/>
                          <a:ea typeface="微软雅黑" panose="020B0503020204020204" charset="-122"/>
                          <a:sym typeface="Pfizer Tomorrow" charset="0"/>
                        </a:rPr>
                        <a:t>所有患者</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dirty="0" err="1">
                          <a:solidFill>
                            <a:schemeClr val="accent1"/>
                          </a:solidFill>
                          <a:effectLst/>
                          <a:latin typeface="Pfizer Tomorrow" charset="0"/>
                          <a:ea typeface="微软雅黑" panose="020B0503020204020204" charset="-122"/>
                          <a:sym typeface="Pfizer Tomorrow" charset="0"/>
                        </a:rPr>
                        <a:t>cIAI</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a:solidFill>
                            <a:schemeClr val="accent1"/>
                          </a:solidFill>
                          <a:effectLst/>
                          <a:latin typeface="Pfizer Tomorrow" charset="0"/>
                          <a:ea typeface="微软雅黑" panose="020B0503020204020204" charset="-122"/>
                          <a:sym typeface="Pfizer Tomorrow" charset="0"/>
                        </a:rPr>
                        <a:t>HAP/VAP</a:t>
                      </a:r>
                      <a:endParaRPr lang="zh-CN" sz="1200" b="1" spc="-1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r>
              <a:tr h="679374">
                <a:tc vMerge="1">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甲硝唑</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275)</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137)</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endParaRPr lang="zh-CN" altLang="en-US" sz="1200" b="1" dirty="0">
                        <a:solidFill>
                          <a:schemeClr val="accent1"/>
                        </a:solidFill>
                        <a:latin typeface="Pfizer Tomorrow" charset="0"/>
                        <a:ea typeface="微软雅黑" panose="020B0503020204020204" charset="-122"/>
                        <a:sym typeface="Pfizer Tomorrow" charset="0"/>
                      </a:endParaRPr>
                    </a:p>
                    <a:p>
                      <a:pPr algn="ct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甲硝唑</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203)</a:t>
                      </a:r>
                      <a:endParaRPr lang="en-US" altLang="zh-CN"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algn="ct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103)</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72)</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34)</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r>
                        <a:rPr lang="zh-CN" altLang="en-US" sz="1000" b="0" kern="1200" spc="-10">
                          <a:solidFill>
                            <a:schemeClr val="tx1">
                              <a:lumMod val="75000"/>
                              <a:lumOff val="25000"/>
                            </a:schemeClr>
                          </a:solidFill>
                          <a:effectLst/>
                          <a:latin typeface="Pfizer Tomorrow" charset="0"/>
                          <a:ea typeface="微软雅黑" panose="020B0503020204020204" charset="-122"/>
                          <a:sym typeface="Pfizer Tomorrow" charset="0"/>
                        </a:rPr>
                        <a:t>不良事件</a:t>
                      </a:r>
                      <a:endParaRPr lang="zh-CN" altLang="en-US" sz="1000" b="0" kern="1200" spc="-1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77 (64%)</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87 (64%)</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dirty="0">
                          <a:solidFill>
                            <a:schemeClr val="tx1">
                              <a:lumMod val="75000"/>
                              <a:lumOff val="25000"/>
                            </a:schemeClr>
                          </a:solidFill>
                          <a:effectLst/>
                          <a:latin typeface="Pfizer Tomorrow" charset="0"/>
                          <a:ea typeface="微软雅黑" panose="020B0503020204020204" charset="-122"/>
                          <a:sym typeface="Pfizer Tomorrow" charset="0"/>
                        </a:rPr>
                        <a:t>120 (59%)</a:t>
                      </a:r>
                      <a:endParaRPr lang="zh-CN" sz="1000" b="0" spc="-10" dirty="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8 (56%)</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7 (7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9 (8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b="0" kern="1200" spc="-10">
                          <a:solidFill>
                            <a:schemeClr val="tx1">
                              <a:lumMod val="75000"/>
                              <a:lumOff val="25000"/>
                            </a:schemeClr>
                          </a:solidFill>
                          <a:effectLst/>
                          <a:latin typeface="Pfizer Tomorrow" charset="0"/>
                          <a:ea typeface="微软雅黑" panose="020B0503020204020204" charset="-122"/>
                          <a:sym typeface="Pfizer Tomorrow" charset="0"/>
                        </a:rPr>
                        <a:t>严重不良事件</a:t>
                      </a:r>
                      <a:endParaRPr lang="zh-CN" altLang="en-US" sz="1000" b="0" kern="1200" spc="-1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3 (1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5 (18%)</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33 (16%)</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3 (13%)</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0 (28%)</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2 (3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b="0" kern="1200" spc="-10" dirty="0">
                          <a:solidFill>
                            <a:schemeClr val="tx1">
                              <a:lumMod val="75000"/>
                              <a:lumOff val="25000"/>
                            </a:schemeClr>
                          </a:solidFill>
                          <a:effectLst/>
                          <a:latin typeface="Pfizer Tomorrow" charset="0"/>
                          <a:ea typeface="微软雅黑" panose="020B0503020204020204" charset="-122"/>
                          <a:sym typeface="Pfizer Tomorrow" charset="0"/>
                        </a:rPr>
                        <a:t>重度不良事件</a:t>
                      </a:r>
                      <a:endParaRPr lang="zh-CN" altLang="en-US" sz="1000" b="0" kern="1200" spc="-10" dirty="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41 (1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6 (12%)</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0 (10%)</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 (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1 (2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dirty="0">
                          <a:solidFill>
                            <a:schemeClr val="tx1">
                              <a:lumMod val="75000"/>
                              <a:lumOff val="25000"/>
                            </a:schemeClr>
                          </a:solidFill>
                          <a:effectLst/>
                          <a:latin typeface="Pfizer Tomorrow" charset="0"/>
                          <a:ea typeface="微软雅黑" panose="020B0503020204020204" charset="-122"/>
                          <a:sym typeface="Pfizer Tomorrow" charset="0"/>
                        </a:rPr>
                        <a:t>11 (32%)</a:t>
                      </a:r>
                      <a:endParaRPr lang="zh-CN" sz="1000" b="0" spc="-10" dirty="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角 5"/>
          <p:cNvSpPr/>
          <p:nvPr/>
        </p:nvSpPr>
        <p:spPr>
          <a:xfrm>
            <a:off x="587375" y="1720850"/>
            <a:ext cx="11017250" cy="2952750"/>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8" name="矩形: 圆角 7"/>
          <p:cNvSpPr/>
          <p:nvPr/>
        </p:nvSpPr>
        <p:spPr>
          <a:xfrm>
            <a:off x="790575" y="1995488"/>
            <a:ext cx="2336800" cy="2566988"/>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0" name="矩形: 圆角 9"/>
          <p:cNvSpPr/>
          <p:nvPr/>
        </p:nvSpPr>
        <p:spPr>
          <a:xfrm>
            <a:off x="3549650" y="2325688"/>
            <a:ext cx="4319588" cy="487363"/>
          </a:xfrm>
          <a:prstGeom prst="roundRect">
            <a:avLst>
              <a:gd name="adj" fmla="val 1019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40" name="矩形: 圆角 39"/>
          <p:cNvSpPr/>
          <p:nvPr/>
        </p:nvSpPr>
        <p:spPr>
          <a:xfrm>
            <a:off x="3549650" y="3775075"/>
            <a:ext cx="4319588" cy="488950"/>
          </a:xfrm>
          <a:prstGeom prst="roundRect">
            <a:avLst>
              <a:gd name="adj" fmla="val 1019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42" name="矩形: 圆角 41"/>
          <p:cNvSpPr/>
          <p:nvPr/>
        </p:nvSpPr>
        <p:spPr>
          <a:xfrm>
            <a:off x="8072438" y="1995488"/>
            <a:ext cx="3328988" cy="2566988"/>
          </a:xfrm>
          <a:prstGeom prst="roundRect">
            <a:avLst>
              <a:gd name="adj" fmla="val 3577"/>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52" name="矩形: 圆顶角 51"/>
          <p:cNvSpPr/>
          <p:nvPr/>
        </p:nvSpPr>
        <p:spPr>
          <a:xfrm>
            <a:off x="1450975" y="1374775"/>
            <a:ext cx="9309100" cy="358775"/>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ASSEMBL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研究设计</a:t>
            </a:r>
            <a:r>
              <a:rPr kumimoji="0" lang="en-US" altLang="zh-CN"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68615" name="标题 6"/>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ASSEMBLE研究</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评估</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产MBL的GNB严重感染的疗效、安全性及耐受性</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 name="文本框 4"/>
          <p:cNvSpPr txBox="1"/>
          <p:nvPr/>
        </p:nvSpPr>
        <p:spPr>
          <a:xfrm>
            <a:off x="687388" y="6324600"/>
            <a:ext cx="10672763" cy="338138"/>
          </a:xfrm>
          <a:prstGeom prst="rect">
            <a:avLst/>
          </a:prstGeom>
          <a:noFill/>
        </p:spPr>
        <p:txBody>
          <a:bodyPr wrap="square">
            <a:spAutoFit/>
          </a:bodyPr>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a:t>
            </a:r>
            <a:r>
              <a:rPr lang="en-US" altLang="zh-CN" sz="800" dirty="0" err="1">
                <a:latin typeface="Pfizer Tomorrow" charset="0"/>
                <a:ea typeface="微软雅黑" panose="020B0503020204020204" charset="-122"/>
                <a:sym typeface="Pfizer Tomorrow" charset="0"/>
              </a:rPr>
              <a:t>ClinicalTrials.gov.https</a:t>
            </a:r>
            <a:r>
              <a:rPr lang="en-US" altLang="zh-CN" sz="800" dirty="0">
                <a:latin typeface="Pfizer Tomorrow" charset="0"/>
                <a:ea typeface="微软雅黑" panose="020B0503020204020204" charset="-122"/>
                <a:sym typeface="Pfizer Tomorrow" charset="0"/>
              </a:rPr>
              <a:t>://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    G.L. </a:t>
            </a:r>
            <a:r>
              <a:rPr lang="en-US" altLang="zh-CN" sz="800" dirty="0" err="1">
                <a:latin typeface="Pfizer Tomorrow" charset="0"/>
                <a:ea typeface="微软雅黑" panose="020B0503020204020204" charset="-122"/>
                <a:sym typeface="Pfizer Tomorrow" charset="0"/>
              </a:rPr>
              <a:t>Daikos</a:t>
            </a:r>
            <a:r>
              <a:rPr lang="en-US" altLang="zh-CN" sz="800" dirty="0">
                <a:latin typeface="Pfizer Tomorrow" charset="0"/>
                <a:ea typeface="微软雅黑" panose="020B0503020204020204" charset="-122"/>
                <a:sym typeface="Pfizer Tomorrow" charset="0"/>
              </a:rPr>
              <a:t>, et al. Poster presented at: European Congress of Clinical Microbiology and Infectious Diseases(E0846); April 27-30, 2024; Barcelona, Spain.</a:t>
            </a:r>
            <a:endParaRPr lang="en-US" altLang="zh-CN" sz="800" dirty="0">
              <a:latin typeface="Pfizer Tomorrow" charset="0"/>
              <a:ea typeface="微软雅黑" panose="020B0503020204020204" charset="-122"/>
              <a:sym typeface="Pfizer Tomorrow" charset="0"/>
            </a:endParaRPr>
          </a:p>
        </p:txBody>
      </p:sp>
      <p:sp>
        <p:nvSpPr>
          <p:cNvPr id="68617" name="文本框 10"/>
          <p:cNvSpPr txBox="1"/>
          <p:nvPr/>
        </p:nvSpPr>
        <p:spPr>
          <a:xfrm>
            <a:off x="1177925" y="2808288"/>
            <a:ext cx="1560513" cy="307975"/>
          </a:xfrm>
          <a:prstGeom prst="rect">
            <a:avLst/>
          </a:prstGeom>
          <a:noFill/>
          <a:ln w="9525">
            <a:noFill/>
          </a:ln>
        </p:spPr>
        <p:txBody>
          <a:bodyPr wrap="square" anchor="t" anchorCtr="0">
            <a:spAutoFit/>
          </a:bodyPr>
          <a:p>
            <a:pPr algn="ctr"/>
            <a:r>
              <a:rPr lang="zh-CN" altLang="en-US" sz="1400" b="1">
                <a:solidFill>
                  <a:schemeClr val="accent1"/>
                </a:solidFill>
                <a:latin typeface="Pfizer Tomorrow" charset="0"/>
                <a:ea typeface="微软雅黑" panose="020B0503020204020204" charset="-122"/>
                <a:sym typeface="Pfizer Tomorrow" charset="0"/>
              </a:rPr>
              <a:t>（</a:t>
            </a:r>
            <a:r>
              <a:rPr lang="en-US" altLang="zh-CN" sz="1400" b="1">
                <a:solidFill>
                  <a:schemeClr val="accent1"/>
                </a:solidFill>
                <a:latin typeface="Pfizer Tomorrow" charset="0"/>
                <a:ea typeface="微软雅黑" panose="020B0503020204020204" charset="-122"/>
                <a:sym typeface="Pfizer Tomorrow" charset="0"/>
              </a:rPr>
              <a:t>N=15</a:t>
            </a:r>
            <a:r>
              <a:rPr lang="zh-CN" altLang="en-US" sz="1400" b="1">
                <a:solidFill>
                  <a:schemeClr val="accent1"/>
                </a:solidFill>
                <a:latin typeface="Pfizer Tomorrow" charset="0"/>
                <a:ea typeface="微软雅黑" panose="020B0503020204020204" charset="-122"/>
                <a:sym typeface="Pfizer Tomorrow" charset="0"/>
              </a:rPr>
              <a:t>）</a:t>
            </a:r>
            <a:endParaRPr lang="zh-CN" altLang="en-US" sz="1400" b="1">
              <a:solidFill>
                <a:schemeClr val="accent1"/>
              </a:solidFill>
              <a:latin typeface="Pfizer Tomorrow" charset="0"/>
              <a:ea typeface="微软雅黑" panose="020B0503020204020204" charset="-122"/>
              <a:sym typeface="Pfizer Tomorrow" charset="0"/>
            </a:endParaRPr>
          </a:p>
        </p:txBody>
      </p:sp>
      <p:sp>
        <p:nvSpPr>
          <p:cNvPr id="68618" name="文本框 35"/>
          <p:cNvSpPr txBox="1"/>
          <p:nvPr/>
        </p:nvSpPr>
        <p:spPr>
          <a:xfrm>
            <a:off x="3357563" y="3168650"/>
            <a:ext cx="1522412" cy="317500"/>
          </a:xfrm>
          <a:prstGeom prst="rect">
            <a:avLst/>
          </a:prstGeom>
          <a:noFill/>
          <a:ln w="9525">
            <a:noFill/>
          </a:ln>
        </p:spPr>
        <p:txBody>
          <a:bodyPr wrap="none" lIns="45720" tIns="45720" rIns="45720" bIns="45720" anchor="ctr" anchorCtr="0"/>
          <a:p>
            <a:pPr>
              <a:lnSpc>
                <a:spcPct val="90000"/>
              </a:lnSpc>
              <a:spcBef>
                <a:spcPts val="1000"/>
              </a:spcBef>
            </a:pPr>
            <a:r>
              <a:rPr lang="en-US" altLang="zh-CN" sz="1200">
                <a:solidFill>
                  <a:srgbClr val="404040"/>
                </a:solidFill>
                <a:latin typeface="Pfizer Tomorrow" charset="0"/>
                <a:ea typeface="微软雅黑" panose="020B0503020204020204" charset="-122"/>
                <a:sym typeface="Pfizer Tomorrow" charset="0"/>
              </a:rPr>
              <a:t>2:1</a:t>
            </a:r>
            <a:r>
              <a:rPr lang="zh-CN" altLang="en-US" sz="1200">
                <a:solidFill>
                  <a:srgbClr val="404040"/>
                </a:solidFill>
                <a:latin typeface="Pfizer Tomorrow" charset="0"/>
                <a:ea typeface="微软雅黑" panose="020B0503020204020204" charset="-122"/>
                <a:sym typeface="Pfizer Tomorrow" charset="0"/>
              </a:rPr>
              <a:t>随机分组</a:t>
            </a:r>
            <a:endParaRPr lang="zh-CN" altLang="en-US" sz="1200">
              <a:solidFill>
                <a:srgbClr val="404040"/>
              </a:solidFill>
              <a:latin typeface="Pfizer Tomorrow" charset="0"/>
              <a:ea typeface="微软雅黑" panose="020B0503020204020204" charset="-122"/>
              <a:sym typeface="Pfizer Tomorrow" charset="0"/>
            </a:endParaRPr>
          </a:p>
        </p:txBody>
      </p:sp>
      <p:sp>
        <p:nvSpPr>
          <p:cNvPr id="68619" name="文本框 37"/>
          <p:cNvSpPr txBox="1"/>
          <p:nvPr/>
        </p:nvSpPr>
        <p:spPr>
          <a:xfrm>
            <a:off x="3548063" y="4281488"/>
            <a:ext cx="4244975" cy="276225"/>
          </a:xfrm>
          <a:prstGeom prst="rect">
            <a:avLst/>
          </a:prstGeom>
          <a:noFill/>
          <a:ln w="9525">
            <a:noFill/>
          </a:ln>
        </p:spPr>
        <p:txBody>
          <a:bodyPr wrap="square" anchor="t" anchorCtr="0">
            <a:spAutoFit/>
          </a:bodyPr>
          <a:p>
            <a:pPr defTabSz="914400">
              <a:buNone/>
            </a:pPr>
            <a:r>
              <a:rPr lang="zh-CN" altLang="en-US" sz="1200" dirty="0">
                <a:solidFill>
                  <a:srgbClr val="404040"/>
                </a:solidFill>
                <a:latin typeface="Pfizer Tomorrow" charset="0"/>
                <a:ea typeface="微软雅黑" panose="020B0503020204020204" charset="-122"/>
                <a:sym typeface="Pfizer Tomorrow" charset="0"/>
              </a:rPr>
              <a:t>最短治疗时间：</a:t>
            </a:r>
            <a:r>
              <a:rPr lang="en-US" altLang="zh-CN" sz="1200" dirty="0" err="1">
                <a:solidFill>
                  <a:srgbClr val="404040"/>
                </a:solidFill>
                <a:latin typeface="Pfizer Tomorrow" charset="0"/>
                <a:ea typeface="微软雅黑" panose="020B0503020204020204" charset="-122"/>
                <a:sym typeface="Pfizer Tomorrow" charset="0"/>
              </a:rPr>
              <a:t>cIAI</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5-14</a:t>
            </a:r>
            <a:r>
              <a:rPr lang="zh-CN" altLang="en-US" sz="1200" dirty="0">
                <a:solidFill>
                  <a:srgbClr val="404040"/>
                </a:solidFill>
                <a:latin typeface="Pfizer Tomorrow" charset="0"/>
                <a:ea typeface="微软雅黑" panose="020B0503020204020204" charset="-122"/>
                <a:sym typeface="Pfizer Tomorrow" charset="0"/>
              </a:rPr>
              <a:t>天，</a:t>
            </a:r>
            <a:r>
              <a:rPr lang="en-US" altLang="zh-CN" sz="1200" dirty="0">
                <a:solidFill>
                  <a:srgbClr val="404040"/>
                </a:solidFill>
                <a:latin typeface="Pfizer Tomorrow" charset="0"/>
                <a:ea typeface="微软雅黑" panose="020B0503020204020204" charset="-122"/>
                <a:sym typeface="Pfizer Tomorrow" charset="0"/>
              </a:rPr>
              <a:t>HAP/VAP</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7-14</a:t>
            </a:r>
            <a:r>
              <a:rPr lang="zh-CN" altLang="en-US" sz="1200" dirty="0">
                <a:solidFill>
                  <a:srgbClr val="404040"/>
                </a:solidFill>
                <a:latin typeface="Pfizer Tomorrow" charset="0"/>
                <a:ea typeface="微软雅黑" panose="020B0503020204020204" charset="-122"/>
                <a:sym typeface="Pfizer Tomorrow" charset="0"/>
              </a:rPr>
              <a:t>天</a:t>
            </a:r>
            <a:endParaRPr lang="en-US" altLang="zh-CN" sz="1200" dirty="0">
              <a:solidFill>
                <a:srgbClr val="404040"/>
              </a:solidFill>
              <a:latin typeface="Pfizer Tomorrow" charset="0"/>
              <a:ea typeface="微软雅黑" panose="020B0503020204020204" charset="-122"/>
              <a:sym typeface="Pfizer Tomorrow" charset="0"/>
            </a:endParaRPr>
          </a:p>
        </p:txBody>
      </p:sp>
      <p:sp>
        <p:nvSpPr>
          <p:cNvPr id="48" name="文本框 47"/>
          <p:cNvSpPr txBox="1"/>
          <p:nvPr/>
        </p:nvSpPr>
        <p:spPr>
          <a:xfrm>
            <a:off x="682625" y="5678488"/>
            <a:ext cx="11083925" cy="465138"/>
          </a:xfrm>
          <a:prstGeom prst="rect">
            <a:avLst/>
          </a:prstGeom>
          <a:noFill/>
        </p:spPr>
        <p:txBody>
          <a:bodyPr wrap="square">
            <a:spAutoFit/>
          </a:bodyPr>
          <a:p>
            <a:pPr defTabSz="1075055">
              <a:lnSpc>
                <a:spcPct val="115000"/>
              </a:lnSpc>
              <a:spcAft>
                <a:spcPts val="1200"/>
              </a:spcAft>
              <a:buNone/>
            </a:pPr>
            <a:r>
              <a:rPr lang="en-US" altLang="zh-CN" sz="1100" baseline="0" dirty="0">
                <a:solidFill>
                  <a:srgbClr val="595959"/>
                </a:solidFill>
                <a:latin typeface="Pfizer Tomorrow" charset="0"/>
                <a:ea typeface="微软雅黑" panose="020B0503020204020204" charset="-122"/>
                <a:sym typeface="Pfizer Tomorrow" charset="0"/>
              </a:rPr>
              <a:t>MBL</a:t>
            </a:r>
            <a:r>
              <a:rPr lang="zh-CN" altLang="en-US" sz="1100" baseline="0" dirty="0">
                <a:solidFill>
                  <a:srgbClr val="595959"/>
                </a:solidFill>
                <a:latin typeface="Pfizer Tomorrow" charset="0"/>
                <a:ea typeface="微软雅黑" panose="020B0503020204020204" charset="-122"/>
                <a:sym typeface="Pfizer Tomorrow" charset="0"/>
              </a:rPr>
              <a:t>：金属</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en-US" altLang="zh-CN" sz="1100" baseline="0" dirty="0">
                <a:solidFill>
                  <a:srgbClr val="595959"/>
                </a:solidFill>
                <a:latin typeface="Pfizer Tomorrow" charset="0"/>
                <a:ea typeface="微软雅黑" panose="020B0503020204020204" charset="-122"/>
                <a:sym typeface="Pfizer Tomorrow" charset="0"/>
              </a:rPr>
              <a:t>GNB</a:t>
            </a:r>
            <a:r>
              <a:rPr lang="zh-CN" altLang="en-US" sz="1100" dirty="0">
                <a:solidFill>
                  <a:srgbClr val="595959"/>
                </a:solidFill>
                <a:latin typeface="Pfizer Tomorrow" charset="0"/>
                <a:ea typeface="微软雅黑" panose="020B0503020204020204" charset="-122"/>
                <a:sym typeface="Pfizer Tomorrow" charset="0"/>
              </a:rPr>
              <a:t>：革</a:t>
            </a:r>
            <a:r>
              <a:rPr lang="zh-CN" altLang="en-US" sz="1100" baseline="0" dirty="0">
                <a:solidFill>
                  <a:srgbClr val="595959"/>
                </a:solidFill>
                <a:latin typeface="Pfizer Tomorrow" charset="0"/>
                <a:ea typeface="微软雅黑" panose="020B0503020204020204" charset="-122"/>
                <a:sym typeface="Pfizer Tomorrow" charset="0"/>
              </a:rPr>
              <a:t>兰阴性菌</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baseline="0" dirty="0" err="1">
                <a:solidFill>
                  <a:srgbClr val="595959"/>
                </a:solidFill>
                <a:latin typeface="Pfizer Tomorrow" charset="0"/>
                <a:ea typeface="微软雅黑" panose="020B0503020204020204" charset="-122"/>
                <a:sym typeface="Pfizer Tomorrow" charset="0"/>
              </a:rPr>
              <a:t>cIAI</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EOT</a:t>
            </a:r>
            <a:r>
              <a:rPr lang="zh-CN" altLang="en-US" sz="1100" baseline="0" dirty="0">
                <a:solidFill>
                  <a:srgbClr val="595959"/>
                </a:solidFill>
                <a:latin typeface="Pfizer Tomorrow" charset="0"/>
                <a:ea typeface="微软雅黑" panose="020B0503020204020204" charset="-122"/>
                <a:sym typeface="Pfizer Tomorrow" charset="0"/>
              </a:rPr>
              <a:t>：治疗结束</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 HAP</a:t>
            </a:r>
            <a:r>
              <a:rPr lang="zh-CN" altLang="en-US" sz="1100" baseline="0" dirty="0">
                <a:solidFill>
                  <a:srgbClr val="595959"/>
                </a:solidFill>
                <a:latin typeface="Pfizer Tomorrow" charset="0"/>
                <a:ea typeface="微软雅黑" panose="020B0503020204020204" charset="-122"/>
                <a:sym typeface="Pfizer Tomorrow" charset="0"/>
              </a:rPr>
              <a:t>：医院获得性肺炎</a:t>
            </a:r>
            <a:r>
              <a:rPr lang="en-US" altLang="zh-CN" sz="1100" baseline="0" dirty="0">
                <a:solidFill>
                  <a:srgbClr val="595959"/>
                </a:solidFill>
                <a:latin typeface="Pfizer Tomorrow" charset="0"/>
                <a:ea typeface="微软雅黑" panose="020B0503020204020204" charset="-122"/>
                <a:sym typeface="Pfizer Tomorrow" charset="0"/>
              </a:rPr>
              <a:t>; VAP</a:t>
            </a:r>
            <a:r>
              <a:rPr lang="zh-CN" altLang="en-US" sz="1100" baseline="0" dirty="0">
                <a:solidFill>
                  <a:srgbClr val="595959"/>
                </a:solidFill>
                <a:latin typeface="Pfizer Tomorrow" charset="0"/>
                <a:ea typeface="微软雅黑" panose="020B0503020204020204" charset="-122"/>
                <a:sym typeface="Pfizer Tomorrow" charset="0"/>
              </a:rPr>
              <a:t>：呼吸机相关性肺炎</a:t>
            </a:r>
            <a:r>
              <a:rPr lang="en-US" altLang="zh-CN"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 ITT</a:t>
            </a:r>
            <a:r>
              <a:rPr lang="zh-CN" altLang="en-US" sz="1100" baseline="0" dirty="0">
                <a:solidFill>
                  <a:srgbClr val="595959"/>
                </a:solidFill>
                <a:latin typeface="Pfizer Tomorrow" charset="0"/>
                <a:ea typeface="微软雅黑" panose="020B0503020204020204" charset="-122"/>
                <a:sym typeface="Pfizer Tomorrow" charset="0"/>
              </a:rPr>
              <a:t>：意向性治疗</a:t>
            </a:r>
            <a:r>
              <a:rPr lang="en-US" altLang="zh-CN" sz="1100" baseline="0" dirty="0">
                <a:solidFill>
                  <a:srgbClr val="595959"/>
                </a:solidFill>
                <a:latin typeface="Pfizer Tomorrow" charset="0"/>
                <a:ea typeface="微软雅黑" panose="020B0503020204020204" charset="-122"/>
                <a:sym typeface="Pfizer Tomorrow" charset="0"/>
              </a:rPr>
              <a:t>; TOC</a:t>
            </a:r>
            <a:r>
              <a:rPr lang="zh-CN" altLang="en-US" sz="1100" baseline="0" dirty="0">
                <a:solidFill>
                  <a:srgbClr val="595959"/>
                </a:solidFill>
                <a:latin typeface="Pfizer Tomorrow" charset="0"/>
                <a:ea typeface="微软雅黑" panose="020B0503020204020204" charset="-122"/>
                <a:sym typeface="Pfizer Tomorrow" charset="0"/>
              </a:rPr>
              <a:t>：治愈访视；</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baseline="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a:t>
            </a:r>
            <a:r>
              <a:rPr lang="zh-CN" altLang="en-US" sz="1100" baseline="0" dirty="0">
                <a:solidFill>
                  <a:srgbClr val="595959"/>
                </a:solidFill>
                <a:latin typeface="Pfizer Tomorrow" charset="0"/>
                <a:ea typeface="微软雅黑" panose="020B0503020204020204" charset="-122"/>
                <a:sym typeface="Pfizer Tomorrow" charset="0"/>
              </a:rPr>
              <a:t>微生物学意向治疗</a:t>
            </a:r>
            <a:r>
              <a:rPr lang="en-US" altLang="zh-CN" sz="1100" baseline="0" dirty="0">
                <a:solidFill>
                  <a:srgbClr val="595959"/>
                </a:solidFill>
                <a:latin typeface="Pfizer Tomorrow" charset="0"/>
                <a:ea typeface="微软雅黑" panose="020B0503020204020204" charset="-122"/>
                <a:sym typeface="Pfizer Tomorrow" charset="0"/>
              </a:rPr>
              <a:t>; BAT</a:t>
            </a:r>
            <a:r>
              <a:rPr lang="zh-CN" altLang="en-US" sz="1100" baseline="0" dirty="0">
                <a:solidFill>
                  <a:srgbClr val="595959"/>
                </a:solidFill>
                <a:latin typeface="Pfizer Tomorrow" charset="0"/>
                <a:ea typeface="微软雅黑" panose="020B0503020204020204" charset="-122"/>
                <a:sym typeface="Pfizer Tomorrow" charset="0"/>
              </a:rPr>
              <a:t>：最佳可用疗法</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dirty="0">
                <a:solidFill>
                  <a:srgbClr val="595959"/>
                </a:solidFill>
                <a:latin typeface="Pfizer Tomorrow" charset="0"/>
                <a:ea typeface="微软雅黑" panose="020B0503020204020204" charset="-122"/>
                <a:sym typeface="Pfizer Tomorrow" charset="0"/>
              </a:rPr>
              <a:t>; ME</a:t>
            </a:r>
            <a:r>
              <a:rPr lang="zh-CN" altLang="en-US" sz="1100" dirty="0">
                <a:solidFill>
                  <a:srgbClr val="595959"/>
                </a:solidFill>
                <a:latin typeface="Pfizer Tomorrow" charset="0"/>
                <a:ea typeface="微软雅黑" panose="020B0503020204020204" charset="-122"/>
                <a:sym typeface="Pfizer Tomorrow" charset="0"/>
              </a:rPr>
              <a:t>：微生物学可评估</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68621" name="文本框 1"/>
          <p:cNvSpPr txBox="1"/>
          <p:nvPr/>
        </p:nvSpPr>
        <p:spPr>
          <a:xfrm>
            <a:off x="682625" y="5014913"/>
            <a:ext cx="11017250" cy="484187"/>
          </a:xfrm>
          <a:prstGeom prst="rect">
            <a:avLst/>
          </a:prstGeom>
          <a:noFill/>
          <a:ln w="9525">
            <a:noFill/>
          </a:ln>
        </p:spPr>
        <p:txBody>
          <a:bodyPr wrap="square" anchor="t" anchorCtr="0">
            <a:spAutoFit/>
          </a:bodyPr>
          <a:p>
            <a:pPr algn="just">
              <a:lnSpc>
                <a:spcPct val="110000"/>
              </a:lnSpc>
            </a:pPr>
            <a:r>
              <a:rPr lang="zh-CN" altLang="en-US" sz="1200" dirty="0">
                <a:latin typeface="Pfizer Tomorrow" charset="0"/>
                <a:ea typeface="微软雅黑" panose="020B0503020204020204" charset="-122"/>
                <a:sym typeface="Pfizer Tomorrow" charset="0"/>
              </a:rPr>
              <a:t>一项前瞻性、随机、多中心、开放标签、平行分组对照试验，纳入了</a:t>
            </a:r>
            <a:r>
              <a:rPr lang="en-US" altLang="zh-CN" sz="1200" dirty="0">
                <a:latin typeface="Pfizer Tomorrow" charset="0"/>
                <a:ea typeface="微软雅黑" panose="020B0503020204020204" charset="-122"/>
                <a:sym typeface="Pfizer Tomorrow" charset="0"/>
              </a:rPr>
              <a:t>9</a:t>
            </a:r>
            <a:r>
              <a:rPr lang="zh-CN" altLang="en-US" sz="1200" dirty="0">
                <a:latin typeface="Pfizer Tomorrow" charset="0"/>
                <a:ea typeface="微软雅黑" panose="020B0503020204020204" charset="-122"/>
                <a:sym typeface="Pfizer Tomorrow" charset="0"/>
              </a:rPr>
              <a:t>个国家的</a:t>
            </a:r>
            <a:r>
              <a:rPr lang="en-US" altLang="zh-CN" sz="1200" dirty="0">
                <a:latin typeface="Pfizer Tomorrow" charset="0"/>
                <a:ea typeface="微软雅黑" panose="020B0503020204020204" charset="-122"/>
                <a:sym typeface="Pfizer Tomorrow" charset="0"/>
              </a:rPr>
              <a:t>12</a:t>
            </a:r>
            <a:r>
              <a:rPr lang="zh-CN" altLang="en-US" sz="1200" dirty="0">
                <a:latin typeface="Pfizer Tomorrow" charset="0"/>
                <a:ea typeface="微软雅黑" panose="020B0503020204020204" charset="-122"/>
                <a:sym typeface="Pfizer Tomorrow" charset="0"/>
              </a:rPr>
              <a:t>个治疗中心的</a:t>
            </a:r>
            <a:r>
              <a:rPr lang="en-US" altLang="zh-CN" sz="1200" dirty="0">
                <a:latin typeface="Pfizer Tomorrow" charset="0"/>
                <a:ea typeface="微软雅黑" panose="020B0503020204020204" charset="-122"/>
                <a:sym typeface="Pfizer Tomorrow" charset="0"/>
              </a:rPr>
              <a:t>15</a:t>
            </a:r>
            <a:r>
              <a:rPr lang="zh-CN" altLang="en-US" sz="1200" dirty="0">
                <a:latin typeface="Pfizer Tomorrow" charset="0"/>
                <a:ea typeface="微软雅黑" panose="020B0503020204020204" charset="-122"/>
                <a:sym typeface="Pfizer Tomorrow" charset="0"/>
              </a:rPr>
              <a:t>例因产</a:t>
            </a:r>
            <a:r>
              <a:rPr lang="en-US" altLang="zh-CN" sz="1200" dirty="0">
                <a:latin typeface="Pfizer Tomorrow" charset="0"/>
                <a:ea typeface="微软雅黑" panose="020B0503020204020204" charset="-122"/>
                <a:sym typeface="Pfizer Tomorrow" charset="0"/>
              </a:rPr>
              <a:t>MBL</a:t>
            </a:r>
            <a:r>
              <a:rPr lang="zh-CN" altLang="en-US" sz="1200" dirty="0">
                <a:latin typeface="Pfizer Tomorrow" charset="0"/>
                <a:ea typeface="微软雅黑" panose="020B0503020204020204" charset="-122"/>
                <a:sym typeface="Pfizer Tomorrow" charset="0"/>
              </a:rPr>
              <a:t>的革兰阴性细菌导致的</a:t>
            </a:r>
            <a:r>
              <a:rPr lang="en-US" altLang="zh-CN" sz="1200" dirty="0">
                <a:latin typeface="Pfizer Tomorrow" charset="0"/>
                <a:ea typeface="微软雅黑" panose="020B0503020204020204" charset="-122"/>
                <a:sym typeface="Pfizer Tomorrow" charset="0"/>
              </a:rPr>
              <a:t>HAP/VAP</a:t>
            </a:r>
            <a:r>
              <a:rPr lang="zh-CN" altLang="en-US" sz="1200" dirty="0">
                <a:latin typeface="Pfizer Tomorrow" charset="0"/>
                <a:ea typeface="微软雅黑" panose="020B0503020204020204" charset="-122"/>
                <a:sym typeface="Pfizer Tomorrow" charset="0"/>
              </a:rPr>
              <a:t>、</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等成人住院患者，随机</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分为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治疗组和最佳可用疗法组，以评估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与现有最佳疗法的疗效、安全性和耐受性</a:t>
            </a:r>
            <a:endParaRPr lang="zh-CN" altLang="en-US" sz="1200" dirty="0">
              <a:latin typeface="Pfizer Tomorrow" charset="0"/>
              <a:ea typeface="微软雅黑" panose="020B0503020204020204" charset="-122"/>
              <a:sym typeface="Pfizer Tomorrow" charset="0"/>
            </a:endParaRPr>
          </a:p>
        </p:txBody>
      </p:sp>
      <p:sp>
        <p:nvSpPr>
          <p:cNvPr id="68622" name="文本框 3"/>
          <p:cNvSpPr txBox="1"/>
          <p:nvPr/>
        </p:nvSpPr>
        <p:spPr>
          <a:xfrm>
            <a:off x="819150" y="3263900"/>
            <a:ext cx="2295525" cy="846138"/>
          </a:xfrm>
          <a:prstGeom prst="rect">
            <a:avLst/>
          </a:prstGeom>
          <a:noFill/>
          <a:ln w="9525">
            <a:noFill/>
          </a:ln>
        </p:spPr>
        <p:txBody>
          <a:bodyPr wrap="square" anchor="t" anchorCtr="0">
            <a:spAutoFit/>
          </a:bodyPr>
          <a:p>
            <a:pPr marL="285750" indent="-179070" defTabSz="914400">
              <a:lnSpc>
                <a:spcPct val="120000"/>
              </a:lnSpc>
              <a:spcBef>
                <a:spcPts val="600"/>
              </a:spcBef>
              <a:buFont typeface="Arial" panose="020B0604020202090204" pitchFamily="34" charset="0"/>
              <a:buChar char="•"/>
            </a:pPr>
            <a:r>
              <a:rPr lang="zh-CN" altLang="en-US" sz="1400" dirty="0">
                <a:solidFill>
                  <a:schemeClr val="accent1"/>
                </a:solidFill>
                <a:latin typeface="Pfizer Tomorrow" charset="0"/>
                <a:ea typeface="微软雅黑" panose="020B0503020204020204" charset="-122"/>
                <a:sym typeface="Pfizer Tomorrow" charset="0"/>
              </a:rPr>
              <a:t>确诊为</a:t>
            </a:r>
            <a:r>
              <a:rPr lang="en-US" altLang="zh-CN" sz="1400" dirty="0">
                <a:solidFill>
                  <a:schemeClr val="accent1"/>
                </a:solidFill>
                <a:latin typeface="Pfizer Tomorrow" charset="0"/>
                <a:ea typeface="微软雅黑" panose="020B0503020204020204" charset="-122"/>
                <a:sym typeface="Pfizer Tomorrow" charset="0"/>
              </a:rPr>
              <a:t>MBL-GNB</a:t>
            </a:r>
            <a:r>
              <a:rPr lang="zh-CN" altLang="en-US" sz="1400" dirty="0">
                <a:solidFill>
                  <a:schemeClr val="accent1"/>
                </a:solidFill>
                <a:latin typeface="Pfizer Tomorrow" charset="0"/>
                <a:ea typeface="微软雅黑" panose="020B0503020204020204" charset="-122"/>
                <a:sym typeface="Pfizer Tomorrow" charset="0"/>
              </a:rPr>
              <a:t>感染的</a:t>
            </a:r>
            <a:r>
              <a:rPr lang="en-US" altLang="zh-CN" sz="1400" dirty="0" err="1">
                <a:solidFill>
                  <a:schemeClr val="accent1"/>
                </a:solidFill>
                <a:latin typeface="Pfizer Tomorrow" charset="0"/>
                <a:ea typeface="微软雅黑" panose="020B0503020204020204" charset="-122"/>
                <a:sym typeface="Pfizer Tomorrow" charset="0"/>
              </a:rPr>
              <a:t>cIAI</a:t>
            </a:r>
            <a:r>
              <a:rPr lang="zh-CN" altLang="en-US" sz="1400" dirty="0">
                <a:solidFill>
                  <a:schemeClr val="accent1"/>
                </a:solidFill>
                <a:latin typeface="Pfizer Tomorrow" charset="0"/>
                <a:ea typeface="微软雅黑" panose="020B0503020204020204" charset="-122"/>
                <a:sym typeface="Pfizer Tomorrow" charset="0"/>
              </a:rPr>
              <a:t>、</a:t>
            </a:r>
            <a:r>
              <a:rPr lang="en-US" altLang="zh-CN" sz="1400" dirty="0">
                <a:solidFill>
                  <a:schemeClr val="accent1"/>
                </a:solidFill>
                <a:latin typeface="Pfizer Tomorrow" charset="0"/>
                <a:ea typeface="微软雅黑" panose="020B0503020204020204" charset="-122"/>
                <a:sym typeface="Pfizer Tomorrow" charset="0"/>
              </a:rPr>
              <a:t>HAP/VAP</a:t>
            </a:r>
            <a:r>
              <a:rPr lang="zh-CN" altLang="en-US" sz="1400" dirty="0">
                <a:solidFill>
                  <a:schemeClr val="accent1"/>
                </a:solidFill>
                <a:latin typeface="Pfizer Tomorrow" charset="0"/>
                <a:ea typeface="微软雅黑" panose="020B0503020204020204" charset="-122"/>
                <a:sym typeface="Pfizer Tomorrow" charset="0"/>
              </a:rPr>
              <a:t>等成年住院患者</a:t>
            </a:r>
            <a:endParaRPr lang="en-AU" altLang="zh-CN" sz="1400" dirty="0">
              <a:solidFill>
                <a:schemeClr val="accent1"/>
              </a:solidFill>
              <a:latin typeface="Pfizer Tomorrow" charset="0"/>
              <a:ea typeface="微软雅黑" panose="020B0503020204020204" charset="-122"/>
              <a:sym typeface="Pfizer Tomorrow" charset="0"/>
            </a:endParaRPr>
          </a:p>
        </p:txBody>
      </p:sp>
      <p:sp>
        <p:nvSpPr>
          <p:cNvPr id="45" name="左大括号 44"/>
          <p:cNvSpPr/>
          <p:nvPr/>
        </p:nvSpPr>
        <p:spPr>
          <a:xfrm>
            <a:off x="3192463" y="2614613"/>
            <a:ext cx="307975" cy="1425575"/>
          </a:xfrm>
          <a:prstGeom prst="leftBrace">
            <a:avLst>
              <a:gd name="adj1" fmla="val 0"/>
              <a:gd name="adj2" fmla="val 50000"/>
            </a:avLst>
          </a:prstGeom>
          <a:ln w="158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grpSp>
        <p:nvGrpSpPr>
          <p:cNvPr id="12" name="Group 6"/>
          <p:cNvGrpSpPr>
            <a:grpSpLocks noChangeAspect="1"/>
          </p:cNvGrpSpPr>
          <p:nvPr/>
        </p:nvGrpSpPr>
        <p:grpSpPr bwMode="auto">
          <a:xfrm>
            <a:off x="1576895" y="2251051"/>
            <a:ext cx="763540" cy="450409"/>
            <a:chOff x="2939" y="1633"/>
            <a:chExt cx="1800" cy="1051"/>
          </a:xfrm>
          <a:solidFill>
            <a:schemeClr val="accent1"/>
          </a:solidFill>
        </p:grpSpPr>
        <p:sp>
          <p:nvSpPr>
            <p:cNvPr id="13" name="Freeform 7"/>
            <p:cNvSpPr/>
            <p:nvPr/>
          </p:nvSpPr>
          <p:spPr bwMode="auto">
            <a:xfrm>
              <a:off x="3650" y="1886"/>
              <a:ext cx="375" cy="328"/>
            </a:xfrm>
            <a:custGeom>
              <a:avLst/>
              <a:gdLst>
                <a:gd name="T0" fmla="*/ 23 w 159"/>
                <a:gd name="T1" fmla="*/ 51 h 139"/>
                <a:gd name="T2" fmla="*/ 25 w 159"/>
                <a:gd name="T3" fmla="*/ 47 h 139"/>
                <a:gd name="T4" fmla="*/ 25 w 159"/>
                <a:gd name="T5" fmla="*/ 54 h 139"/>
                <a:gd name="T6" fmla="*/ 56 w 159"/>
                <a:gd name="T7" fmla="*/ 139 h 139"/>
                <a:gd name="T8" fmla="*/ 104 w 159"/>
                <a:gd name="T9" fmla="*/ 139 h 139"/>
                <a:gd name="T10" fmla="*/ 135 w 159"/>
                <a:gd name="T11" fmla="*/ 54 h 139"/>
                <a:gd name="T12" fmla="*/ 135 w 159"/>
                <a:gd name="T13" fmla="*/ 47 h 139"/>
                <a:gd name="T14" fmla="*/ 137 w 159"/>
                <a:gd name="T15" fmla="*/ 51 h 139"/>
                <a:gd name="T16" fmla="*/ 159 w 159"/>
                <a:gd name="T17" fmla="*/ 26 h 139"/>
                <a:gd name="T18" fmla="*/ 150 w 159"/>
                <a:gd name="T19" fmla="*/ 15 h 139"/>
                <a:gd name="T20" fmla="*/ 122 w 159"/>
                <a:gd name="T21" fmla="*/ 0 h 139"/>
                <a:gd name="T22" fmla="*/ 120 w 159"/>
                <a:gd name="T23" fmla="*/ 0 h 139"/>
                <a:gd name="T24" fmla="*/ 120 w 159"/>
                <a:gd name="T25" fmla="*/ 0 h 139"/>
                <a:gd name="T26" fmla="*/ 118 w 159"/>
                <a:gd name="T27" fmla="*/ 0 h 139"/>
                <a:gd name="T28" fmla="*/ 116 w 159"/>
                <a:gd name="T29" fmla="*/ 0 h 139"/>
                <a:gd name="T30" fmla="*/ 43 w 159"/>
                <a:gd name="T31" fmla="*/ 0 h 139"/>
                <a:gd name="T32" fmla="*/ 41 w 159"/>
                <a:gd name="T33" fmla="*/ 0 h 139"/>
                <a:gd name="T34" fmla="*/ 39 w 159"/>
                <a:gd name="T35" fmla="*/ 0 h 139"/>
                <a:gd name="T36" fmla="*/ 39 w 159"/>
                <a:gd name="T37" fmla="*/ 0 h 139"/>
                <a:gd name="T38" fmla="*/ 38 w 159"/>
                <a:gd name="T39" fmla="*/ 0 h 139"/>
                <a:gd name="T40" fmla="*/ 9 w 159"/>
                <a:gd name="T41" fmla="*/ 15 h 139"/>
                <a:gd name="T42" fmla="*/ 0 w 159"/>
                <a:gd name="T43" fmla="*/ 26 h 139"/>
                <a:gd name="T44" fmla="*/ 23 w 159"/>
                <a:gd name="T4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139">
                  <a:moveTo>
                    <a:pt x="23" y="51"/>
                  </a:moveTo>
                  <a:cubicBezTo>
                    <a:pt x="24" y="49"/>
                    <a:pt x="24" y="48"/>
                    <a:pt x="25" y="47"/>
                  </a:cubicBezTo>
                  <a:cubicBezTo>
                    <a:pt x="25" y="54"/>
                    <a:pt x="25" y="54"/>
                    <a:pt x="25" y="54"/>
                  </a:cubicBezTo>
                  <a:cubicBezTo>
                    <a:pt x="37" y="72"/>
                    <a:pt x="48" y="100"/>
                    <a:pt x="56" y="139"/>
                  </a:cubicBezTo>
                  <a:cubicBezTo>
                    <a:pt x="104" y="139"/>
                    <a:pt x="104" y="139"/>
                    <a:pt x="104" y="139"/>
                  </a:cubicBezTo>
                  <a:cubicBezTo>
                    <a:pt x="111" y="100"/>
                    <a:pt x="123" y="72"/>
                    <a:pt x="135" y="54"/>
                  </a:cubicBezTo>
                  <a:cubicBezTo>
                    <a:pt x="135" y="47"/>
                    <a:pt x="135" y="47"/>
                    <a:pt x="135" y="47"/>
                  </a:cubicBezTo>
                  <a:cubicBezTo>
                    <a:pt x="135" y="48"/>
                    <a:pt x="136" y="49"/>
                    <a:pt x="137" y="51"/>
                  </a:cubicBezTo>
                  <a:cubicBezTo>
                    <a:pt x="144" y="40"/>
                    <a:pt x="152" y="32"/>
                    <a:pt x="159" y="26"/>
                  </a:cubicBezTo>
                  <a:cubicBezTo>
                    <a:pt x="156" y="22"/>
                    <a:pt x="153" y="18"/>
                    <a:pt x="150" y="15"/>
                  </a:cubicBezTo>
                  <a:cubicBezTo>
                    <a:pt x="142" y="6"/>
                    <a:pt x="132" y="1"/>
                    <a:pt x="122" y="0"/>
                  </a:cubicBezTo>
                  <a:cubicBezTo>
                    <a:pt x="121" y="0"/>
                    <a:pt x="121" y="0"/>
                    <a:pt x="120" y="0"/>
                  </a:cubicBezTo>
                  <a:cubicBezTo>
                    <a:pt x="120" y="0"/>
                    <a:pt x="120" y="0"/>
                    <a:pt x="120" y="0"/>
                  </a:cubicBezTo>
                  <a:cubicBezTo>
                    <a:pt x="119" y="0"/>
                    <a:pt x="119" y="0"/>
                    <a:pt x="118" y="0"/>
                  </a:cubicBezTo>
                  <a:cubicBezTo>
                    <a:pt x="117" y="0"/>
                    <a:pt x="117" y="0"/>
                    <a:pt x="116" y="0"/>
                  </a:cubicBezTo>
                  <a:cubicBezTo>
                    <a:pt x="43" y="0"/>
                    <a:pt x="43" y="0"/>
                    <a:pt x="43" y="0"/>
                  </a:cubicBezTo>
                  <a:cubicBezTo>
                    <a:pt x="43" y="0"/>
                    <a:pt x="42" y="0"/>
                    <a:pt x="41" y="0"/>
                  </a:cubicBezTo>
                  <a:cubicBezTo>
                    <a:pt x="41" y="0"/>
                    <a:pt x="40" y="0"/>
                    <a:pt x="39" y="0"/>
                  </a:cubicBezTo>
                  <a:cubicBezTo>
                    <a:pt x="39" y="0"/>
                    <a:pt x="39" y="0"/>
                    <a:pt x="39" y="0"/>
                  </a:cubicBezTo>
                  <a:cubicBezTo>
                    <a:pt x="39" y="0"/>
                    <a:pt x="38" y="0"/>
                    <a:pt x="38" y="0"/>
                  </a:cubicBezTo>
                  <a:cubicBezTo>
                    <a:pt x="27" y="1"/>
                    <a:pt x="17" y="6"/>
                    <a:pt x="9" y="15"/>
                  </a:cubicBezTo>
                  <a:cubicBezTo>
                    <a:pt x="6" y="18"/>
                    <a:pt x="3" y="22"/>
                    <a:pt x="0" y="26"/>
                  </a:cubicBezTo>
                  <a:cubicBezTo>
                    <a:pt x="8" y="32"/>
                    <a:pt x="15" y="40"/>
                    <a:pt x="23" y="5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4" name="Freeform 8"/>
            <p:cNvSpPr/>
            <p:nvPr/>
          </p:nvSpPr>
          <p:spPr bwMode="auto">
            <a:xfrm>
              <a:off x="3709" y="2231"/>
              <a:ext cx="260" cy="453"/>
            </a:xfrm>
            <a:custGeom>
              <a:avLst/>
              <a:gdLst>
                <a:gd name="T0" fmla="*/ 108 w 110"/>
                <a:gd name="T1" fmla="*/ 79 h 192"/>
                <a:gd name="T2" fmla="*/ 108 w 110"/>
                <a:gd name="T3" fmla="*/ 75 h 192"/>
                <a:gd name="T4" fmla="*/ 110 w 110"/>
                <a:gd name="T5" fmla="*/ 45 h 192"/>
                <a:gd name="T6" fmla="*/ 110 w 110"/>
                <a:gd name="T7" fmla="*/ 35 h 192"/>
                <a:gd name="T8" fmla="*/ 96 w 110"/>
                <a:gd name="T9" fmla="*/ 40 h 192"/>
                <a:gd name="T10" fmla="*/ 93 w 110"/>
                <a:gd name="T11" fmla="*/ 40 h 192"/>
                <a:gd name="T12" fmla="*/ 75 w 110"/>
                <a:gd name="T13" fmla="*/ 16 h 192"/>
                <a:gd name="T14" fmla="*/ 77 w 110"/>
                <a:gd name="T15" fmla="*/ 0 h 192"/>
                <a:gd name="T16" fmla="*/ 32 w 110"/>
                <a:gd name="T17" fmla="*/ 0 h 192"/>
                <a:gd name="T18" fmla="*/ 34 w 110"/>
                <a:gd name="T19" fmla="*/ 16 h 192"/>
                <a:gd name="T20" fmla="*/ 16 w 110"/>
                <a:gd name="T21" fmla="*/ 40 h 192"/>
                <a:gd name="T22" fmla="*/ 13 w 110"/>
                <a:gd name="T23" fmla="*/ 40 h 192"/>
                <a:gd name="T24" fmla="*/ 0 w 110"/>
                <a:gd name="T25" fmla="*/ 35 h 192"/>
                <a:gd name="T26" fmla="*/ 0 w 110"/>
                <a:gd name="T27" fmla="*/ 45 h 192"/>
                <a:gd name="T28" fmla="*/ 1 w 110"/>
                <a:gd name="T29" fmla="*/ 75 h 192"/>
                <a:gd name="T30" fmla="*/ 1 w 110"/>
                <a:gd name="T31" fmla="*/ 79 h 192"/>
                <a:gd name="T32" fmla="*/ 0 w 110"/>
                <a:gd name="T33" fmla="*/ 80 h 192"/>
                <a:gd name="T34" fmla="*/ 0 w 110"/>
                <a:gd name="T35" fmla="*/ 167 h 192"/>
                <a:gd name="T36" fmla="*/ 25 w 110"/>
                <a:gd name="T37" fmla="*/ 192 h 192"/>
                <a:gd name="T38" fmla="*/ 50 w 110"/>
                <a:gd name="T39" fmla="*/ 167 h 192"/>
                <a:gd name="T40" fmla="*/ 50 w 110"/>
                <a:gd name="T41" fmla="*/ 48 h 192"/>
                <a:gd name="T42" fmla="*/ 60 w 110"/>
                <a:gd name="T43" fmla="*/ 48 h 192"/>
                <a:gd name="T44" fmla="*/ 60 w 110"/>
                <a:gd name="T45" fmla="*/ 167 h 192"/>
                <a:gd name="T46" fmla="*/ 85 w 110"/>
                <a:gd name="T47" fmla="*/ 192 h 192"/>
                <a:gd name="T48" fmla="*/ 110 w 110"/>
                <a:gd name="T49" fmla="*/ 167 h 192"/>
                <a:gd name="T50" fmla="*/ 110 w 110"/>
                <a:gd name="T51" fmla="*/ 80 h 192"/>
                <a:gd name="T52" fmla="*/ 108 w 110"/>
                <a:gd name="T53"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92">
                  <a:moveTo>
                    <a:pt x="108" y="79"/>
                  </a:moveTo>
                  <a:cubicBezTo>
                    <a:pt x="108" y="75"/>
                    <a:pt x="108" y="75"/>
                    <a:pt x="108" y="75"/>
                  </a:cubicBezTo>
                  <a:cubicBezTo>
                    <a:pt x="108" y="66"/>
                    <a:pt x="109" y="56"/>
                    <a:pt x="110" y="45"/>
                  </a:cubicBezTo>
                  <a:cubicBezTo>
                    <a:pt x="110" y="35"/>
                    <a:pt x="110" y="35"/>
                    <a:pt x="110" y="35"/>
                  </a:cubicBezTo>
                  <a:cubicBezTo>
                    <a:pt x="106" y="38"/>
                    <a:pt x="101" y="40"/>
                    <a:pt x="96" y="40"/>
                  </a:cubicBezTo>
                  <a:cubicBezTo>
                    <a:pt x="95" y="40"/>
                    <a:pt x="94" y="40"/>
                    <a:pt x="93" y="40"/>
                  </a:cubicBezTo>
                  <a:cubicBezTo>
                    <a:pt x="82" y="38"/>
                    <a:pt x="73" y="28"/>
                    <a:pt x="75" y="16"/>
                  </a:cubicBezTo>
                  <a:cubicBezTo>
                    <a:pt x="76" y="11"/>
                    <a:pt x="77" y="5"/>
                    <a:pt x="77" y="0"/>
                  </a:cubicBezTo>
                  <a:cubicBezTo>
                    <a:pt x="32" y="0"/>
                    <a:pt x="32" y="0"/>
                    <a:pt x="32" y="0"/>
                  </a:cubicBezTo>
                  <a:cubicBezTo>
                    <a:pt x="33" y="5"/>
                    <a:pt x="34" y="11"/>
                    <a:pt x="34" y="16"/>
                  </a:cubicBezTo>
                  <a:cubicBezTo>
                    <a:pt x="36" y="28"/>
                    <a:pt x="28" y="38"/>
                    <a:pt x="16" y="40"/>
                  </a:cubicBezTo>
                  <a:cubicBezTo>
                    <a:pt x="15" y="40"/>
                    <a:pt x="14" y="40"/>
                    <a:pt x="13" y="40"/>
                  </a:cubicBezTo>
                  <a:cubicBezTo>
                    <a:pt x="8" y="40"/>
                    <a:pt x="3" y="38"/>
                    <a:pt x="0" y="35"/>
                  </a:cubicBezTo>
                  <a:cubicBezTo>
                    <a:pt x="0" y="45"/>
                    <a:pt x="0" y="45"/>
                    <a:pt x="0" y="45"/>
                  </a:cubicBezTo>
                  <a:cubicBezTo>
                    <a:pt x="1" y="56"/>
                    <a:pt x="1" y="66"/>
                    <a:pt x="1" y="75"/>
                  </a:cubicBezTo>
                  <a:cubicBezTo>
                    <a:pt x="1" y="79"/>
                    <a:pt x="1" y="79"/>
                    <a:pt x="1"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8" y="192"/>
                    <a:pt x="110" y="181"/>
                    <a:pt x="110" y="167"/>
                  </a:cubicBezTo>
                  <a:cubicBezTo>
                    <a:pt x="110" y="80"/>
                    <a:pt x="110" y="80"/>
                    <a:pt x="110" y="80"/>
                  </a:cubicBezTo>
                  <a:lnTo>
                    <a:pt x="108"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5" name="Oval 9"/>
            <p:cNvSpPr/>
            <p:nvPr/>
          </p:nvSpPr>
          <p:spPr bwMode="auto">
            <a:xfrm>
              <a:off x="3720"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6" name="Freeform 10"/>
            <p:cNvSpPr/>
            <p:nvPr/>
          </p:nvSpPr>
          <p:spPr bwMode="auto">
            <a:xfrm>
              <a:off x="4363" y="2231"/>
              <a:ext cx="260" cy="453"/>
            </a:xfrm>
            <a:custGeom>
              <a:avLst/>
              <a:gdLst>
                <a:gd name="T0" fmla="*/ 32 w 110"/>
                <a:gd name="T1" fmla="*/ 0 h 192"/>
                <a:gd name="T2" fmla="*/ 35 w 110"/>
                <a:gd name="T3" fmla="*/ 16 h 192"/>
                <a:gd name="T4" fmla="*/ 17 w 110"/>
                <a:gd name="T5" fmla="*/ 40 h 192"/>
                <a:gd name="T6" fmla="*/ 14 w 110"/>
                <a:gd name="T7" fmla="*/ 40 h 192"/>
                <a:gd name="T8" fmla="*/ 0 w 110"/>
                <a:gd name="T9" fmla="*/ 35 h 192"/>
                <a:gd name="T10" fmla="*/ 0 w 110"/>
                <a:gd name="T11" fmla="*/ 45 h 192"/>
                <a:gd name="T12" fmla="*/ 2 w 110"/>
                <a:gd name="T13" fmla="*/ 75 h 192"/>
                <a:gd name="T14" fmla="*/ 2 w 110"/>
                <a:gd name="T15" fmla="*/ 79 h 192"/>
                <a:gd name="T16" fmla="*/ 0 w 110"/>
                <a:gd name="T17" fmla="*/ 80 h 192"/>
                <a:gd name="T18" fmla="*/ 0 w 110"/>
                <a:gd name="T19" fmla="*/ 167 h 192"/>
                <a:gd name="T20" fmla="*/ 25 w 110"/>
                <a:gd name="T21" fmla="*/ 192 h 192"/>
                <a:gd name="T22" fmla="*/ 50 w 110"/>
                <a:gd name="T23" fmla="*/ 167 h 192"/>
                <a:gd name="T24" fmla="*/ 50 w 110"/>
                <a:gd name="T25" fmla="*/ 48 h 192"/>
                <a:gd name="T26" fmla="*/ 60 w 110"/>
                <a:gd name="T27" fmla="*/ 48 h 192"/>
                <a:gd name="T28" fmla="*/ 60 w 110"/>
                <a:gd name="T29" fmla="*/ 167 h 192"/>
                <a:gd name="T30" fmla="*/ 85 w 110"/>
                <a:gd name="T31" fmla="*/ 192 h 192"/>
                <a:gd name="T32" fmla="*/ 110 w 110"/>
                <a:gd name="T33" fmla="*/ 167 h 192"/>
                <a:gd name="T34" fmla="*/ 110 w 110"/>
                <a:gd name="T35" fmla="*/ 8 h 192"/>
                <a:gd name="T36" fmla="*/ 110 w 110"/>
                <a:gd name="T37" fmla="*/ 0 h 192"/>
                <a:gd name="T38" fmla="*/ 32 w 110"/>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32" y="0"/>
                  </a:moveTo>
                  <a:cubicBezTo>
                    <a:pt x="33" y="5"/>
                    <a:pt x="34" y="11"/>
                    <a:pt x="35" y="16"/>
                  </a:cubicBezTo>
                  <a:cubicBezTo>
                    <a:pt x="36" y="28"/>
                    <a:pt x="28" y="38"/>
                    <a:pt x="17" y="40"/>
                  </a:cubicBezTo>
                  <a:cubicBezTo>
                    <a:pt x="16" y="40"/>
                    <a:pt x="15" y="40"/>
                    <a:pt x="14" y="40"/>
                  </a:cubicBezTo>
                  <a:cubicBezTo>
                    <a:pt x="9" y="40"/>
                    <a:pt x="4" y="38"/>
                    <a:pt x="0" y="35"/>
                  </a:cubicBezTo>
                  <a:cubicBezTo>
                    <a:pt x="0" y="45"/>
                    <a:pt x="0" y="45"/>
                    <a:pt x="0" y="45"/>
                  </a:cubicBezTo>
                  <a:cubicBezTo>
                    <a:pt x="1" y="56"/>
                    <a:pt x="2" y="66"/>
                    <a:pt x="2" y="75"/>
                  </a:cubicBezTo>
                  <a:cubicBezTo>
                    <a:pt x="2" y="79"/>
                    <a:pt x="2" y="79"/>
                    <a:pt x="2"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
                    <a:pt x="110" y="8"/>
                    <a:pt x="110" y="8"/>
                  </a:cubicBezTo>
                  <a:cubicBezTo>
                    <a:pt x="110" y="0"/>
                    <a:pt x="110" y="0"/>
                    <a:pt x="110" y="0"/>
                  </a:cubicBez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7" name="Freeform 11"/>
            <p:cNvSpPr/>
            <p:nvPr/>
          </p:nvSpPr>
          <p:spPr bwMode="auto">
            <a:xfrm>
              <a:off x="4306" y="1886"/>
              <a:ext cx="433" cy="413"/>
            </a:xfrm>
            <a:custGeom>
              <a:avLst/>
              <a:gdLst>
                <a:gd name="T0" fmla="*/ 121 w 183"/>
                <a:gd name="T1" fmla="*/ 0 h 175"/>
                <a:gd name="T2" fmla="*/ 120 w 183"/>
                <a:gd name="T3" fmla="*/ 0 h 175"/>
                <a:gd name="T4" fmla="*/ 119 w 183"/>
                <a:gd name="T5" fmla="*/ 0 h 175"/>
                <a:gd name="T6" fmla="*/ 117 w 183"/>
                <a:gd name="T7" fmla="*/ 0 h 175"/>
                <a:gd name="T8" fmla="*/ 116 w 183"/>
                <a:gd name="T9" fmla="*/ 0 h 175"/>
                <a:gd name="T10" fmla="*/ 43 w 183"/>
                <a:gd name="T11" fmla="*/ 0 h 175"/>
                <a:gd name="T12" fmla="*/ 41 w 183"/>
                <a:gd name="T13" fmla="*/ 0 h 175"/>
                <a:gd name="T14" fmla="*/ 39 w 183"/>
                <a:gd name="T15" fmla="*/ 0 h 175"/>
                <a:gd name="T16" fmla="*/ 39 w 183"/>
                <a:gd name="T17" fmla="*/ 0 h 175"/>
                <a:gd name="T18" fmla="*/ 37 w 183"/>
                <a:gd name="T19" fmla="*/ 0 h 175"/>
                <a:gd name="T20" fmla="*/ 8 w 183"/>
                <a:gd name="T21" fmla="*/ 15 h 175"/>
                <a:gd name="T22" fmla="*/ 0 w 183"/>
                <a:gd name="T23" fmla="*/ 26 h 175"/>
                <a:gd name="T24" fmla="*/ 22 w 183"/>
                <a:gd name="T25" fmla="*/ 51 h 175"/>
                <a:gd name="T26" fmla="*/ 24 w 183"/>
                <a:gd name="T27" fmla="*/ 47 h 175"/>
                <a:gd name="T28" fmla="*/ 24 w 183"/>
                <a:gd name="T29" fmla="*/ 54 h 175"/>
                <a:gd name="T30" fmla="*/ 55 w 183"/>
                <a:gd name="T31" fmla="*/ 139 h 175"/>
                <a:gd name="T32" fmla="*/ 134 w 183"/>
                <a:gd name="T33" fmla="*/ 139 h 175"/>
                <a:gd name="T34" fmla="*/ 134 w 183"/>
                <a:gd name="T35" fmla="*/ 107 h 175"/>
                <a:gd name="T36" fmla="*/ 134 w 183"/>
                <a:gd name="T37" fmla="*/ 47 h 175"/>
                <a:gd name="T38" fmla="*/ 148 w 183"/>
                <a:gd name="T39" fmla="*/ 159 h 175"/>
                <a:gd name="T40" fmla="*/ 163 w 183"/>
                <a:gd name="T41" fmla="*/ 175 h 175"/>
                <a:gd name="T42" fmla="*/ 163 w 183"/>
                <a:gd name="T43" fmla="*/ 175 h 175"/>
                <a:gd name="T44" fmla="*/ 179 w 183"/>
                <a:gd name="T45" fmla="*/ 160 h 175"/>
                <a:gd name="T46" fmla="*/ 150 w 183"/>
                <a:gd name="T47" fmla="*/ 15 h 175"/>
                <a:gd name="T48" fmla="*/ 121 w 183"/>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121" y="0"/>
                  </a:moveTo>
                  <a:cubicBezTo>
                    <a:pt x="121" y="0"/>
                    <a:pt x="120" y="0"/>
                    <a:pt x="120" y="0"/>
                  </a:cubicBezTo>
                  <a:cubicBezTo>
                    <a:pt x="119" y="0"/>
                    <a:pt x="119" y="0"/>
                    <a:pt x="119" y="0"/>
                  </a:cubicBezTo>
                  <a:cubicBezTo>
                    <a:pt x="119" y="0"/>
                    <a:pt x="118" y="0"/>
                    <a:pt x="117" y="0"/>
                  </a:cubicBezTo>
                  <a:cubicBezTo>
                    <a:pt x="117" y="0"/>
                    <a:pt x="116" y="0"/>
                    <a:pt x="116" y="0"/>
                  </a:cubicBezTo>
                  <a:cubicBezTo>
                    <a:pt x="43" y="0"/>
                    <a:pt x="43" y="0"/>
                    <a:pt x="43" y="0"/>
                  </a:cubicBezTo>
                  <a:cubicBezTo>
                    <a:pt x="42" y="0"/>
                    <a:pt x="41" y="0"/>
                    <a:pt x="41" y="0"/>
                  </a:cubicBezTo>
                  <a:cubicBezTo>
                    <a:pt x="40" y="0"/>
                    <a:pt x="39" y="0"/>
                    <a:pt x="39" y="0"/>
                  </a:cubicBezTo>
                  <a:cubicBezTo>
                    <a:pt x="39" y="0"/>
                    <a:pt x="39" y="0"/>
                    <a:pt x="39" y="0"/>
                  </a:cubicBezTo>
                  <a:cubicBezTo>
                    <a:pt x="38" y="0"/>
                    <a:pt x="37" y="0"/>
                    <a:pt x="37" y="0"/>
                  </a:cubicBezTo>
                  <a:cubicBezTo>
                    <a:pt x="26" y="1"/>
                    <a:pt x="17" y="6"/>
                    <a:pt x="8" y="15"/>
                  </a:cubicBezTo>
                  <a:cubicBezTo>
                    <a:pt x="5" y="18"/>
                    <a:pt x="2" y="22"/>
                    <a:pt x="0" y="26"/>
                  </a:cubicBezTo>
                  <a:cubicBezTo>
                    <a:pt x="7" y="32"/>
                    <a:pt x="15" y="40"/>
                    <a:pt x="22" y="51"/>
                  </a:cubicBezTo>
                  <a:cubicBezTo>
                    <a:pt x="23" y="49"/>
                    <a:pt x="24" y="48"/>
                    <a:pt x="24" y="47"/>
                  </a:cubicBezTo>
                  <a:cubicBezTo>
                    <a:pt x="24" y="54"/>
                    <a:pt x="24" y="54"/>
                    <a:pt x="24" y="54"/>
                  </a:cubicBezTo>
                  <a:cubicBezTo>
                    <a:pt x="36" y="72"/>
                    <a:pt x="48" y="100"/>
                    <a:pt x="55" y="139"/>
                  </a:cubicBezTo>
                  <a:cubicBezTo>
                    <a:pt x="134" y="139"/>
                    <a:pt x="134" y="139"/>
                    <a:pt x="134" y="139"/>
                  </a:cubicBezTo>
                  <a:cubicBezTo>
                    <a:pt x="134" y="107"/>
                    <a:pt x="134" y="107"/>
                    <a:pt x="134" y="107"/>
                  </a:cubicBezTo>
                  <a:cubicBezTo>
                    <a:pt x="134" y="47"/>
                    <a:pt x="134" y="47"/>
                    <a:pt x="134" y="47"/>
                  </a:cubicBezTo>
                  <a:cubicBezTo>
                    <a:pt x="142" y="62"/>
                    <a:pt x="151" y="94"/>
                    <a:pt x="148" y="159"/>
                  </a:cubicBezTo>
                  <a:cubicBezTo>
                    <a:pt x="147" y="167"/>
                    <a:pt x="154" y="175"/>
                    <a:pt x="163" y="175"/>
                  </a:cubicBezTo>
                  <a:cubicBezTo>
                    <a:pt x="163" y="175"/>
                    <a:pt x="163" y="175"/>
                    <a:pt x="163" y="175"/>
                  </a:cubicBezTo>
                  <a:cubicBezTo>
                    <a:pt x="172" y="175"/>
                    <a:pt x="179" y="169"/>
                    <a:pt x="179" y="160"/>
                  </a:cubicBezTo>
                  <a:cubicBezTo>
                    <a:pt x="183" y="89"/>
                    <a:pt x="172" y="39"/>
                    <a:pt x="150" y="15"/>
                  </a:cubicBezTo>
                  <a:cubicBezTo>
                    <a:pt x="141" y="6"/>
                    <a:pt x="132" y="1"/>
                    <a:pt x="1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8" name="Oval 12"/>
            <p:cNvSpPr/>
            <p:nvPr/>
          </p:nvSpPr>
          <p:spPr bwMode="auto">
            <a:xfrm>
              <a:off x="4377" y="1633"/>
              <a:ext cx="232"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9" name="Freeform 13"/>
            <p:cNvSpPr/>
            <p:nvPr/>
          </p:nvSpPr>
          <p:spPr bwMode="auto">
            <a:xfrm>
              <a:off x="3052" y="2231"/>
              <a:ext cx="260" cy="453"/>
            </a:xfrm>
            <a:custGeom>
              <a:avLst/>
              <a:gdLst>
                <a:gd name="T0" fmla="*/ 109 w 110"/>
                <a:gd name="T1" fmla="*/ 79 h 192"/>
                <a:gd name="T2" fmla="*/ 109 w 110"/>
                <a:gd name="T3" fmla="*/ 75 h 192"/>
                <a:gd name="T4" fmla="*/ 110 w 110"/>
                <a:gd name="T5" fmla="*/ 45 h 192"/>
                <a:gd name="T6" fmla="*/ 110 w 110"/>
                <a:gd name="T7" fmla="*/ 35 h 192"/>
                <a:gd name="T8" fmla="*/ 97 w 110"/>
                <a:gd name="T9" fmla="*/ 40 h 192"/>
                <a:gd name="T10" fmla="*/ 94 w 110"/>
                <a:gd name="T11" fmla="*/ 40 h 192"/>
                <a:gd name="T12" fmla="*/ 76 w 110"/>
                <a:gd name="T13" fmla="*/ 16 h 192"/>
                <a:gd name="T14" fmla="*/ 78 w 110"/>
                <a:gd name="T15" fmla="*/ 0 h 192"/>
                <a:gd name="T16" fmla="*/ 0 w 110"/>
                <a:gd name="T17" fmla="*/ 0 h 192"/>
                <a:gd name="T18" fmla="*/ 0 w 110"/>
                <a:gd name="T19" fmla="*/ 8 h 192"/>
                <a:gd name="T20" fmla="*/ 0 w 110"/>
                <a:gd name="T21" fmla="*/ 167 h 192"/>
                <a:gd name="T22" fmla="*/ 25 w 110"/>
                <a:gd name="T23" fmla="*/ 192 h 192"/>
                <a:gd name="T24" fmla="*/ 50 w 110"/>
                <a:gd name="T25" fmla="*/ 167 h 192"/>
                <a:gd name="T26" fmla="*/ 50 w 110"/>
                <a:gd name="T27" fmla="*/ 48 h 192"/>
                <a:gd name="T28" fmla="*/ 60 w 110"/>
                <a:gd name="T29" fmla="*/ 48 h 192"/>
                <a:gd name="T30" fmla="*/ 60 w 110"/>
                <a:gd name="T31" fmla="*/ 167 h 192"/>
                <a:gd name="T32" fmla="*/ 85 w 110"/>
                <a:gd name="T33" fmla="*/ 192 h 192"/>
                <a:gd name="T34" fmla="*/ 110 w 110"/>
                <a:gd name="T35" fmla="*/ 167 h 192"/>
                <a:gd name="T36" fmla="*/ 110 w 110"/>
                <a:gd name="T37" fmla="*/ 80 h 192"/>
                <a:gd name="T38" fmla="*/ 109 w 110"/>
                <a:gd name="T39"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109" y="79"/>
                  </a:moveTo>
                  <a:cubicBezTo>
                    <a:pt x="109" y="75"/>
                    <a:pt x="109" y="75"/>
                    <a:pt x="109" y="75"/>
                  </a:cubicBezTo>
                  <a:cubicBezTo>
                    <a:pt x="109" y="66"/>
                    <a:pt x="109" y="56"/>
                    <a:pt x="110" y="45"/>
                  </a:cubicBezTo>
                  <a:cubicBezTo>
                    <a:pt x="110" y="35"/>
                    <a:pt x="110" y="35"/>
                    <a:pt x="110" y="35"/>
                  </a:cubicBezTo>
                  <a:cubicBezTo>
                    <a:pt x="107" y="38"/>
                    <a:pt x="102" y="40"/>
                    <a:pt x="97" y="40"/>
                  </a:cubicBezTo>
                  <a:cubicBezTo>
                    <a:pt x="96" y="40"/>
                    <a:pt x="95" y="40"/>
                    <a:pt x="94" y="40"/>
                  </a:cubicBezTo>
                  <a:cubicBezTo>
                    <a:pt x="82" y="38"/>
                    <a:pt x="74" y="28"/>
                    <a:pt x="76" y="16"/>
                  </a:cubicBezTo>
                  <a:cubicBezTo>
                    <a:pt x="76" y="11"/>
                    <a:pt x="77" y="5"/>
                    <a:pt x="78" y="0"/>
                  </a:cubicBezTo>
                  <a:cubicBezTo>
                    <a:pt x="0" y="0"/>
                    <a:pt x="0" y="0"/>
                    <a:pt x="0" y="0"/>
                  </a:cubicBezTo>
                  <a:cubicBezTo>
                    <a:pt x="0" y="8"/>
                    <a:pt x="0" y="8"/>
                    <a:pt x="0" y="8"/>
                  </a:cubicBezTo>
                  <a:cubicBezTo>
                    <a:pt x="0" y="167"/>
                    <a:pt x="0" y="167"/>
                    <a:pt x="0" y="167"/>
                  </a:cubicBezTo>
                  <a:cubicBezTo>
                    <a:pt x="0" y="181"/>
                    <a:pt x="12"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0"/>
                    <a:pt x="110" y="80"/>
                    <a:pt x="110" y="80"/>
                  </a:cubicBezTo>
                  <a:lnTo>
                    <a:pt x="109"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0" name="Freeform 14"/>
            <p:cNvSpPr/>
            <p:nvPr/>
          </p:nvSpPr>
          <p:spPr bwMode="auto">
            <a:xfrm>
              <a:off x="2939" y="1886"/>
              <a:ext cx="432" cy="413"/>
            </a:xfrm>
            <a:custGeom>
              <a:avLst/>
              <a:gdLst>
                <a:gd name="T0" fmla="*/ 48 w 183"/>
                <a:gd name="T1" fmla="*/ 107 h 175"/>
                <a:gd name="T2" fmla="*/ 48 w 183"/>
                <a:gd name="T3" fmla="*/ 139 h 175"/>
                <a:gd name="T4" fmla="*/ 127 w 183"/>
                <a:gd name="T5" fmla="*/ 139 h 175"/>
                <a:gd name="T6" fmla="*/ 158 w 183"/>
                <a:gd name="T7" fmla="*/ 54 h 175"/>
                <a:gd name="T8" fmla="*/ 158 w 183"/>
                <a:gd name="T9" fmla="*/ 47 h 175"/>
                <a:gd name="T10" fmla="*/ 160 w 183"/>
                <a:gd name="T11" fmla="*/ 51 h 175"/>
                <a:gd name="T12" fmla="*/ 183 w 183"/>
                <a:gd name="T13" fmla="*/ 26 h 175"/>
                <a:gd name="T14" fmla="*/ 174 w 183"/>
                <a:gd name="T15" fmla="*/ 15 h 175"/>
                <a:gd name="T16" fmla="*/ 146 w 183"/>
                <a:gd name="T17" fmla="*/ 0 h 175"/>
                <a:gd name="T18" fmla="*/ 144 w 183"/>
                <a:gd name="T19" fmla="*/ 0 h 175"/>
                <a:gd name="T20" fmla="*/ 144 w 183"/>
                <a:gd name="T21" fmla="*/ 0 h 175"/>
                <a:gd name="T22" fmla="*/ 142 w 183"/>
                <a:gd name="T23" fmla="*/ 0 h 175"/>
                <a:gd name="T24" fmla="*/ 140 w 183"/>
                <a:gd name="T25" fmla="*/ 0 h 175"/>
                <a:gd name="T26" fmla="*/ 67 w 183"/>
                <a:gd name="T27" fmla="*/ 0 h 175"/>
                <a:gd name="T28" fmla="*/ 65 w 183"/>
                <a:gd name="T29" fmla="*/ 0 h 175"/>
                <a:gd name="T30" fmla="*/ 63 w 183"/>
                <a:gd name="T31" fmla="*/ 0 h 175"/>
                <a:gd name="T32" fmla="*/ 63 w 183"/>
                <a:gd name="T33" fmla="*/ 0 h 175"/>
                <a:gd name="T34" fmla="*/ 61 w 183"/>
                <a:gd name="T35" fmla="*/ 0 h 175"/>
                <a:gd name="T36" fmla="*/ 33 w 183"/>
                <a:gd name="T37" fmla="*/ 15 h 175"/>
                <a:gd name="T38" fmla="*/ 3 w 183"/>
                <a:gd name="T39" fmla="*/ 160 h 175"/>
                <a:gd name="T40" fmla="*/ 19 w 183"/>
                <a:gd name="T41" fmla="*/ 175 h 175"/>
                <a:gd name="T42" fmla="*/ 20 w 183"/>
                <a:gd name="T43" fmla="*/ 175 h 175"/>
                <a:gd name="T44" fmla="*/ 35 w 183"/>
                <a:gd name="T45" fmla="*/ 159 h 175"/>
                <a:gd name="T46" fmla="*/ 48 w 183"/>
                <a:gd name="T47" fmla="*/ 47 h 175"/>
                <a:gd name="T48" fmla="*/ 48 w 183"/>
                <a:gd name="T49"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48" y="107"/>
                  </a:moveTo>
                  <a:cubicBezTo>
                    <a:pt x="48" y="139"/>
                    <a:pt x="48" y="139"/>
                    <a:pt x="48" y="139"/>
                  </a:cubicBezTo>
                  <a:cubicBezTo>
                    <a:pt x="127" y="139"/>
                    <a:pt x="127" y="139"/>
                    <a:pt x="127" y="139"/>
                  </a:cubicBezTo>
                  <a:cubicBezTo>
                    <a:pt x="135" y="100"/>
                    <a:pt x="146" y="72"/>
                    <a:pt x="158" y="54"/>
                  </a:cubicBezTo>
                  <a:cubicBezTo>
                    <a:pt x="158" y="47"/>
                    <a:pt x="158" y="47"/>
                    <a:pt x="158" y="47"/>
                  </a:cubicBezTo>
                  <a:cubicBezTo>
                    <a:pt x="159" y="48"/>
                    <a:pt x="160" y="49"/>
                    <a:pt x="160" y="51"/>
                  </a:cubicBezTo>
                  <a:cubicBezTo>
                    <a:pt x="168" y="40"/>
                    <a:pt x="175" y="32"/>
                    <a:pt x="183" y="26"/>
                  </a:cubicBezTo>
                  <a:cubicBezTo>
                    <a:pt x="180" y="22"/>
                    <a:pt x="177" y="18"/>
                    <a:pt x="174" y="15"/>
                  </a:cubicBezTo>
                  <a:cubicBezTo>
                    <a:pt x="166" y="6"/>
                    <a:pt x="156" y="1"/>
                    <a:pt x="146" y="0"/>
                  </a:cubicBezTo>
                  <a:cubicBezTo>
                    <a:pt x="145" y="0"/>
                    <a:pt x="144" y="0"/>
                    <a:pt x="144" y="0"/>
                  </a:cubicBezTo>
                  <a:cubicBezTo>
                    <a:pt x="144" y="0"/>
                    <a:pt x="144" y="0"/>
                    <a:pt x="144" y="0"/>
                  </a:cubicBezTo>
                  <a:cubicBezTo>
                    <a:pt x="143" y="0"/>
                    <a:pt x="142" y="0"/>
                    <a:pt x="142" y="0"/>
                  </a:cubicBezTo>
                  <a:cubicBezTo>
                    <a:pt x="141" y="0"/>
                    <a:pt x="140" y="0"/>
                    <a:pt x="140" y="0"/>
                  </a:cubicBezTo>
                  <a:cubicBezTo>
                    <a:pt x="67" y="0"/>
                    <a:pt x="67" y="0"/>
                    <a:pt x="67" y="0"/>
                  </a:cubicBezTo>
                  <a:cubicBezTo>
                    <a:pt x="66" y="0"/>
                    <a:pt x="66" y="0"/>
                    <a:pt x="65" y="0"/>
                  </a:cubicBezTo>
                  <a:cubicBezTo>
                    <a:pt x="64" y="0"/>
                    <a:pt x="64" y="0"/>
                    <a:pt x="63" y="0"/>
                  </a:cubicBezTo>
                  <a:cubicBezTo>
                    <a:pt x="63" y="0"/>
                    <a:pt x="63" y="0"/>
                    <a:pt x="63" y="0"/>
                  </a:cubicBezTo>
                  <a:cubicBezTo>
                    <a:pt x="62" y="0"/>
                    <a:pt x="62" y="0"/>
                    <a:pt x="61" y="0"/>
                  </a:cubicBezTo>
                  <a:cubicBezTo>
                    <a:pt x="51" y="1"/>
                    <a:pt x="41" y="6"/>
                    <a:pt x="33" y="15"/>
                  </a:cubicBezTo>
                  <a:cubicBezTo>
                    <a:pt x="10" y="39"/>
                    <a:pt x="0" y="89"/>
                    <a:pt x="3" y="160"/>
                  </a:cubicBezTo>
                  <a:cubicBezTo>
                    <a:pt x="4" y="169"/>
                    <a:pt x="11" y="175"/>
                    <a:pt x="19" y="175"/>
                  </a:cubicBezTo>
                  <a:cubicBezTo>
                    <a:pt x="19" y="175"/>
                    <a:pt x="19" y="175"/>
                    <a:pt x="20" y="175"/>
                  </a:cubicBezTo>
                  <a:cubicBezTo>
                    <a:pt x="28" y="175"/>
                    <a:pt x="35" y="167"/>
                    <a:pt x="35" y="159"/>
                  </a:cubicBezTo>
                  <a:cubicBezTo>
                    <a:pt x="31" y="94"/>
                    <a:pt x="41" y="62"/>
                    <a:pt x="48" y="47"/>
                  </a:cubicBezTo>
                  <a:lnTo>
                    <a:pt x="48" y="10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1" name="Oval 15"/>
            <p:cNvSpPr/>
            <p:nvPr/>
          </p:nvSpPr>
          <p:spPr bwMode="auto">
            <a:xfrm>
              <a:off x="3066"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2" name="Freeform 16"/>
            <p:cNvSpPr/>
            <p:nvPr/>
          </p:nvSpPr>
          <p:spPr bwMode="auto">
            <a:xfrm>
              <a:off x="3402" y="2453"/>
              <a:ext cx="92" cy="229"/>
            </a:xfrm>
            <a:custGeom>
              <a:avLst/>
              <a:gdLst>
                <a:gd name="T0" fmla="*/ 0 w 39"/>
                <a:gd name="T1" fmla="*/ 0 h 97"/>
                <a:gd name="T2" fmla="*/ 0 w 39"/>
                <a:gd name="T3" fmla="*/ 78 h 97"/>
                <a:gd name="T4" fmla="*/ 20 w 39"/>
                <a:gd name="T5" fmla="*/ 97 h 97"/>
                <a:gd name="T6" fmla="*/ 39 w 39"/>
                <a:gd name="T7" fmla="*/ 78 h 97"/>
                <a:gd name="T8" fmla="*/ 39 w 39"/>
                <a:gd name="T9" fmla="*/ 5 h 97"/>
                <a:gd name="T10" fmla="*/ 0 w 39"/>
                <a:gd name="T11" fmla="*/ 0 h 97"/>
              </a:gdLst>
              <a:ahLst/>
              <a:cxnLst>
                <a:cxn ang="0">
                  <a:pos x="T0" y="T1"/>
                </a:cxn>
                <a:cxn ang="0">
                  <a:pos x="T2" y="T3"/>
                </a:cxn>
                <a:cxn ang="0">
                  <a:pos x="T4" y="T5"/>
                </a:cxn>
                <a:cxn ang="0">
                  <a:pos x="T6" y="T7"/>
                </a:cxn>
                <a:cxn ang="0">
                  <a:pos x="T8" y="T9"/>
                </a:cxn>
                <a:cxn ang="0">
                  <a:pos x="T10" y="T11"/>
                </a:cxn>
              </a:cxnLst>
              <a:rect l="0" t="0" r="r" b="b"/>
              <a:pathLst>
                <a:path w="39" h="97">
                  <a:moveTo>
                    <a:pt x="0" y="0"/>
                  </a:moveTo>
                  <a:cubicBezTo>
                    <a:pt x="0" y="78"/>
                    <a:pt x="0" y="78"/>
                    <a:pt x="0" y="78"/>
                  </a:cubicBezTo>
                  <a:cubicBezTo>
                    <a:pt x="0" y="89"/>
                    <a:pt x="9" y="97"/>
                    <a:pt x="20" y="97"/>
                  </a:cubicBezTo>
                  <a:cubicBezTo>
                    <a:pt x="30" y="97"/>
                    <a:pt x="39" y="89"/>
                    <a:pt x="39" y="78"/>
                  </a:cubicBezTo>
                  <a:cubicBezTo>
                    <a:pt x="39" y="5"/>
                    <a:pt x="39" y="5"/>
                    <a:pt x="39"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3" name="Freeform 17"/>
            <p:cNvSpPr/>
            <p:nvPr/>
          </p:nvSpPr>
          <p:spPr bwMode="auto">
            <a:xfrm>
              <a:off x="3527" y="2453"/>
              <a:ext cx="92" cy="229"/>
            </a:xfrm>
            <a:custGeom>
              <a:avLst/>
              <a:gdLst>
                <a:gd name="T0" fmla="*/ 0 w 39"/>
                <a:gd name="T1" fmla="*/ 78 h 97"/>
                <a:gd name="T2" fmla="*/ 19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19" y="97"/>
                  </a:cubicBezTo>
                  <a:cubicBezTo>
                    <a:pt x="30" y="97"/>
                    <a:pt x="39" y="89"/>
                    <a:pt x="39" y="78"/>
                  </a:cubicBezTo>
                  <a:cubicBezTo>
                    <a:pt x="39" y="0"/>
                    <a:pt x="39" y="0"/>
                    <a:pt x="39" y="0"/>
                  </a:cubicBezTo>
                  <a:cubicBezTo>
                    <a:pt x="28"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4" name="Freeform 18"/>
            <p:cNvSpPr/>
            <p:nvPr/>
          </p:nvSpPr>
          <p:spPr bwMode="auto">
            <a:xfrm>
              <a:off x="3397" y="1678"/>
              <a:ext cx="227" cy="229"/>
            </a:xfrm>
            <a:custGeom>
              <a:avLst/>
              <a:gdLst>
                <a:gd name="T0" fmla="*/ 48 w 96"/>
                <a:gd name="T1" fmla="*/ 96 h 97"/>
                <a:gd name="T2" fmla="*/ 50 w 96"/>
                <a:gd name="T3" fmla="*/ 97 h 97"/>
                <a:gd name="T4" fmla="*/ 96 w 96"/>
                <a:gd name="T5" fmla="*/ 48 h 97"/>
                <a:gd name="T6" fmla="*/ 48 w 96"/>
                <a:gd name="T7" fmla="*/ 0 h 97"/>
                <a:gd name="T8" fmla="*/ 0 w 96"/>
                <a:gd name="T9" fmla="*/ 48 h 97"/>
                <a:gd name="T10" fmla="*/ 46 w 96"/>
                <a:gd name="T11" fmla="*/ 97 h 97"/>
                <a:gd name="T12" fmla="*/ 48 w 96"/>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6" h="97">
                  <a:moveTo>
                    <a:pt x="48" y="96"/>
                  </a:moveTo>
                  <a:cubicBezTo>
                    <a:pt x="49" y="96"/>
                    <a:pt x="50" y="96"/>
                    <a:pt x="50" y="97"/>
                  </a:cubicBezTo>
                  <a:cubicBezTo>
                    <a:pt x="76" y="95"/>
                    <a:pt x="96" y="74"/>
                    <a:pt x="96" y="48"/>
                  </a:cubicBezTo>
                  <a:cubicBezTo>
                    <a:pt x="96" y="22"/>
                    <a:pt x="75" y="0"/>
                    <a:pt x="48" y="0"/>
                  </a:cubicBezTo>
                  <a:cubicBezTo>
                    <a:pt x="21" y="0"/>
                    <a:pt x="0" y="22"/>
                    <a:pt x="0" y="48"/>
                  </a:cubicBezTo>
                  <a:cubicBezTo>
                    <a:pt x="0" y="74"/>
                    <a:pt x="20" y="95"/>
                    <a:pt x="46" y="97"/>
                  </a:cubicBezTo>
                  <a:cubicBezTo>
                    <a:pt x="46" y="96"/>
                    <a:pt x="47"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5" name="Freeform 19"/>
            <p:cNvSpPr/>
            <p:nvPr/>
          </p:nvSpPr>
          <p:spPr bwMode="auto">
            <a:xfrm>
              <a:off x="3246" y="1923"/>
              <a:ext cx="529" cy="525"/>
            </a:xfrm>
            <a:custGeom>
              <a:avLst/>
              <a:gdLst>
                <a:gd name="T0" fmla="*/ 1 w 224"/>
                <a:gd name="T1" fmla="*/ 147 h 222"/>
                <a:gd name="T2" fmla="*/ 13 w 224"/>
                <a:gd name="T3" fmla="*/ 163 h 222"/>
                <a:gd name="T4" fmla="*/ 28 w 224"/>
                <a:gd name="T5" fmla="*/ 151 h 222"/>
                <a:gd name="T6" fmla="*/ 55 w 224"/>
                <a:gd name="T7" fmla="*/ 61 h 222"/>
                <a:gd name="T8" fmla="*/ 34 w 224"/>
                <a:gd name="T9" fmla="*/ 205 h 222"/>
                <a:gd name="T10" fmla="*/ 112 w 224"/>
                <a:gd name="T11" fmla="*/ 222 h 222"/>
                <a:gd name="T12" fmla="*/ 190 w 224"/>
                <a:gd name="T13" fmla="*/ 205 h 222"/>
                <a:gd name="T14" fmla="*/ 169 w 224"/>
                <a:gd name="T15" fmla="*/ 61 h 222"/>
                <a:gd name="T16" fmla="*/ 196 w 224"/>
                <a:gd name="T17" fmla="*/ 151 h 222"/>
                <a:gd name="T18" fmla="*/ 209 w 224"/>
                <a:gd name="T19" fmla="*/ 163 h 222"/>
                <a:gd name="T20" fmla="*/ 211 w 224"/>
                <a:gd name="T21" fmla="*/ 163 h 222"/>
                <a:gd name="T22" fmla="*/ 223 w 224"/>
                <a:gd name="T23" fmla="*/ 147 h 222"/>
                <a:gd name="T24" fmla="*/ 149 w 224"/>
                <a:gd name="T25" fmla="*/ 5 h 222"/>
                <a:gd name="T26" fmla="*/ 131 w 224"/>
                <a:gd name="T27" fmla="*/ 1 h 222"/>
                <a:gd name="T28" fmla="*/ 112 w 224"/>
                <a:gd name="T29" fmla="*/ 0 h 222"/>
                <a:gd name="T30" fmla="*/ 93 w 224"/>
                <a:gd name="T31" fmla="*/ 1 h 222"/>
                <a:gd name="T32" fmla="*/ 75 w 224"/>
                <a:gd name="T33" fmla="*/ 5 h 222"/>
                <a:gd name="T34" fmla="*/ 1 w 224"/>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2">
                  <a:moveTo>
                    <a:pt x="1" y="147"/>
                  </a:moveTo>
                  <a:cubicBezTo>
                    <a:pt x="0" y="155"/>
                    <a:pt x="5" y="162"/>
                    <a:pt x="13" y="163"/>
                  </a:cubicBezTo>
                  <a:cubicBezTo>
                    <a:pt x="20" y="164"/>
                    <a:pt x="27" y="158"/>
                    <a:pt x="28" y="151"/>
                  </a:cubicBezTo>
                  <a:cubicBezTo>
                    <a:pt x="34" y="107"/>
                    <a:pt x="45" y="79"/>
                    <a:pt x="55" y="61"/>
                  </a:cubicBezTo>
                  <a:cubicBezTo>
                    <a:pt x="46" y="105"/>
                    <a:pt x="34" y="166"/>
                    <a:pt x="34" y="205"/>
                  </a:cubicBezTo>
                  <a:cubicBezTo>
                    <a:pt x="34" y="205"/>
                    <a:pt x="63" y="222"/>
                    <a:pt x="112" y="222"/>
                  </a:cubicBezTo>
                  <a:cubicBezTo>
                    <a:pt x="161" y="222"/>
                    <a:pt x="190" y="205"/>
                    <a:pt x="190" y="205"/>
                  </a:cubicBezTo>
                  <a:cubicBezTo>
                    <a:pt x="190" y="166"/>
                    <a:pt x="178" y="105"/>
                    <a:pt x="169" y="61"/>
                  </a:cubicBezTo>
                  <a:cubicBezTo>
                    <a:pt x="179" y="79"/>
                    <a:pt x="190" y="107"/>
                    <a:pt x="196" y="151"/>
                  </a:cubicBezTo>
                  <a:cubicBezTo>
                    <a:pt x="197" y="158"/>
                    <a:pt x="203" y="163"/>
                    <a:pt x="209" y="163"/>
                  </a:cubicBezTo>
                  <a:cubicBezTo>
                    <a:pt x="210" y="163"/>
                    <a:pt x="211" y="163"/>
                    <a:pt x="211" y="163"/>
                  </a:cubicBezTo>
                  <a:cubicBezTo>
                    <a:pt x="219" y="162"/>
                    <a:pt x="224" y="155"/>
                    <a:pt x="223" y="147"/>
                  </a:cubicBezTo>
                  <a:cubicBezTo>
                    <a:pt x="208" y="38"/>
                    <a:pt x="167" y="12"/>
                    <a:pt x="149" y="5"/>
                  </a:cubicBezTo>
                  <a:cubicBezTo>
                    <a:pt x="145" y="4"/>
                    <a:pt x="139" y="2"/>
                    <a:pt x="131" y="1"/>
                  </a:cubicBezTo>
                  <a:cubicBezTo>
                    <a:pt x="126" y="0"/>
                    <a:pt x="119" y="0"/>
                    <a:pt x="112" y="0"/>
                  </a:cubicBezTo>
                  <a:cubicBezTo>
                    <a:pt x="105" y="0"/>
                    <a:pt x="98" y="0"/>
                    <a:pt x="93" y="1"/>
                  </a:cubicBezTo>
                  <a:cubicBezTo>
                    <a:pt x="85" y="2"/>
                    <a:pt x="79" y="4"/>
                    <a:pt x="75" y="5"/>
                  </a:cubicBezTo>
                  <a:cubicBezTo>
                    <a:pt x="57"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6" name="Freeform 20"/>
            <p:cNvSpPr/>
            <p:nvPr/>
          </p:nvSpPr>
          <p:spPr bwMode="auto">
            <a:xfrm>
              <a:off x="4056" y="2453"/>
              <a:ext cx="94" cy="229"/>
            </a:xfrm>
            <a:custGeom>
              <a:avLst/>
              <a:gdLst>
                <a:gd name="T0" fmla="*/ 0 w 40"/>
                <a:gd name="T1" fmla="*/ 0 h 97"/>
                <a:gd name="T2" fmla="*/ 0 w 40"/>
                <a:gd name="T3" fmla="*/ 78 h 97"/>
                <a:gd name="T4" fmla="*/ 20 w 40"/>
                <a:gd name="T5" fmla="*/ 97 h 97"/>
                <a:gd name="T6" fmla="*/ 40 w 40"/>
                <a:gd name="T7" fmla="*/ 78 h 97"/>
                <a:gd name="T8" fmla="*/ 40 w 40"/>
                <a:gd name="T9" fmla="*/ 5 h 97"/>
                <a:gd name="T10" fmla="*/ 0 w 40"/>
                <a:gd name="T11" fmla="*/ 0 h 97"/>
              </a:gdLst>
              <a:ahLst/>
              <a:cxnLst>
                <a:cxn ang="0">
                  <a:pos x="T0" y="T1"/>
                </a:cxn>
                <a:cxn ang="0">
                  <a:pos x="T2" y="T3"/>
                </a:cxn>
                <a:cxn ang="0">
                  <a:pos x="T4" y="T5"/>
                </a:cxn>
                <a:cxn ang="0">
                  <a:pos x="T6" y="T7"/>
                </a:cxn>
                <a:cxn ang="0">
                  <a:pos x="T8" y="T9"/>
                </a:cxn>
                <a:cxn ang="0">
                  <a:pos x="T10" y="T11"/>
                </a:cxn>
              </a:cxnLst>
              <a:rect l="0" t="0" r="r" b="b"/>
              <a:pathLst>
                <a:path w="40" h="97">
                  <a:moveTo>
                    <a:pt x="0" y="0"/>
                  </a:moveTo>
                  <a:cubicBezTo>
                    <a:pt x="0" y="78"/>
                    <a:pt x="0" y="78"/>
                    <a:pt x="0" y="78"/>
                  </a:cubicBezTo>
                  <a:cubicBezTo>
                    <a:pt x="0" y="89"/>
                    <a:pt x="9" y="97"/>
                    <a:pt x="20" y="97"/>
                  </a:cubicBezTo>
                  <a:cubicBezTo>
                    <a:pt x="31" y="97"/>
                    <a:pt x="40" y="89"/>
                    <a:pt x="40" y="78"/>
                  </a:cubicBezTo>
                  <a:cubicBezTo>
                    <a:pt x="40" y="5"/>
                    <a:pt x="40" y="5"/>
                    <a:pt x="40"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7" name="Freeform 21"/>
            <p:cNvSpPr/>
            <p:nvPr/>
          </p:nvSpPr>
          <p:spPr bwMode="auto">
            <a:xfrm>
              <a:off x="4181" y="2453"/>
              <a:ext cx="92" cy="229"/>
            </a:xfrm>
            <a:custGeom>
              <a:avLst/>
              <a:gdLst>
                <a:gd name="T0" fmla="*/ 0 w 39"/>
                <a:gd name="T1" fmla="*/ 78 h 97"/>
                <a:gd name="T2" fmla="*/ 20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20" y="97"/>
                  </a:cubicBezTo>
                  <a:cubicBezTo>
                    <a:pt x="31" y="97"/>
                    <a:pt x="39" y="89"/>
                    <a:pt x="39" y="78"/>
                  </a:cubicBezTo>
                  <a:cubicBezTo>
                    <a:pt x="39" y="0"/>
                    <a:pt x="39" y="0"/>
                    <a:pt x="39" y="0"/>
                  </a:cubicBezTo>
                  <a:cubicBezTo>
                    <a:pt x="29"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8" name="Freeform 22"/>
            <p:cNvSpPr/>
            <p:nvPr/>
          </p:nvSpPr>
          <p:spPr bwMode="auto">
            <a:xfrm>
              <a:off x="4051" y="1678"/>
              <a:ext cx="229" cy="229"/>
            </a:xfrm>
            <a:custGeom>
              <a:avLst/>
              <a:gdLst>
                <a:gd name="T0" fmla="*/ 48 w 97"/>
                <a:gd name="T1" fmla="*/ 96 h 97"/>
                <a:gd name="T2" fmla="*/ 51 w 97"/>
                <a:gd name="T3" fmla="*/ 97 h 97"/>
                <a:gd name="T4" fmla="*/ 97 w 97"/>
                <a:gd name="T5" fmla="*/ 48 h 97"/>
                <a:gd name="T6" fmla="*/ 48 w 97"/>
                <a:gd name="T7" fmla="*/ 0 h 97"/>
                <a:gd name="T8" fmla="*/ 0 w 97"/>
                <a:gd name="T9" fmla="*/ 48 h 97"/>
                <a:gd name="T10" fmla="*/ 46 w 97"/>
                <a:gd name="T11" fmla="*/ 97 h 97"/>
                <a:gd name="T12" fmla="*/ 48 w 97"/>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48" y="96"/>
                  </a:moveTo>
                  <a:cubicBezTo>
                    <a:pt x="49" y="96"/>
                    <a:pt x="50" y="96"/>
                    <a:pt x="51" y="97"/>
                  </a:cubicBezTo>
                  <a:cubicBezTo>
                    <a:pt x="76" y="95"/>
                    <a:pt x="97" y="74"/>
                    <a:pt x="97" y="48"/>
                  </a:cubicBezTo>
                  <a:cubicBezTo>
                    <a:pt x="97" y="22"/>
                    <a:pt x="75" y="0"/>
                    <a:pt x="48" y="0"/>
                  </a:cubicBezTo>
                  <a:cubicBezTo>
                    <a:pt x="22" y="0"/>
                    <a:pt x="0" y="22"/>
                    <a:pt x="0" y="48"/>
                  </a:cubicBezTo>
                  <a:cubicBezTo>
                    <a:pt x="0" y="74"/>
                    <a:pt x="21" y="95"/>
                    <a:pt x="46" y="97"/>
                  </a:cubicBezTo>
                  <a:cubicBezTo>
                    <a:pt x="47" y="96"/>
                    <a:pt x="48"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9" name="Freeform 23"/>
            <p:cNvSpPr/>
            <p:nvPr/>
          </p:nvSpPr>
          <p:spPr bwMode="auto">
            <a:xfrm>
              <a:off x="3900" y="1923"/>
              <a:ext cx="532" cy="525"/>
            </a:xfrm>
            <a:custGeom>
              <a:avLst/>
              <a:gdLst>
                <a:gd name="T0" fmla="*/ 1 w 225"/>
                <a:gd name="T1" fmla="*/ 147 h 222"/>
                <a:gd name="T2" fmla="*/ 13 w 225"/>
                <a:gd name="T3" fmla="*/ 163 h 222"/>
                <a:gd name="T4" fmla="*/ 29 w 225"/>
                <a:gd name="T5" fmla="*/ 151 h 222"/>
                <a:gd name="T6" fmla="*/ 55 w 225"/>
                <a:gd name="T7" fmla="*/ 61 h 222"/>
                <a:gd name="T8" fmla="*/ 34 w 225"/>
                <a:gd name="T9" fmla="*/ 205 h 222"/>
                <a:gd name="T10" fmla="*/ 112 w 225"/>
                <a:gd name="T11" fmla="*/ 222 h 222"/>
                <a:gd name="T12" fmla="*/ 191 w 225"/>
                <a:gd name="T13" fmla="*/ 205 h 222"/>
                <a:gd name="T14" fmla="*/ 169 w 225"/>
                <a:gd name="T15" fmla="*/ 61 h 222"/>
                <a:gd name="T16" fmla="*/ 196 w 225"/>
                <a:gd name="T17" fmla="*/ 151 h 222"/>
                <a:gd name="T18" fmla="*/ 210 w 225"/>
                <a:gd name="T19" fmla="*/ 163 h 222"/>
                <a:gd name="T20" fmla="*/ 212 w 225"/>
                <a:gd name="T21" fmla="*/ 163 h 222"/>
                <a:gd name="T22" fmla="*/ 224 w 225"/>
                <a:gd name="T23" fmla="*/ 147 h 222"/>
                <a:gd name="T24" fmla="*/ 149 w 225"/>
                <a:gd name="T25" fmla="*/ 5 h 222"/>
                <a:gd name="T26" fmla="*/ 132 w 225"/>
                <a:gd name="T27" fmla="*/ 1 h 222"/>
                <a:gd name="T28" fmla="*/ 112 w 225"/>
                <a:gd name="T29" fmla="*/ 0 h 222"/>
                <a:gd name="T30" fmla="*/ 93 w 225"/>
                <a:gd name="T31" fmla="*/ 1 h 222"/>
                <a:gd name="T32" fmla="*/ 76 w 225"/>
                <a:gd name="T33" fmla="*/ 5 h 222"/>
                <a:gd name="T34" fmla="*/ 1 w 225"/>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2">
                  <a:moveTo>
                    <a:pt x="1" y="147"/>
                  </a:moveTo>
                  <a:cubicBezTo>
                    <a:pt x="0" y="155"/>
                    <a:pt x="5" y="162"/>
                    <a:pt x="13" y="163"/>
                  </a:cubicBezTo>
                  <a:cubicBezTo>
                    <a:pt x="21" y="164"/>
                    <a:pt x="28" y="158"/>
                    <a:pt x="29" y="151"/>
                  </a:cubicBezTo>
                  <a:cubicBezTo>
                    <a:pt x="35" y="107"/>
                    <a:pt x="45" y="79"/>
                    <a:pt x="55" y="61"/>
                  </a:cubicBezTo>
                  <a:cubicBezTo>
                    <a:pt x="46" y="105"/>
                    <a:pt x="34" y="166"/>
                    <a:pt x="34" y="205"/>
                  </a:cubicBezTo>
                  <a:cubicBezTo>
                    <a:pt x="34" y="205"/>
                    <a:pt x="63" y="222"/>
                    <a:pt x="112" y="222"/>
                  </a:cubicBezTo>
                  <a:cubicBezTo>
                    <a:pt x="161" y="222"/>
                    <a:pt x="191" y="205"/>
                    <a:pt x="191" y="205"/>
                  </a:cubicBezTo>
                  <a:cubicBezTo>
                    <a:pt x="191" y="166"/>
                    <a:pt x="179" y="105"/>
                    <a:pt x="169" y="61"/>
                  </a:cubicBezTo>
                  <a:cubicBezTo>
                    <a:pt x="180" y="79"/>
                    <a:pt x="190" y="107"/>
                    <a:pt x="196" y="151"/>
                  </a:cubicBezTo>
                  <a:cubicBezTo>
                    <a:pt x="197" y="158"/>
                    <a:pt x="203" y="163"/>
                    <a:pt x="210" y="163"/>
                  </a:cubicBezTo>
                  <a:cubicBezTo>
                    <a:pt x="210" y="163"/>
                    <a:pt x="211" y="163"/>
                    <a:pt x="212" y="163"/>
                  </a:cubicBezTo>
                  <a:cubicBezTo>
                    <a:pt x="219" y="162"/>
                    <a:pt x="225" y="155"/>
                    <a:pt x="224" y="147"/>
                  </a:cubicBezTo>
                  <a:cubicBezTo>
                    <a:pt x="209" y="38"/>
                    <a:pt x="167" y="12"/>
                    <a:pt x="149" y="5"/>
                  </a:cubicBezTo>
                  <a:cubicBezTo>
                    <a:pt x="145" y="4"/>
                    <a:pt x="140" y="2"/>
                    <a:pt x="132" y="1"/>
                  </a:cubicBezTo>
                  <a:cubicBezTo>
                    <a:pt x="126" y="0"/>
                    <a:pt x="119" y="0"/>
                    <a:pt x="112" y="0"/>
                  </a:cubicBezTo>
                  <a:cubicBezTo>
                    <a:pt x="106" y="0"/>
                    <a:pt x="99" y="0"/>
                    <a:pt x="93" y="1"/>
                  </a:cubicBezTo>
                  <a:cubicBezTo>
                    <a:pt x="85" y="2"/>
                    <a:pt x="80" y="4"/>
                    <a:pt x="76" y="5"/>
                  </a:cubicBezTo>
                  <a:cubicBezTo>
                    <a:pt x="58"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grpSp>
      <p:sp>
        <p:nvSpPr>
          <p:cNvPr id="39" name="文本框 38"/>
          <p:cNvSpPr txBox="1"/>
          <p:nvPr/>
        </p:nvSpPr>
        <p:spPr bwMode="gray">
          <a:xfrm>
            <a:off x="8150225" y="2227263"/>
            <a:ext cx="3175000" cy="2362200"/>
          </a:xfrm>
          <a:prstGeom prst="rect">
            <a:avLst/>
          </a:prstGeom>
          <a:noFill/>
        </p:spPr>
        <p:txBody>
          <a:bodyPr wrap="square">
            <a:spAutoFit/>
          </a:bodyPr>
          <a:p>
            <a:pPr marL="0" lvl="1" indent="0" defTabSz="914400" fontAlgn="base">
              <a:lnSpc>
                <a:spcPct val="120000"/>
              </a:lnSpc>
              <a:spcAft>
                <a:spcPct val="0"/>
              </a:spcAft>
            </a:pPr>
            <a:r>
              <a:rPr lang="zh-CN" altLang="en-US" sz="1400" b="1" u="none" baseline="0" dirty="0">
                <a:solidFill>
                  <a:schemeClr val="accent1"/>
                </a:solidFill>
                <a:latin typeface="Pfizer Tomorrow" charset="0"/>
                <a:ea typeface="微软雅黑" panose="020B0503020204020204" charset="-122"/>
                <a:sym typeface="Pfizer Tomorrow" charset="0"/>
              </a:rPr>
              <a:t>主要终点</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u="none" baseline="0" dirty="0">
              <a:solidFill>
                <a:schemeClr val="accent1"/>
              </a:solidFill>
              <a:latin typeface="Pfizer Tomorrow" charset="0"/>
              <a:ea typeface="微软雅黑" panose="020B0503020204020204" charset="-122"/>
              <a:sym typeface="Pfizer Tomorrow" charset="0"/>
            </a:endParaRPr>
          </a:p>
          <a:p>
            <a:pPr marL="0" lvl="1" indent="0" defTabSz="914400">
              <a:lnSpc>
                <a:spcPct val="120000"/>
              </a:lnSpc>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 28±3</a:t>
            </a:r>
            <a:r>
              <a:rPr lang="zh-CN" altLang="en-US" sz="1200" dirty="0">
                <a:solidFill>
                  <a:schemeClr val="accent1"/>
                </a:solidFill>
                <a:latin typeface="Pfizer Tomorrow" charset="0"/>
                <a:ea typeface="微软雅黑" panose="020B0503020204020204" charset="-122"/>
                <a:sym typeface="Pfizer Tomorrow" charset="0"/>
              </a:rPr>
              <a:t>天</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pPr>
            <a:r>
              <a:rPr lang="zh-CN" altLang="en-US" sz="1400" b="1" dirty="0">
                <a:solidFill>
                  <a:schemeClr val="accent1"/>
                </a:solidFill>
                <a:latin typeface="Pfizer Tomorrow" charset="0"/>
                <a:ea typeface="微软雅黑" panose="020B0503020204020204" charset="-122"/>
                <a:sym typeface="Pfizer Tomorrow" charset="0"/>
              </a:rPr>
              <a:t>次要终点：</a:t>
            </a:r>
            <a:endParaRPr lang="en-US" altLang="zh-CN" sz="1400" b="1"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EOT</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EOT</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分析集的微生物学疗效</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氨曲南</a:t>
            </a:r>
            <a:r>
              <a:rPr lang="en-US" altLang="zh-CN" sz="1200" u="none" baseline="0" dirty="0">
                <a:solidFill>
                  <a:schemeClr val="accent1"/>
                </a:solidFill>
                <a:latin typeface="Pfizer Tomorrow" charset="0"/>
                <a:ea typeface="微软雅黑" panose="020B0503020204020204" charset="-122"/>
                <a:sym typeface="Pfizer Tomorrow" charset="0"/>
              </a:rPr>
              <a:t>-</a:t>
            </a:r>
            <a:r>
              <a:rPr lang="zh-CN" altLang="en-US" sz="1200" u="none" baseline="0" dirty="0">
                <a:solidFill>
                  <a:schemeClr val="accent1"/>
                </a:solidFill>
                <a:latin typeface="Pfizer Tomorrow" charset="0"/>
                <a:ea typeface="微软雅黑" panose="020B0503020204020204" charset="-122"/>
                <a:sym typeface="Pfizer Tomorrow" charset="0"/>
              </a:rPr>
              <a:t>阿维巴坦的安全性和耐受性</a:t>
            </a:r>
            <a:endParaRPr lang="en-US"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en-AU" altLang="zh-CN" sz="1200" u="none" baseline="0" dirty="0">
                <a:solidFill>
                  <a:schemeClr val="accent1"/>
                </a:solidFill>
                <a:latin typeface="Pfizer Tomorrow" charset="0"/>
                <a:ea typeface="微软雅黑" panose="020B0503020204020204" charset="-122"/>
                <a:sym typeface="Pfizer Tomorrow" charset="0"/>
              </a:rPr>
              <a:t>28</a:t>
            </a:r>
            <a:r>
              <a:rPr lang="zh-CN" altLang="en-US" sz="1200" u="none" baseline="0" dirty="0">
                <a:solidFill>
                  <a:schemeClr val="accent1"/>
                </a:solidFill>
                <a:latin typeface="Pfizer Tomorrow" charset="0"/>
                <a:ea typeface="微软雅黑" panose="020B0503020204020204" charset="-122"/>
                <a:sym typeface="Pfizer Tomorrow" charset="0"/>
              </a:rPr>
              <a:t>天死亡率</a:t>
            </a:r>
            <a:endParaRPr lang="en-AU" altLang="zh-CN" sz="1200" u="none" baseline="0" dirty="0">
              <a:solidFill>
                <a:schemeClr val="accent1"/>
              </a:solidFill>
              <a:latin typeface="Pfizer Tomorrow" charset="0"/>
              <a:ea typeface="微软雅黑" panose="020B0503020204020204" charset="-122"/>
              <a:sym typeface="Pfizer Tomorrow" charset="0"/>
            </a:endParaRPr>
          </a:p>
        </p:txBody>
      </p:sp>
      <p:sp>
        <p:nvSpPr>
          <p:cNvPr id="34" name="文本框 33"/>
          <p:cNvSpPr txBox="1"/>
          <p:nvPr/>
        </p:nvSpPr>
        <p:spPr bwMode="gray">
          <a:xfrm>
            <a:off x="4216400" y="2416175"/>
            <a:ext cx="2776538" cy="307975"/>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氨曲南</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阿维巴坦</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甲硝唑</a:t>
            </a:r>
            <a:r>
              <a:rPr lang="en-US" altLang="zh-CN" sz="1400" b="1" baseline="30000" noProof="1">
                <a:solidFill>
                  <a:schemeClr val="bg1"/>
                </a:solidFill>
                <a:latin typeface="Pfizer Tomorrow" charset="0"/>
                <a:ea typeface="微软雅黑" panose="020B0503020204020204" charset="-122"/>
                <a:cs typeface="+mn-ea"/>
                <a:sym typeface="Pfizer Tomorrow" charset="0"/>
              </a:rPr>
              <a:t>#</a:t>
            </a:r>
            <a:endParaRPr kumimoji="0" lang="en-US" altLang="zh-CN" sz="1400" b="1" i="0" kern="1200" cap="none" spc="0" normalizeH="0" baseline="30000" noProof="0">
              <a:solidFill>
                <a:schemeClr val="bg1"/>
              </a:solidFill>
              <a:latin typeface="Pfizer Tomorrow" charset="0"/>
              <a:ea typeface="微软雅黑" panose="020B0503020204020204" charset="-122"/>
              <a:cs typeface="+mn-ea"/>
              <a:sym typeface="Pfizer Tomorrow" charset="0"/>
            </a:endParaRPr>
          </a:p>
        </p:txBody>
      </p:sp>
      <p:sp>
        <p:nvSpPr>
          <p:cNvPr id="35" name="文本框 34"/>
          <p:cNvSpPr txBox="1"/>
          <p:nvPr/>
        </p:nvSpPr>
        <p:spPr bwMode="gray">
          <a:xfrm>
            <a:off x="4321175" y="3865563"/>
            <a:ext cx="2776538" cy="307975"/>
          </a:xfrm>
          <a:prstGeom prst="rect">
            <a:avLst/>
          </a:prstGeom>
          <a:noFill/>
        </p:spPr>
        <p:txBody>
          <a:bodyPr wrap="square">
            <a:spAutoFit/>
          </a:bodyPr>
          <a:lstStyle/>
          <a:p>
            <a:pPr marR="0" algn="ctr" defTabSz="914400" rtl="0" fontAlgn="auto">
              <a:spcAft>
                <a:spcPts val="0"/>
              </a:spcAft>
              <a:buClrTx/>
              <a:buSzTx/>
              <a:buFontTx/>
              <a:buNone/>
              <a:defRPr/>
            </a:pP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BAT</a:t>
            </a:r>
            <a:endPar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68628" name="文本框 29"/>
          <p:cNvSpPr txBox="1"/>
          <p:nvPr/>
        </p:nvSpPr>
        <p:spPr>
          <a:xfrm>
            <a:off x="3565525" y="2779713"/>
            <a:ext cx="4303713" cy="246062"/>
          </a:xfrm>
          <a:prstGeom prst="rect">
            <a:avLst/>
          </a:prstGeom>
          <a:noFill/>
          <a:ln w="9525">
            <a:noFill/>
          </a:ln>
        </p:spPr>
        <p:txBody>
          <a:bodyPr wrap="square" anchor="t" anchorCtr="0">
            <a:spAutoFit/>
          </a:bodyPr>
          <a:p>
            <a:r>
              <a:rPr lang="en-US" altLang="zh-CN" sz="1000" baseline="30000">
                <a:solidFill>
                  <a:srgbClr val="404040"/>
                </a:solidFill>
                <a:latin typeface="Pfizer Tomorrow" charset="0"/>
                <a:ea typeface="微软雅黑" panose="020B0503020204020204" charset="-122"/>
                <a:sym typeface="Pfizer Tomorrow" charset="0"/>
              </a:rPr>
              <a:t>#</a:t>
            </a:r>
            <a:r>
              <a:rPr lang="zh-CN" altLang="en-US" sz="1000">
                <a:solidFill>
                  <a:srgbClr val="404040"/>
                </a:solidFill>
                <a:latin typeface="Pfizer Tomorrow" charset="0"/>
                <a:ea typeface="微软雅黑" panose="020B0503020204020204" charset="-122"/>
                <a:sym typeface="Pfizer Tomorrow" charset="0"/>
              </a:rPr>
              <a:t>氨曲南</a:t>
            </a:r>
            <a:r>
              <a:rPr lang="en-US" altLang="zh-CN" sz="1000">
                <a:solidFill>
                  <a:srgbClr val="404040"/>
                </a:solidFill>
                <a:latin typeface="Pfizer Tomorrow" charset="0"/>
                <a:ea typeface="微软雅黑" panose="020B0503020204020204" charset="-122"/>
                <a:sym typeface="Pfizer Tomorrow" charset="0"/>
              </a:rPr>
              <a:t>-</a:t>
            </a:r>
            <a:r>
              <a:rPr lang="zh-CN" altLang="en-US" sz="1000">
                <a:solidFill>
                  <a:srgbClr val="404040"/>
                </a:solidFill>
                <a:latin typeface="Pfizer Tomorrow" charset="0"/>
                <a:ea typeface="微软雅黑" panose="020B0503020204020204" charset="-122"/>
                <a:sym typeface="Pfizer Tomorrow" charset="0"/>
              </a:rPr>
              <a:t>阿维巴坦治疗</a:t>
            </a:r>
            <a:r>
              <a:rPr lang="en-US" altLang="zh-CN" sz="1000" err="1">
                <a:solidFill>
                  <a:srgbClr val="404040"/>
                </a:solidFill>
                <a:latin typeface="Pfizer Tomorrow" charset="0"/>
                <a:ea typeface="微软雅黑" panose="020B0503020204020204" charset="-122"/>
                <a:sym typeface="Pfizer Tomorrow" charset="0"/>
              </a:rPr>
              <a:t>cIAI</a:t>
            </a:r>
            <a:r>
              <a:rPr lang="zh-CN" altLang="en-US" sz="1000">
                <a:solidFill>
                  <a:srgbClr val="404040"/>
                </a:solidFill>
                <a:latin typeface="Pfizer Tomorrow" charset="0"/>
                <a:ea typeface="微软雅黑" panose="020B0503020204020204" charset="-122"/>
                <a:sym typeface="Pfizer Tomorrow" charset="0"/>
              </a:rPr>
              <a:t>患者时联合甲硝唑</a:t>
            </a:r>
            <a:endParaRPr lang="zh-CN" altLang="en-US" sz="1000">
              <a:latin typeface="Pfizer Tomorrow" charset="0"/>
              <a:ea typeface="微软雅黑" panose="020B0503020204020204" charset="-122"/>
              <a:sym typeface="Pfizer Tomorrow" charset="0"/>
            </a:endParaRPr>
          </a:p>
        </p:txBody>
      </p:sp>
      <p:sp>
        <p:nvSpPr>
          <p:cNvPr id="68629" name="文本框 30"/>
          <p:cNvSpPr txBox="1"/>
          <p:nvPr/>
        </p:nvSpPr>
        <p:spPr>
          <a:xfrm>
            <a:off x="688975" y="4687888"/>
            <a:ext cx="11017250" cy="461962"/>
          </a:xfrm>
          <a:prstGeom prst="rect">
            <a:avLst/>
          </a:prstGeom>
          <a:noFill/>
          <a:ln w="9525">
            <a:noFill/>
          </a:ln>
        </p:spPr>
        <p:txBody>
          <a:bodyPr wrap="square" anchor="t" anchorCtr="0">
            <a:spAutoFit/>
          </a:bodyPr>
          <a:p>
            <a:r>
              <a:rPr lang="zh-CN" altLang="en-US" sz="1200" dirty="0">
                <a:latin typeface="Pfizer Tomorrow" charset="0"/>
                <a:ea typeface="微软雅黑" panose="020B0503020204020204" charset="-122"/>
              </a:rPr>
              <a:t>最佳可用疗法（</a:t>
            </a:r>
            <a:r>
              <a:rPr lang="en-US" altLang="zh-CN" sz="1200" dirty="0">
                <a:latin typeface="Pfizer Tomorrow" charset="0"/>
                <a:ea typeface="微软雅黑" panose="020B0503020204020204" charset="-122"/>
              </a:rPr>
              <a:t>BAT</a:t>
            </a:r>
            <a:r>
              <a:rPr lang="zh-CN" altLang="en-US" sz="1200" dirty="0">
                <a:latin typeface="Pfizer Tomorrow" charset="0"/>
                <a:ea typeface="微软雅黑" panose="020B0503020204020204" charset="-122"/>
              </a:rPr>
              <a:t>）：方案包括阿米卡星</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多黏菌素</a:t>
            </a:r>
            <a:r>
              <a:rPr lang="en-US" altLang="zh-CN" sz="1200" dirty="0">
                <a:latin typeface="Pfizer Tomorrow" charset="0"/>
                <a:ea typeface="微软雅黑" panose="020B0503020204020204" charset="-122"/>
              </a:rPr>
              <a:t>E+</a:t>
            </a:r>
            <a:r>
              <a:rPr lang="zh-CN" altLang="en-US" sz="1200" dirty="0">
                <a:latin typeface="Pfizer Tomorrow" charset="0"/>
                <a:ea typeface="微软雅黑" panose="020B0503020204020204" charset="-122"/>
              </a:rPr>
              <a:t>美罗培南（</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和阿米卡星</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多黏菌素</a:t>
            </a:r>
            <a:r>
              <a:rPr lang="en-US" altLang="zh-CN" sz="1200" dirty="0">
                <a:latin typeface="Pfizer Tomorrow" charset="0"/>
                <a:ea typeface="微软雅黑" panose="020B0503020204020204" charset="-122"/>
              </a:rPr>
              <a:t>E</a:t>
            </a:r>
            <a:r>
              <a:rPr lang="zh-CN" altLang="en-US" sz="1200" dirty="0">
                <a:latin typeface="Pfizer Tomorrow" charset="0"/>
                <a:ea typeface="微软雅黑" panose="020B0503020204020204" charset="-122"/>
              </a:rPr>
              <a:t>（</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另一名随机分配至</a:t>
            </a:r>
            <a:r>
              <a:rPr lang="en-US" altLang="zh-CN" sz="1200" dirty="0">
                <a:latin typeface="Pfizer Tomorrow" charset="0"/>
                <a:ea typeface="微软雅黑" panose="020B0503020204020204" charset="-122"/>
              </a:rPr>
              <a:t>BAT</a:t>
            </a:r>
            <a:r>
              <a:rPr lang="zh-CN" altLang="en-US" sz="1200" dirty="0">
                <a:latin typeface="Pfizer Tomorrow" charset="0"/>
                <a:ea typeface="微软雅黑" panose="020B0503020204020204" charset="-122"/>
              </a:rPr>
              <a:t>组的受试者（</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未接受研究治疗</a:t>
            </a:r>
            <a:r>
              <a:rPr lang="en-US" altLang="zh-CN" sz="1200" baseline="30000" dirty="0">
                <a:latin typeface="Pfizer Tomorrow" charset="0"/>
                <a:ea typeface="微软雅黑" panose="020B0503020204020204" charset="-122"/>
              </a:rPr>
              <a:t>2</a:t>
            </a:r>
            <a:endParaRPr lang="zh-CN" altLang="en-US" sz="1200" baseline="30000" dirty="0">
              <a:latin typeface="Pfizer Tomorrow"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角 5"/>
          <p:cNvSpPr/>
          <p:nvPr/>
        </p:nvSpPr>
        <p:spPr>
          <a:xfrm>
            <a:off x="587375" y="1720850"/>
            <a:ext cx="11017250" cy="3359150"/>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9" name="矩形: 圆顶角 8"/>
          <p:cNvSpPr/>
          <p:nvPr/>
        </p:nvSpPr>
        <p:spPr>
          <a:xfrm>
            <a:off x="2713038" y="1374775"/>
            <a:ext cx="7154863" cy="358775"/>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ASSEMBL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研究疗效结果</a:t>
            </a:r>
            <a:r>
              <a:rPr kumimoji="0" lang="en-US" altLang="zh-CN"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70659" name="标题 4"/>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ASSEMBLE研究</a:t>
            </a:r>
            <a:r>
              <a:rPr lang="en-US" altLang="zh-CN" b="1" dirty="0">
                <a:solidFill>
                  <a:srgbClr val="000D45"/>
                </a:solidFill>
                <a:latin typeface="Pfizer Tomorrow" charset="0"/>
                <a:ea typeface="微软雅黑" panose="020B0503020204020204" charset="-122"/>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相较于BAT，</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临床治愈率更高，28天全因死亡率更低</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0660" name="文本框 3"/>
          <p:cNvSpPr txBox="1"/>
          <p:nvPr/>
        </p:nvSpPr>
        <p:spPr>
          <a:xfrm>
            <a:off x="587375" y="6308725"/>
            <a:ext cx="10850563" cy="338138"/>
          </a:xfrm>
          <a:prstGeom prst="rect">
            <a:avLst/>
          </a:prstGeom>
          <a:noFill/>
          <a:ln w="9525">
            <a:noFill/>
          </a:ln>
        </p:spPr>
        <p:txBody>
          <a:bodyPr wrap="square" anchor="t" anchorCtr="0">
            <a:spAutoFit/>
          </a:bodyPr>
          <a:p>
            <a:pPr>
              <a:buFont typeface="宋体" pitchFamily="2" charset="-122"/>
              <a:buAutoNum type="arabicPeriod"/>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ClinicalTrials.gov. https://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en-US" altLang="zh-CN" sz="800" dirty="0">
              <a:latin typeface="Pfizer Tomorrow" charset="0"/>
              <a:ea typeface="微软雅黑" panose="020B0503020204020204" charset="-122"/>
              <a:sym typeface="Pfizer Tomorrow" charset="0"/>
            </a:endParaRPr>
          </a:p>
          <a:p>
            <a:pPr>
              <a:buFont typeface="宋体" pitchFamily="2" charset="-122"/>
              <a:buAutoNum type="arabicPeriod"/>
            </a:pPr>
            <a:r>
              <a:rPr lang="en-US" altLang="zh-CN" sz="800" dirty="0">
                <a:latin typeface="Pfizer Tomorrow" charset="0"/>
                <a:ea typeface="微软雅黑" panose="020B0503020204020204" charset="-122"/>
                <a:sym typeface="Pfizer Tomorrow" charset="0"/>
              </a:rPr>
              <a:t>G.L. </a:t>
            </a:r>
            <a:r>
              <a:rPr lang="en-US" altLang="zh-CN" sz="800" dirty="0" err="1">
                <a:latin typeface="Pfizer Tomorrow" charset="0"/>
                <a:ea typeface="微软雅黑" panose="020B0503020204020204" charset="-122"/>
                <a:sym typeface="Pfizer Tomorrow" charset="0"/>
              </a:rPr>
              <a:t>Daikos</a:t>
            </a:r>
            <a:r>
              <a:rPr lang="en-US" altLang="zh-CN" sz="800" dirty="0">
                <a:latin typeface="Pfizer Tomorrow" charset="0"/>
                <a:ea typeface="微软雅黑" panose="020B0503020204020204" charset="-122"/>
                <a:sym typeface="Pfizer Tomorrow" charset="0"/>
              </a:rPr>
              <a:t>, et al. Poster presented at: European Congress of Clinical Microbiology and Infectious Diseases(E0846); April 27-30, 2024; Barcelona, Spain.</a:t>
            </a:r>
            <a:endParaRPr lang="en-US" altLang="zh-CN" sz="800" dirty="0">
              <a:latin typeface="Pfizer Tomorrow" charset="0"/>
              <a:ea typeface="微软雅黑" panose="020B0503020204020204" charset="-122"/>
              <a:sym typeface="Pfizer Tomorrow" charset="0"/>
            </a:endParaRPr>
          </a:p>
        </p:txBody>
      </p:sp>
      <p:sp>
        <p:nvSpPr>
          <p:cNvPr id="13" name="矩形 12"/>
          <p:cNvSpPr/>
          <p:nvPr/>
        </p:nvSpPr>
        <p:spPr>
          <a:xfrm>
            <a:off x="985838" y="4543425"/>
            <a:ext cx="10220325" cy="431800"/>
          </a:xfrm>
          <a:prstGeom prst="rect">
            <a:avLst/>
          </a:prstGeom>
          <a:solidFill>
            <a:srgbClr val="8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70662" name="文本框 11"/>
          <p:cNvSpPr txBox="1"/>
          <p:nvPr/>
        </p:nvSpPr>
        <p:spPr>
          <a:xfrm>
            <a:off x="1066800" y="4600575"/>
            <a:ext cx="10074275" cy="338138"/>
          </a:xfrm>
          <a:prstGeom prst="rect">
            <a:avLst/>
          </a:prstGeom>
          <a:noFill/>
          <a:ln w="9525">
            <a:noFill/>
          </a:ln>
        </p:spPr>
        <p:txBody>
          <a:bodyPr wrap="square" anchor="t" anchorCtr="0">
            <a:spAutoFit/>
          </a:bodyPr>
          <a:p>
            <a:pPr algn="ctr"/>
            <a:r>
              <a:rPr lang="zh-CN" altLang="en-US" sz="1600" b="1" dirty="0">
                <a:solidFill>
                  <a:schemeClr val="accent1"/>
                </a:solidFill>
                <a:latin typeface="Pfizer Tomorrow" charset="0"/>
                <a:ea typeface="微软雅黑" panose="020B0503020204020204" charset="-122"/>
                <a:sym typeface="Pfizer Tomorrow" charset="0"/>
              </a:rPr>
              <a:t>氨曲南</a:t>
            </a:r>
            <a:r>
              <a:rPr lang="en-US" altLang="zh-CN" sz="1600" b="1" dirty="0">
                <a:solidFill>
                  <a:schemeClr val="accent1"/>
                </a:solidFill>
                <a:latin typeface="Pfizer Tomorrow" charset="0"/>
                <a:ea typeface="微软雅黑" panose="020B0503020204020204" charset="-122"/>
                <a:sym typeface="Pfizer Tomorrow" charset="0"/>
              </a:rPr>
              <a:t>-</a:t>
            </a:r>
            <a:r>
              <a:rPr lang="zh-CN" altLang="en-US" sz="1600" b="1" dirty="0">
                <a:solidFill>
                  <a:schemeClr val="accent1"/>
                </a:solidFill>
                <a:latin typeface="Pfizer Tomorrow" charset="0"/>
                <a:ea typeface="微软雅黑" panose="020B0503020204020204" charset="-122"/>
                <a:sym typeface="Pfizer Tomorrow" charset="0"/>
              </a:rPr>
              <a:t>阿维巴坦治疗患者未出现治疗相关的 </a:t>
            </a:r>
            <a:r>
              <a:rPr lang="en-US" altLang="zh-CN" sz="1600" b="1" dirty="0">
                <a:solidFill>
                  <a:schemeClr val="accent1"/>
                </a:solidFill>
                <a:latin typeface="Pfizer Tomorrow" charset="0"/>
                <a:ea typeface="微软雅黑" panose="020B0503020204020204" charset="-122"/>
                <a:sym typeface="Pfizer Tomorrow" charset="0"/>
              </a:rPr>
              <a:t>SAE</a:t>
            </a:r>
            <a:r>
              <a:rPr lang="zh-CN" altLang="en-US" sz="1600" b="1" dirty="0">
                <a:solidFill>
                  <a:schemeClr val="accent1"/>
                </a:solidFill>
                <a:latin typeface="Pfizer Tomorrow" charset="0"/>
                <a:ea typeface="微软雅黑" panose="020B0503020204020204" charset="-122"/>
                <a:sym typeface="Pfizer Tomorrow" charset="0"/>
              </a:rPr>
              <a:t>，</a:t>
            </a:r>
            <a:r>
              <a:rPr lang="en-US" altLang="zh-CN" sz="1600" b="1" dirty="0">
                <a:solidFill>
                  <a:schemeClr val="accent1"/>
                </a:solidFill>
                <a:latin typeface="Pfizer Tomorrow" charset="0"/>
                <a:ea typeface="微软雅黑" panose="020B0503020204020204" charset="-122"/>
                <a:sym typeface="Pfizer Tomorrow" charset="0"/>
              </a:rPr>
              <a:t>BAT</a:t>
            </a:r>
            <a:r>
              <a:rPr lang="zh-CN" altLang="en-US" sz="1600" b="1" dirty="0">
                <a:solidFill>
                  <a:schemeClr val="accent1"/>
                </a:solidFill>
                <a:latin typeface="Pfizer Tomorrow" charset="0"/>
                <a:ea typeface="微软雅黑" panose="020B0503020204020204" charset="-122"/>
                <a:sym typeface="Pfizer Tomorrow" charset="0"/>
              </a:rPr>
              <a:t>组中有一例</a:t>
            </a:r>
            <a:r>
              <a:rPr lang="en-US" altLang="zh-CN" sz="1600" b="1" dirty="0">
                <a:solidFill>
                  <a:schemeClr val="accent1"/>
                </a:solidFill>
                <a:latin typeface="Pfizer Tomorrow" charset="0"/>
                <a:ea typeface="微软雅黑" panose="020B0503020204020204" charset="-122"/>
                <a:sym typeface="Pfizer Tomorrow" charset="0"/>
              </a:rPr>
              <a:t>SAE</a:t>
            </a:r>
            <a:r>
              <a:rPr lang="zh-CN" altLang="en-US" sz="1600" b="1" dirty="0">
                <a:solidFill>
                  <a:schemeClr val="accent1"/>
                </a:solidFill>
                <a:latin typeface="Pfizer Tomorrow" charset="0"/>
                <a:ea typeface="微软雅黑" panose="020B0503020204020204" charset="-122"/>
                <a:sym typeface="Pfizer Tomorrow" charset="0"/>
              </a:rPr>
              <a:t>（急性肾损伤）被认为与治疗有关</a:t>
            </a:r>
            <a:r>
              <a:rPr lang="en-US" altLang="zh-CN" sz="1600" b="1" baseline="30000" dirty="0">
                <a:solidFill>
                  <a:schemeClr val="accent1"/>
                </a:solidFill>
                <a:latin typeface="Pfizer Tomorrow" charset="0"/>
                <a:ea typeface="微软雅黑" panose="020B0503020204020204" charset="-122"/>
                <a:sym typeface="Pfizer Tomorrow" charset="0"/>
              </a:rPr>
              <a:t>2</a:t>
            </a:r>
            <a:endParaRPr lang="zh-CN" altLang="en-US" sz="1600" b="1" baseline="30000" dirty="0">
              <a:solidFill>
                <a:schemeClr val="accent1"/>
              </a:solidFill>
              <a:latin typeface="Pfizer Tomorrow" charset="0"/>
              <a:ea typeface="微软雅黑" panose="020B0503020204020204" charset="-122"/>
              <a:sym typeface="Pfizer Tomorrow" charset="0"/>
            </a:endParaRPr>
          </a:p>
        </p:txBody>
      </p:sp>
      <p:sp>
        <p:nvSpPr>
          <p:cNvPr id="70663" name="文本框 1"/>
          <p:cNvSpPr txBox="1"/>
          <p:nvPr/>
        </p:nvSpPr>
        <p:spPr>
          <a:xfrm>
            <a:off x="579438" y="5143500"/>
            <a:ext cx="11049000" cy="484188"/>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一项前瞻性、随机、多中心、开放标签、平行分组对照试验，纳入了</a:t>
            </a:r>
            <a:r>
              <a:rPr lang="en-US" altLang="zh-CN" sz="1200" dirty="0">
                <a:latin typeface="Pfizer Tomorrow" charset="0"/>
                <a:ea typeface="微软雅黑" panose="020B0503020204020204" charset="-122"/>
                <a:sym typeface="Pfizer Tomorrow" charset="0"/>
              </a:rPr>
              <a:t>9</a:t>
            </a:r>
            <a:r>
              <a:rPr lang="zh-CN" altLang="en-US" sz="1200" dirty="0">
                <a:latin typeface="Pfizer Tomorrow" charset="0"/>
                <a:ea typeface="微软雅黑" panose="020B0503020204020204" charset="-122"/>
                <a:sym typeface="Pfizer Tomorrow" charset="0"/>
              </a:rPr>
              <a:t>个国家的</a:t>
            </a:r>
            <a:r>
              <a:rPr lang="en-US" altLang="zh-CN" sz="1200" dirty="0">
                <a:latin typeface="Pfizer Tomorrow" charset="0"/>
                <a:ea typeface="微软雅黑" panose="020B0503020204020204" charset="-122"/>
                <a:sym typeface="Pfizer Tomorrow" charset="0"/>
              </a:rPr>
              <a:t>12</a:t>
            </a:r>
            <a:r>
              <a:rPr lang="zh-CN" altLang="en-US" sz="1200" dirty="0">
                <a:latin typeface="Pfizer Tomorrow" charset="0"/>
                <a:ea typeface="微软雅黑" panose="020B0503020204020204" charset="-122"/>
                <a:sym typeface="Pfizer Tomorrow" charset="0"/>
              </a:rPr>
              <a:t>个治疗中心的</a:t>
            </a:r>
            <a:r>
              <a:rPr lang="en-US" altLang="zh-CN" sz="1200" dirty="0">
                <a:latin typeface="Pfizer Tomorrow" charset="0"/>
                <a:ea typeface="微软雅黑" panose="020B0503020204020204" charset="-122"/>
                <a:sym typeface="Pfizer Tomorrow" charset="0"/>
              </a:rPr>
              <a:t>15</a:t>
            </a:r>
            <a:r>
              <a:rPr lang="zh-CN" altLang="en-US" sz="1200" dirty="0">
                <a:latin typeface="Pfizer Tomorrow" charset="0"/>
                <a:ea typeface="微软雅黑" panose="020B0503020204020204" charset="-122"/>
                <a:sym typeface="Pfizer Tomorrow" charset="0"/>
              </a:rPr>
              <a:t>例因产</a:t>
            </a:r>
            <a:r>
              <a:rPr lang="en-US" altLang="zh-CN" sz="1200" dirty="0">
                <a:latin typeface="Pfizer Tomorrow" charset="0"/>
                <a:ea typeface="微软雅黑" panose="020B0503020204020204" charset="-122"/>
                <a:sym typeface="Pfizer Tomorrow" charset="0"/>
              </a:rPr>
              <a:t>MBL</a:t>
            </a:r>
            <a:r>
              <a:rPr lang="zh-CN" altLang="en-US" sz="1200" dirty="0">
                <a:latin typeface="Pfizer Tomorrow" charset="0"/>
                <a:ea typeface="微软雅黑" panose="020B0503020204020204" charset="-122"/>
                <a:sym typeface="Pfizer Tomorrow" charset="0"/>
              </a:rPr>
              <a:t>的革兰阴性细菌导致的</a:t>
            </a:r>
            <a:r>
              <a:rPr lang="en-US" altLang="zh-CN" sz="1200" dirty="0">
                <a:latin typeface="Pfizer Tomorrow" charset="0"/>
                <a:ea typeface="微软雅黑" panose="020B0503020204020204" charset="-122"/>
                <a:sym typeface="Pfizer Tomorrow" charset="0"/>
              </a:rPr>
              <a:t>HAP/VAP</a:t>
            </a:r>
            <a:r>
              <a:rPr lang="zh-CN" altLang="en-US" sz="1200" dirty="0">
                <a:latin typeface="Pfizer Tomorrow" charset="0"/>
                <a:ea typeface="微软雅黑" panose="020B0503020204020204" charset="-122"/>
                <a:sym typeface="Pfizer Tomorrow" charset="0"/>
              </a:rPr>
              <a:t>、</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等成人住院患者，随机</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分为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治疗组和最佳可用疗法组，以评估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与现有最佳疗法的疗效、安全性和耐受性</a:t>
            </a:r>
            <a:endParaRPr lang="zh-CN" altLang="en-US" sz="1200" dirty="0">
              <a:latin typeface="Pfizer Tomorrow" charset="0"/>
              <a:ea typeface="微软雅黑" panose="020B0503020204020204" charset="-122"/>
              <a:sym typeface="Pfizer Tomorrow" charset="0"/>
            </a:endParaRPr>
          </a:p>
        </p:txBody>
      </p:sp>
      <p:graphicFrame>
        <p:nvGraphicFramePr>
          <p:cNvPr id="11" name="图表 10"/>
          <p:cNvGraphicFramePr/>
          <p:nvPr/>
        </p:nvGraphicFramePr>
        <p:xfrm>
          <a:off x="913489" y="2396499"/>
          <a:ext cx="4602884" cy="1936099"/>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4" name="图表 13"/>
          <p:cNvGraphicFramePr/>
          <p:nvPr/>
        </p:nvGraphicFramePr>
        <p:xfrm>
          <a:off x="6542027" y="2396499"/>
          <a:ext cx="4767404" cy="1936099"/>
        </p:xfrm>
        <a:graphic>
          <a:graphicData uri="http://schemas.openxmlformats.org/drawingml/2006/chart">
            <c:chart xmlns:c="http://schemas.openxmlformats.org/drawingml/2006/chart" xmlns:r="http://schemas.openxmlformats.org/officeDocument/2006/relationships" r:id="rId2"/>
          </a:graphicData>
        </a:graphic>
      </p:graphicFrame>
      <p:sp>
        <p:nvSpPr>
          <p:cNvPr id="70666" name="矩形: 圆角 16"/>
          <p:cNvSpPr/>
          <p:nvPr/>
        </p:nvSpPr>
        <p:spPr>
          <a:xfrm>
            <a:off x="1774825" y="1827213"/>
            <a:ext cx="2859088" cy="473075"/>
          </a:xfrm>
          <a:prstGeom prst="roundRect">
            <a:avLst>
              <a:gd name="adj" fmla="val 11657"/>
            </a:avLst>
          </a:prstGeom>
          <a:noFill/>
          <a:ln w="19050">
            <a:noFill/>
          </a:ln>
        </p:spPr>
        <p:txBody>
          <a:bodyPr anchor="ctr" anchorCtr="0"/>
          <a:p>
            <a:pPr>
              <a:buSzPct val="90000"/>
              <a:buFont typeface="Wingdings" panose="05000000000000000000" pitchFamily="2" charset="2"/>
              <a:buNone/>
            </a:pPr>
            <a:r>
              <a:rPr lang="en-US" altLang="zh-CN" sz="1400" b="1">
                <a:solidFill>
                  <a:schemeClr val="accent1"/>
                </a:solidFill>
                <a:latin typeface="Pfizer Tomorrow" charset="0"/>
                <a:ea typeface="微软雅黑" panose="020B0503020204020204" charset="-122"/>
                <a:sym typeface="Pfizer Tomorrow" charset="0"/>
              </a:rPr>
              <a:t>TOC</a:t>
            </a:r>
            <a:r>
              <a:rPr lang="zh-CN" altLang="en-US" sz="1400" b="1">
                <a:solidFill>
                  <a:schemeClr val="accent1"/>
                </a:solidFill>
                <a:latin typeface="Pfizer Tomorrow" charset="0"/>
                <a:ea typeface="微软雅黑" panose="020B0503020204020204" charset="-122"/>
                <a:sym typeface="Pfizer Tomorrow" charset="0"/>
              </a:rPr>
              <a:t>时，</a:t>
            </a:r>
            <a:r>
              <a:rPr lang="en-US" altLang="zh-CN" sz="1400" b="1" err="1">
                <a:solidFill>
                  <a:schemeClr val="accent1"/>
                </a:solidFill>
                <a:latin typeface="Pfizer Tomorrow" charset="0"/>
                <a:ea typeface="微软雅黑" panose="020B0503020204020204" charset="-122"/>
                <a:sym typeface="Pfizer Tomorrow" charset="0"/>
              </a:rPr>
              <a:t>mITT</a:t>
            </a:r>
            <a:r>
              <a:rPr lang="zh-CN" altLang="en-US" sz="1400" b="1">
                <a:solidFill>
                  <a:schemeClr val="accent1"/>
                </a:solidFill>
                <a:latin typeface="Pfizer Tomorrow" charset="0"/>
                <a:ea typeface="微软雅黑" panose="020B0503020204020204" charset="-122"/>
                <a:sym typeface="Pfizer Tomorrow" charset="0"/>
              </a:rPr>
              <a:t>人群的临床治愈率</a:t>
            </a:r>
            <a:endParaRPr lang="en-US" altLang="zh-CN" sz="1400" b="1" baseline="30000">
              <a:solidFill>
                <a:schemeClr val="accent1"/>
              </a:solidFill>
              <a:latin typeface="Pfizer Tomorrow" charset="0"/>
              <a:ea typeface="微软雅黑" panose="020B0503020204020204" charset="-122"/>
              <a:sym typeface="Pfizer Tomorrow" charset="0"/>
            </a:endParaRPr>
          </a:p>
        </p:txBody>
      </p:sp>
      <p:sp>
        <p:nvSpPr>
          <p:cNvPr id="70667" name="矩形: 圆角 18"/>
          <p:cNvSpPr/>
          <p:nvPr/>
        </p:nvSpPr>
        <p:spPr>
          <a:xfrm>
            <a:off x="7385050" y="1827213"/>
            <a:ext cx="2859088" cy="473075"/>
          </a:xfrm>
          <a:prstGeom prst="roundRect">
            <a:avLst>
              <a:gd name="adj" fmla="val 11657"/>
            </a:avLst>
          </a:prstGeom>
          <a:noFill/>
          <a:ln w="19050">
            <a:noFill/>
          </a:ln>
        </p:spPr>
        <p:txBody>
          <a:bodyPr anchor="ctr" anchorCtr="0"/>
          <a:p>
            <a:pPr algn="ctr">
              <a:buSzPct val="90000"/>
              <a:buFont typeface="Wingdings" panose="05000000000000000000" pitchFamily="2" charset="2"/>
              <a:buNone/>
            </a:pPr>
            <a:r>
              <a:rPr lang="en-US" altLang="zh-CN" sz="1400" b="1" dirty="0" err="1">
                <a:solidFill>
                  <a:schemeClr val="accent1"/>
                </a:solidFill>
                <a:latin typeface="Pfizer Tomorrow" charset="0"/>
                <a:ea typeface="微软雅黑" panose="020B0503020204020204" charset="-122"/>
                <a:sym typeface="Pfizer Tomorrow" charset="0"/>
              </a:rPr>
              <a:t>mITT</a:t>
            </a:r>
            <a:r>
              <a:rPr lang="zh-CN" altLang="en-US" sz="1400" b="1" dirty="0">
                <a:solidFill>
                  <a:schemeClr val="accent1"/>
                </a:solidFill>
                <a:latin typeface="Pfizer Tomorrow" charset="0"/>
                <a:ea typeface="微软雅黑" panose="020B0503020204020204" charset="-122"/>
                <a:sym typeface="Pfizer Tomorrow" charset="0"/>
              </a:rPr>
              <a:t>人群的</a:t>
            </a:r>
            <a:r>
              <a:rPr lang="en-US" altLang="zh-CN" sz="1400" b="1" dirty="0">
                <a:solidFill>
                  <a:schemeClr val="accent1"/>
                </a:solidFill>
                <a:latin typeface="Pfizer Tomorrow" charset="0"/>
                <a:ea typeface="微软雅黑" panose="020B0503020204020204" charset="-122"/>
                <a:sym typeface="Pfizer Tomorrow" charset="0"/>
              </a:rPr>
              <a:t>28</a:t>
            </a:r>
            <a:r>
              <a:rPr lang="zh-CN" altLang="en-US" sz="1400" b="1" dirty="0">
                <a:solidFill>
                  <a:schemeClr val="accent1"/>
                </a:solidFill>
                <a:latin typeface="Pfizer Tomorrow" charset="0"/>
                <a:ea typeface="微软雅黑" panose="020B0503020204020204" charset="-122"/>
                <a:sym typeface="Pfizer Tomorrow" charset="0"/>
              </a:rPr>
              <a:t>天死亡率</a:t>
            </a:r>
            <a:endParaRPr lang="en-US" altLang="zh-CN" sz="1400" b="1" baseline="30000" dirty="0">
              <a:solidFill>
                <a:schemeClr val="accent1"/>
              </a:solidFill>
              <a:latin typeface="Pfizer Tomorrow" charset="0"/>
              <a:ea typeface="微软雅黑" panose="020B0503020204020204" charset="-122"/>
              <a:sym typeface="Pfizer Tomorrow" charset="0"/>
            </a:endParaRPr>
          </a:p>
        </p:txBody>
      </p:sp>
      <p:sp>
        <p:nvSpPr>
          <p:cNvPr id="70668" name="文本框 19"/>
          <p:cNvSpPr txBox="1"/>
          <p:nvPr/>
        </p:nvSpPr>
        <p:spPr>
          <a:xfrm>
            <a:off x="531813" y="5691188"/>
            <a:ext cx="10609262" cy="430212"/>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en-US" altLang="zh-CN" sz="1100" dirty="0">
                <a:solidFill>
                  <a:srgbClr val="595959"/>
                </a:solidFill>
                <a:latin typeface="Pfizer Tomorrow" charset="0"/>
                <a:ea typeface="微软雅黑" panose="020B0503020204020204" charset="-122"/>
                <a:sym typeface="Pfizer Tomorrow" charset="0"/>
              </a:rPr>
              <a:t>TOC</a:t>
            </a:r>
            <a:r>
              <a:rPr lang="zh-CN" altLang="en-US" sz="1100" dirty="0">
                <a:solidFill>
                  <a:srgbClr val="595959"/>
                </a:solidFill>
                <a:latin typeface="Pfizer Tomorrow" charset="0"/>
                <a:ea typeface="微软雅黑" panose="020B0503020204020204" charset="-122"/>
                <a:sym typeface="Pfizer Tomorrow" charset="0"/>
              </a:rPr>
              <a:t>：治愈访视</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a:solidFill>
                  <a:srgbClr val="595959"/>
                </a:solidFill>
                <a:latin typeface="Pfizer Tomorrow" charset="0"/>
                <a:ea typeface="微软雅黑" panose="020B0503020204020204" charset="-122"/>
                <a:sym typeface="Pfizer Tomorrow" charset="0"/>
              </a:rPr>
              <a:t>EOT</a:t>
            </a:r>
            <a:r>
              <a:rPr lang="zh-CN" altLang="en-US" sz="1100" dirty="0">
                <a:solidFill>
                  <a:srgbClr val="595959"/>
                </a:solidFill>
                <a:latin typeface="Pfizer Tomorrow" charset="0"/>
                <a:ea typeface="微软雅黑" panose="020B0503020204020204" charset="-122"/>
                <a:sym typeface="Pfizer Tomorrow" charset="0"/>
              </a:rPr>
              <a:t>：治疗结束；</a:t>
            </a:r>
            <a:r>
              <a:rPr lang="en-US" altLang="zh-CN" sz="110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微生物学意向治疗；</a:t>
            </a:r>
            <a:r>
              <a:rPr lang="en-US" altLang="zh-CN" sz="1100" dirty="0">
                <a:solidFill>
                  <a:srgbClr val="595959"/>
                </a:solidFill>
                <a:latin typeface="Pfizer Tomorrow" charset="0"/>
                <a:ea typeface="微软雅黑" panose="020B0503020204020204" charset="-122"/>
                <a:sym typeface="Pfizer Tomorrow" charset="0"/>
              </a:rPr>
              <a:t>BAT:</a:t>
            </a:r>
            <a:r>
              <a:rPr lang="zh-CN" altLang="en-US" sz="1100" dirty="0">
                <a:solidFill>
                  <a:srgbClr val="595959"/>
                </a:solidFill>
                <a:latin typeface="Pfizer Tomorrow" charset="0"/>
                <a:ea typeface="微软雅黑" panose="020B0503020204020204" charset="-122"/>
                <a:sym typeface="Pfizer Tomorrow" charset="0"/>
              </a:rPr>
              <a:t>最佳可用疗法；</a:t>
            </a:r>
            <a:r>
              <a:rPr lang="en-US" altLang="zh-CN" sz="1100" dirty="0">
                <a:solidFill>
                  <a:srgbClr val="595959"/>
                </a:solidFill>
                <a:latin typeface="Pfizer Tomorrow" charset="0"/>
                <a:ea typeface="微软雅黑" panose="020B0503020204020204" charset="-122"/>
                <a:sym typeface="Pfizer Tomorrow" charset="0"/>
              </a:rPr>
              <a:t>SAE</a:t>
            </a:r>
            <a:r>
              <a:rPr lang="zh-CN" altLang="en-US" sz="1100" dirty="0">
                <a:solidFill>
                  <a:srgbClr val="595959"/>
                </a:solidFill>
                <a:latin typeface="Pfizer Tomorrow" charset="0"/>
                <a:ea typeface="微软雅黑" panose="020B0503020204020204" charset="-122"/>
                <a:sym typeface="Pfizer Tomorrow" charset="0"/>
              </a:rPr>
              <a:t>：严重不良事件</a:t>
            </a:r>
            <a:endParaRPr lang="en-US" altLang="zh-CN" sz="1100" dirty="0">
              <a:solidFill>
                <a:srgbClr val="595959"/>
              </a:solidFill>
              <a:latin typeface="Pfizer Tomorrow" charset="0"/>
              <a:ea typeface="微软雅黑" panose="020B0503020204020204" charset="-122"/>
              <a:sym typeface="Pfizer Tomorrow" charset="0"/>
            </a:endParaRPr>
          </a:p>
        </p:txBody>
      </p:sp>
      <p:cxnSp>
        <p:nvCxnSpPr>
          <p:cNvPr id="18" name="直接连接符 17"/>
          <p:cNvCxnSpPr/>
          <p:nvPr/>
        </p:nvCxnSpPr>
        <p:spPr>
          <a:xfrm>
            <a:off x="6096000" y="1982788"/>
            <a:ext cx="0" cy="234950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70670" name="组合 2"/>
          <p:cNvGrpSpPr/>
          <p:nvPr/>
        </p:nvGrpSpPr>
        <p:grpSpPr>
          <a:xfrm rot="-642761">
            <a:off x="296863" y="1592263"/>
            <a:ext cx="1158875" cy="446087"/>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8" name="文本框 7"/>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治愈</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抗菌药物耐药性已成为全球重点公共卫生威胁，其中</a:t>
            </a:r>
            <a:r>
              <a:rPr lang="en-US" altLang="zh-CN"/>
              <a:t>ICU</a:t>
            </a:r>
            <a:r>
              <a:rPr lang="zh-CN" altLang="en-US"/>
              <a:t>患者是多重耐药菌感染高发人群</a:t>
            </a:r>
            <a:endParaRPr lang="zh-CN" altLang="en-US"/>
          </a:p>
        </p:txBody>
      </p:sp>
      <p:sp>
        <p:nvSpPr>
          <p:cNvPr id="23" name="文本占位符 22"/>
          <p:cNvSpPr>
            <a:spLocks noGrp="1"/>
          </p:cNvSpPr>
          <p:nvPr>
            <p:ph type="body" sz="quarter" idx="10"/>
          </p:nvPr>
        </p:nvSpPr>
        <p:spPr>
          <a:xfrm>
            <a:off x="1262063" y="6382941"/>
            <a:ext cx="9164085" cy="322654"/>
          </a:xfrm>
        </p:spPr>
        <p:txBody>
          <a:bodyPr numCol="2"/>
          <a:lstStyle/>
          <a:p>
            <a:r>
              <a:rPr lang="zh-CN" altLang="en-US"/>
              <a:t>宋红升</a:t>
            </a:r>
            <a:r>
              <a:rPr lang="en-US" altLang="zh-CN"/>
              <a:t>, </a:t>
            </a:r>
            <a:r>
              <a:rPr lang="zh-CN" altLang="en-US"/>
              <a:t>等</a:t>
            </a:r>
            <a:r>
              <a:rPr lang="en-US" altLang="zh-CN"/>
              <a:t>. </a:t>
            </a:r>
            <a:r>
              <a:rPr lang="zh-CN" altLang="en-US"/>
              <a:t>中国抗生素杂志</a:t>
            </a:r>
            <a:r>
              <a:rPr lang="en-US" altLang="zh-CN"/>
              <a:t>,2024,49(4):427-437. </a:t>
            </a:r>
            <a:endParaRPr lang="en-US" altLang="zh-CN"/>
          </a:p>
          <a:p>
            <a:r>
              <a:rPr lang="zh-CN" altLang="en-US"/>
              <a:t>黎琪</a:t>
            </a:r>
            <a:r>
              <a:rPr lang="en-US" altLang="zh-CN"/>
              <a:t>,</a:t>
            </a:r>
            <a:r>
              <a:rPr lang="zh-CN" altLang="en-US"/>
              <a:t>等</a:t>
            </a:r>
            <a:r>
              <a:rPr lang="en-US" altLang="zh-CN"/>
              <a:t>. </a:t>
            </a:r>
            <a:r>
              <a:rPr lang="zh-CN" altLang="en-US"/>
              <a:t>医药导报</a:t>
            </a:r>
            <a:r>
              <a:rPr lang="en-US" altLang="zh-CN"/>
              <a:t>,2024,43(10):1562-1571. </a:t>
            </a:r>
            <a:endParaRPr lang="en-US" altLang="zh-CN"/>
          </a:p>
          <a:p>
            <a:r>
              <a:rPr lang="zh-CN" altLang="en-US"/>
              <a:t>路晓芸</a:t>
            </a:r>
            <a:r>
              <a:rPr lang="en-US" altLang="zh-CN"/>
              <a:t>,</a:t>
            </a:r>
            <a:r>
              <a:rPr lang="zh-CN" altLang="en-US"/>
              <a:t>等</a:t>
            </a:r>
            <a:r>
              <a:rPr lang="en-US" altLang="zh-CN"/>
              <a:t>. </a:t>
            </a:r>
            <a:r>
              <a:rPr lang="zh-CN" altLang="en-US"/>
              <a:t>护理研究</a:t>
            </a:r>
            <a:r>
              <a:rPr lang="en-US" altLang="zh-CN"/>
              <a:t>,2025,39(7):1094-1100.</a:t>
            </a:r>
            <a:endParaRPr lang="en-US" altLang="zh-CN"/>
          </a:p>
          <a:p>
            <a:r>
              <a:rPr lang="zh-CN" altLang="en-US"/>
              <a:t>施晓柳</a:t>
            </a:r>
            <a:r>
              <a:rPr lang="en-US" altLang="zh-CN"/>
              <a:t>,</a:t>
            </a:r>
            <a:r>
              <a:rPr lang="zh-CN" altLang="en-US"/>
              <a:t>等</a:t>
            </a:r>
            <a:r>
              <a:rPr lang="en-US" altLang="zh-CN"/>
              <a:t>. </a:t>
            </a:r>
            <a:r>
              <a:rPr lang="zh-CN" altLang="en-US"/>
              <a:t>中华护理杂志</a:t>
            </a:r>
            <a:r>
              <a:rPr lang="en-US" altLang="zh-CN"/>
              <a:t>,2024,59(6):727-735. </a:t>
            </a:r>
            <a:endParaRPr lang="en-US" altLang="zh-CN"/>
          </a:p>
        </p:txBody>
      </p:sp>
      <p:sp>
        <p:nvSpPr>
          <p:cNvPr id="6" name="矩形 5"/>
          <p:cNvSpPr/>
          <p:nvPr/>
        </p:nvSpPr>
        <p:spPr>
          <a:xfrm>
            <a:off x="-1146376" y="299214"/>
            <a:ext cx="626041" cy="626041"/>
          </a:xfrm>
          <a:prstGeom prst="rect">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146376" y="1133784"/>
            <a:ext cx="626041" cy="626041"/>
          </a:xfrm>
          <a:prstGeom prst="rect">
            <a:avLst/>
          </a:prstGeom>
          <a:solidFill>
            <a:srgbClr val="0003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0" name="组合 29"/>
          <p:cNvGrpSpPr/>
          <p:nvPr/>
        </p:nvGrpSpPr>
        <p:grpSpPr>
          <a:xfrm>
            <a:off x="479425" y="1089025"/>
            <a:ext cx="11233150" cy="720000"/>
            <a:chOff x="479425" y="1089025"/>
            <a:chExt cx="11233150" cy="720000"/>
          </a:xfrm>
        </p:grpSpPr>
        <p:sp>
          <p:nvSpPr>
            <p:cNvPr id="24" name="矩形 23"/>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抗菌药物耐药性（</a:t>
              </a:r>
              <a:r>
                <a:rPr lang="en-US" altLang="zh-CN" sz="1200">
                  <a:solidFill>
                    <a:schemeClr val="tx1"/>
                  </a:solidFill>
                </a:rPr>
                <a:t>AMR</a:t>
              </a:r>
              <a:r>
                <a:rPr lang="zh-CN" altLang="en-US" sz="1200">
                  <a:solidFill>
                    <a:schemeClr val="tx1"/>
                  </a:solidFill>
                </a:rPr>
                <a:t>）可导致死亡风险上升与治疗成本增加</a:t>
              </a:r>
              <a:r>
                <a:rPr lang="en-US" altLang="zh-CN" sz="1200" baseline="30000">
                  <a:solidFill>
                    <a:schemeClr val="tx1"/>
                  </a:solidFill>
                </a:rPr>
                <a:t>1</a:t>
              </a:r>
              <a:r>
                <a:rPr lang="zh-CN" altLang="en-US" sz="1200">
                  <a:solidFill>
                    <a:schemeClr val="tx1"/>
                  </a:solidFill>
                </a:rPr>
                <a:t>，已成为全球重大公共卫生威胁</a:t>
              </a:r>
              <a:endParaRPr lang="zh-CN" altLang="en-US" sz="1200">
                <a:solidFill>
                  <a:schemeClr val="tx1"/>
                </a:solidFill>
              </a:endParaRPr>
            </a:p>
            <a:p>
              <a:pPr algn="just">
                <a:lnSpc>
                  <a:spcPct val="120000"/>
                </a:lnSpc>
                <a:spcAft>
                  <a:spcPts val="600"/>
                </a:spcAft>
              </a:pPr>
              <a:r>
                <a:rPr lang="en-US" altLang="zh-CN" sz="1200">
                  <a:solidFill>
                    <a:schemeClr val="tx1"/>
                  </a:solidFill>
                </a:rPr>
                <a:t>ICU</a:t>
              </a:r>
              <a:r>
                <a:rPr lang="zh-CN" altLang="en-US" sz="1200">
                  <a:solidFill>
                    <a:schemeClr val="tx1"/>
                  </a:solidFill>
                </a:rPr>
                <a:t>患者免疫功能低下，常经历复杂合并症与频繁的侵入性操作，是多重耐药菌感染高发人群</a:t>
              </a:r>
              <a:r>
                <a:rPr lang="en-US" altLang="zh-CN" sz="1200" baseline="30000">
                  <a:solidFill>
                    <a:schemeClr val="tx1"/>
                  </a:solidFill>
                </a:rPr>
                <a:t>2</a:t>
              </a:r>
              <a:r>
                <a:rPr lang="zh-CN" altLang="en-US" sz="1200">
                  <a:solidFill>
                    <a:schemeClr val="tx1"/>
                  </a:solidFill>
                </a:rPr>
                <a:t>，且</a:t>
              </a:r>
              <a:r>
                <a:rPr lang="zh-CN" altLang="en-US" sz="1200" b="1">
                  <a:solidFill>
                    <a:schemeClr val="accent1"/>
                  </a:solidFill>
                </a:rPr>
                <a:t>耐药菌类型多为革兰氏阴性菌</a:t>
              </a:r>
              <a:r>
                <a:rPr lang="en-US" altLang="zh-CN" sz="1200" baseline="30000">
                  <a:solidFill>
                    <a:schemeClr val="tx1"/>
                  </a:solidFill>
                </a:rPr>
                <a:t>3</a:t>
              </a:r>
              <a:endParaRPr lang="en-US" altLang="zh-CN" sz="1200" baseline="30000">
                <a:solidFill>
                  <a:schemeClr val="tx1"/>
                </a:solidFill>
              </a:endParaRPr>
            </a:p>
          </p:txBody>
        </p:sp>
        <p:sp>
          <p:nvSpPr>
            <p:cNvPr id="25" name="任意多边形: 形状 24"/>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8" name="任意多边形: 形状 27"/>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33" name="矩形 32"/>
          <p:cNvSpPr/>
          <p:nvPr/>
        </p:nvSpPr>
        <p:spPr>
          <a:xfrm>
            <a:off x="479424" y="1988829"/>
            <a:ext cx="550800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6204575" y="1988829"/>
            <a:ext cx="550800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圆角 37"/>
          <p:cNvSpPr/>
          <p:nvPr/>
        </p:nvSpPr>
        <p:spPr>
          <a:xfrm>
            <a:off x="847904" y="5707810"/>
            <a:ext cx="2184510"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tx1"/>
                </a:solidFill>
              </a:rPr>
              <a:t>ICU</a:t>
            </a:r>
            <a:r>
              <a:rPr lang="zh-CN" altLang="en-US" sz="1400" b="1">
                <a:solidFill>
                  <a:schemeClr val="tx1"/>
                </a:solidFill>
              </a:rPr>
              <a:t>多重耐药菌检出率</a:t>
            </a:r>
            <a:endParaRPr lang="zh-CN" altLang="en-US" sz="1400" b="1">
              <a:solidFill>
                <a:schemeClr val="tx1"/>
              </a:solidFill>
            </a:endParaRPr>
          </a:p>
        </p:txBody>
      </p:sp>
      <p:sp>
        <p:nvSpPr>
          <p:cNvPr id="39" name="矩形: 圆角 38"/>
          <p:cNvSpPr/>
          <p:nvPr/>
        </p:nvSpPr>
        <p:spPr>
          <a:xfrm>
            <a:off x="3434434" y="5707810"/>
            <a:ext cx="2184510"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多重耐药菌感染率</a:t>
            </a:r>
            <a:endParaRPr lang="zh-CN" altLang="en-US" sz="1400" b="1">
              <a:solidFill>
                <a:schemeClr val="tx1"/>
              </a:solidFill>
            </a:endParaRPr>
          </a:p>
        </p:txBody>
      </p:sp>
      <p:grpSp>
        <p:nvGrpSpPr>
          <p:cNvPr id="45" name="组合 44"/>
          <p:cNvGrpSpPr/>
          <p:nvPr/>
        </p:nvGrpSpPr>
        <p:grpSpPr>
          <a:xfrm>
            <a:off x="615721" y="3063490"/>
            <a:ext cx="2648876" cy="2517373"/>
            <a:chOff x="584548" y="3063490"/>
            <a:chExt cx="2648876" cy="2517373"/>
          </a:xfrm>
        </p:grpSpPr>
        <p:graphicFrame>
          <p:nvGraphicFramePr>
            <p:cNvPr id="40" name="图表 39"/>
            <p:cNvGraphicFramePr/>
            <p:nvPr/>
          </p:nvGraphicFramePr>
          <p:xfrm>
            <a:off x="584548" y="3063490"/>
            <a:ext cx="2648876" cy="2517373"/>
          </p:xfrm>
          <a:graphic>
            <a:graphicData uri="http://schemas.openxmlformats.org/drawingml/2006/chart">
              <c:chart xmlns:c="http://schemas.openxmlformats.org/drawingml/2006/chart" xmlns:r="http://schemas.openxmlformats.org/officeDocument/2006/relationships" r:id="rId1"/>
            </a:graphicData>
          </a:graphic>
        </p:graphicFrame>
        <p:sp>
          <p:nvSpPr>
            <p:cNvPr id="42" name="文本框 41"/>
            <p:cNvSpPr txBox="1"/>
            <p:nvPr/>
          </p:nvSpPr>
          <p:spPr>
            <a:xfrm>
              <a:off x="1295987" y="4122121"/>
              <a:ext cx="1225998" cy="400110"/>
            </a:xfrm>
            <a:prstGeom prst="rect">
              <a:avLst/>
            </a:prstGeom>
            <a:noFill/>
          </p:spPr>
          <p:txBody>
            <a:bodyPr wrap="square" rtlCol="0" anchor="ctr">
              <a:spAutoFit/>
            </a:bodyPr>
            <a:lstStyle/>
            <a:p>
              <a:pPr algn="ctr"/>
              <a:fld id="{9002544E-687D-47E0-9A54-FF1074B1BE50}" type="VALUE">
                <a:rPr lang="en-US" altLang="zh-CN" sz="2000" b="1" smtClean="0"/>
                <a:t>64.40%</a:t>
              </a:fld>
              <a:endParaRPr lang="zh-CN" altLang="en-US" sz="2000"/>
            </a:p>
          </p:txBody>
        </p:sp>
      </p:grpSp>
      <p:grpSp>
        <p:nvGrpSpPr>
          <p:cNvPr id="44" name="组合 43"/>
          <p:cNvGrpSpPr/>
          <p:nvPr/>
        </p:nvGrpSpPr>
        <p:grpSpPr>
          <a:xfrm>
            <a:off x="3202251" y="3063491"/>
            <a:ext cx="2648876" cy="2517373"/>
            <a:chOff x="3233424" y="3063491"/>
            <a:chExt cx="2648876" cy="2517373"/>
          </a:xfrm>
        </p:grpSpPr>
        <p:graphicFrame>
          <p:nvGraphicFramePr>
            <p:cNvPr id="31" name="图表 30"/>
            <p:cNvGraphicFramePr/>
            <p:nvPr/>
          </p:nvGraphicFramePr>
          <p:xfrm>
            <a:off x="3233424" y="3063491"/>
            <a:ext cx="2648876" cy="2517373"/>
          </p:xfrm>
          <a:graphic>
            <a:graphicData uri="http://schemas.openxmlformats.org/drawingml/2006/chart">
              <c:chart xmlns:c="http://schemas.openxmlformats.org/drawingml/2006/chart" xmlns:r="http://schemas.openxmlformats.org/officeDocument/2006/relationships" r:id="rId2"/>
            </a:graphicData>
          </a:graphic>
        </p:graphicFrame>
        <p:sp>
          <p:nvSpPr>
            <p:cNvPr id="43" name="文本框 42"/>
            <p:cNvSpPr txBox="1"/>
            <p:nvPr/>
          </p:nvSpPr>
          <p:spPr>
            <a:xfrm>
              <a:off x="3944863" y="4122121"/>
              <a:ext cx="1225998" cy="400110"/>
            </a:xfrm>
            <a:prstGeom prst="rect">
              <a:avLst/>
            </a:prstGeom>
            <a:noFill/>
          </p:spPr>
          <p:txBody>
            <a:bodyPr wrap="square" rtlCol="0" anchor="ctr">
              <a:spAutoFit/>
            </a:bodyPr>
            <a:lstStyle/>
            <a:p>
              <a:pPr algn="ctr"/>
              <a:fld id="{9002544E-687D-47E0-9A54-FF1074B1BE50}" type="VALUE">
                <a:rPr lang="en-US" altLang="zh-CN" sz="2000" b="1" smtClean="0"/>
                <a:t>49.49%</a:t>
              </a:fld>
              <a:endParaRPr lang="zh-CN" altLang="en-US" sz="2000"/>
            </a:p>
          </p:txBody>
        </p:sp>
      </p:grpSp>
      <p:sp>
        <p:nvSpPr>
          <p:cNvPr id="47" name="矩形: 圆角 46"/>
          <p:cNvSpPr/>
          <p:nvPr/>
        </p:nvSpPr>
        <p:spPr>
          <a:xfrm>
            <a:off x="641424" y="2189607"/>
            <a:ext cx="5184000"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我国</a:t>
            </a:r>
            <a:r>
              <a:rPr lang="en-US" altLang="zh-CN" sz="1400">
                <a:solidFill>
                  <a:schemeClr val="tx1"/>
                </a:solidFill>
              </a:rPr>
              <a:t>ICU</a:t>
            </a:r>
            <a:r>
              <a:rPr lang="zh-CN" altLang="en-US" sz="1400">
                <a:solidFill>
                  <a:schemeClr val="tx1"/>
                </a:solidFill>
              </a:rPr>
              <a:t>多重耐药菌检出率高达</a:t>
            </a:r>
            <a:r>
              <a:rPr lang="en-US" altLang="zh-CN" sz="1400" b="1">
                <a:solidFill>
                  <a:schemeClr val="accent1"/>
                </a:solidFill>
              </a:rPr>
              <a:t>64.44%</a:t>
            </a:r>
            <a:endParaRPr lang="en-US" altLang="zh-CN" sz="1400" b="1">
              <a:solidFill>
                <a:schemeClr val="accent1"/>
              </a:solidFill>
            </a:endParaRPr>
          </a:p>
          <a:p>
            <a:pPr algn="ctr"/>
            <a:r>
              <a:rPr lang="zh-CN" altLang="en-US" sz="1400">
                <a:solidFill>
                  <a:schemeClr val="tx1"/>
                </a:solidFill>
              </a:rPr>
              <a:t>多重耐药菌感染率高达</a:t>
            </a:r>
            <a:r>
              <a:rPr lang="en-US" altLang="zh-CN" sz="1400" b="1">
                <a:solidFill>
                  <a:schemeClr val="accent1"/>
                </a:solidFill>
              </a:rPr>
              <a:t>49.49%</a:t>
            </a:r>
            <a:r>
              <a:rPr lang="en-US" altLang="zh-CN" sz="1400" baseline="30000">
                <a:solidFill>
                  <a:schemeClr val="tx1"/>
                </a:solidFill>
              </a:rPr>
              <a:t>4</a:t>
            </a:r>
            <a:endParaRPr lang="en-US" altLang="zh-CN" sz="1400" baseline="30000">
              <a:solidFill>
                <a:schemeClr val="tx1"/>
              </a:solidFill>
            </a:endParaRPr>
          </a:p>
        </p:txBody>
      </p:sp>
      <p:sp>
        <p:nvSpPr>
          <p:cNvPr id="48" name="矩形: 圆角 47"/>
          <p:cNvSpPr/>
          <p:nvPr/>
        </p:nvSpPr>
        <p:spPr>
          <a:xfrm>
            <a:off x="6366574" y="2189607"/>
            <a:ext cx="5184002"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tx1"/>
                </a:solidFill>
              </a:rPr>
              <a:t>ICU</a:t>
            </a:r>
            <a:r>
              <a:rPr lang="zh-CN" altLang="en-US" sz="1400" b="1">
                <a:solidFill>
                  <a:schemeClr val="tx1"/>
                </a:solidFill>
              </a:rPr>
              <a:t>患者感染的多重耐药菌中，约</a:t>
            </a:r>
            <a:r>
              <a:rPr lang="en-US" altLang="zh-CN" sz="1400" b="1">
                <a:solidFill>
                  <a:schemeClr val="accent1"/>
                </a:solidFill>
              </a:rPr>
              <a:t>75%</a:t>
            </a:r>
            <a:r>
              <a:rPr lang="zh-CN" altLang="en-US" sz="1400" b="1">
                <a:solidFill>
                  <a:schemeClr val="tx1"/>
                </a:solidFill>
              </a:rPr>
              <a:t>为</a:t>
            </a:r>
            <a:r>
              <a:rPr lang="zh-CN" altLang="en-US" sz="1400" b="1">
                <a:solidFill>
                  <a:schemeClr val="accent1"/>
                </a:solidFill>
              </a:rPr>
              <a:t>革兰氏阴性菌</a:t>
            </a:r>
            <a:r>
              <a:rPr lang="en-US" altLang="zh-CN" sz="1400" b="1" baseline="30000">
                <a:solidFill>
                  <a:schemeClr val="accent1"/>
                </a:solidFill>
              </a:rPr>
              <a:t>3</a:t>
            </a:r>
            <a:endParaRPr lang="en-US" altLang="zh-CN" sz="1400" b="1" baseline="30000">
              <a:solidFill>
                <a:schemeClr val="accent1"/>
              </a:solidFill>
            </a:endParaRPr>
          </a:p>
        </p:txBody>
      </p:sp>
      <p:graphicFrame>
        <p:nvGraphicFramePr>
          <p:cNvPr id="49" name="图表 48"/>
          <p:cNvGraphicFramePr/>
          <p:nvPr/>
        </p:nvGraphicFramePr>
        <p:xfrm>
          <a:off x="6327967" y="2470150"/>
          <a:ext cx="5261217" cy="3281363"/>
        </p:xfrm>
        <a:graphic>
          <a:graphicData uri="http://schemas.openxmlformats.org/drawingml/2006/chart">
            <c:chart xmlns:c="http://schemas.openxmlformats.org/drawingml/2006/chart" xmlns:r="http://schemas.openxmlformats.org/officeDocument/2006/relationships" r:id="rId3"/>
          </a:graphicData>
        </a:graphic>
      </p:graphicFrame>
      <p:sp>
        <p:nvSpPr>
          <p:cNvPr id="50" name="矩形 49"/>
          <p:cNvSpPr/>
          <p:nvPr/>
        </p:nvSpPr>
        <p:spPr>
          <a:xfrm>
            <a:off x="620457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中国的一项回顾性分析研究，共计纳入</a:t>
            </a:r>
            <a:r>
              <a:rPr lang="en-US" altLang="zh-CN" sz="900">
                <a:solidFill>
                  <a:schemeClr val="tx1"/>
                </a:solidFill>
              </a:rPr>
              <a:t>1003</a:t>
            </a:r>
            <a:r>
              <a:rPr lang="zh-CN" altLang="en-US" sz="900">
                <a:solidFill>
                  <a:schemeClr val="tx1"/>
                </a:solidFill>
              </a:rPr>
              <a:t>例神经内科</a:t>
            </a:r>
            <a:r>
              <a:rPr lang="en-US" altLang="zh-CN" sz="900">
                <a:solidFill>
                  <a:schemeClr val="tx1"/>
                </a:solidFill>
              </a:rPr>
              <a:t>ICU</a:t>
            </a:r>
            <a:r>
              <a:rPr lang="zh-CN" altLang="en-US" sz="900">
                <a:solidFill>
                  <a:schemeClr val="tx1"/>
                </a:solidFill>
              </a:rPr>
              <a:t>住院患者，均为</a:t>
            </a:r>
            <a:r>
              <a:rPr lang="en-US" altLang="zh-CN" sz="900">
                <a:solidFill>
                  <a:schemeClr val="tx1"/>
                </a:solidFill>
              </a:rPr>
              <a:t>2019</a:t>
            </a:r>
            <a:r>
              <a:rPr lang="zh-CN" altLang="en-US" sz="900">
                <a:solidFill>
                  <a:schemeClr val="tx1"/>
                </a:solidFill>
              </a:rPr>
              <a:t>年</a:t>
            </a:r>
            <a:r>
              <a:rPr lang="en-US" altLang="zh-CN" sz="900">
                <a:solidFill>
                  <a:schemeClr val="tx1"/>
                </a:solidFill>
              </a:rPr>
              <a:t>1</a:t>
            </a:r>
            <a:r>
              <a:rPr lang="zh-CN" altLang="en-US" sz="900">
                <a:solidFill>
                  <a:schemeClr val="tx1"/>
                </a:solidFill>
              </a:rPr>
              <a:t>月</a:t>
            </a:r>
            <a:r>
              <a:rPr lang="en-US" altLang="zh-CN" sz="900">
                <a:solidFill>
                  <a:schemeClr val="tx1"/>
                </a:solidFill>
              </a:rPr>
              <a:t>1</a:t>
            </a:r>
            <a:r>
              <a:rPr lang="zh-CN" altLang="en-US" sz="900">
                <a:solidFill>
                  <a:schemeClr val="tx1"/>
                </a:solidFill>
              </a:rPr>
              <a:t>日至</a:t>
            </a:r>
            <a:r>
              <a:rPr lang="en-US" altLang="zh-CN" sz="900">
                <a:solidFill>
                  <a:schemeClr val="tx1"/>
                </a:solidFill>
              </a:rPr>
              <a:t>2022</a:t>
            </a:r>
            <a:r>
              <a:rPr lang="zh-CN" altLang="en-US" sz="900">
                <a:solidFill>
                  <a:schemeClr val="tx1"/>
                </a:solidFill>
              </a:rPr>
              <a:t>年</a:t>
            </a:r>
            <a:r>
              <a:rPr lang="en-US" altLang="zh-CN" sz="900">
                <a:solidFill>
                  <a:schemeClr val="tx1"/>
                </a:solidFill>
              </a:rPr>
              <a:t>12</a:t>
            </a:r>
            <a:r>
              <a:rPr lang="zh-CN" altLang="en-US" sz="900">
                <a:solidFill>
                  <a:schemeClr val="tx1"/>
                </a:solidFill>
              </a:rPr>
              <a:t>月</a:t>
            </a:r>
            <a:r>
              <a:rPr lang="en-US" altLang="zh-CN" sz="900">
                <a:solidFill>
                  <a:schemeClr val="tx1"/>
                </a:solidFill>
              </a:rPr>
              <a:t>31</a:t>
            </a:r>
            <a:r>
              <a:rPr lang="zh-CN" altLang="en-US" sz="900">
                <a:solidFill>
                  <a:schemeClr val="tx1"/>
                </a:solidFill>
              </a:rPr>
              <a:t>日期间入住某三级甲等综合医院神经内科</a:t>
            </a:r>
            <a:r>
              <a:rPr lang="en-US" altLang="zh-CN" sz="900">
                <a:solidFill>
                  <a:schemeClr val="tx1"/>
                </a:solidFill>
              </a:rPr>
              <a:t>ICU</a:t>
            </a:r>
            <a:r>
              <a:rPr lang="zh-CN" altLang="en-US" sz="900">
                <a:solidFill>
                  <a:schemeClr val="tx1"/>
                </a:solidFill>
              </a:rPr>
              <a:t>且住院时间</a:t>
            </a:r>
            <a:r>
              <a:rPr lang="en-US" altLang="zh-CN" sz="900">
                <a:solidFill>
                  <a:schemeClr val="tx1"/>
                </a:solidFill>
              </a:rPr>
              <a:t>&gt;48 h</a:t>
            </a:r>
            <a:r>
              <a:rPr lang="zh-CN" altLang="en-US" sz="900">
                <a:solidFill>
                  <a:schemeClr val="tx1"/>
                </a:solidFill>
              </a:rPr>
              <a:t>的患者，并排除入住</a:t>
            </a:r>
            <a:r>
              <a:rPr lang="en-US" altLang="zh-CN" sz="900">
                <a:solidFill>
                  <a:schemeClr val="tx1"/>
                </a:solidFill>
              </a:rPr>
              <a:t>ICU</a:t>
            </a:r>
            <a:r>
              <a:rPr lang="zh-CN" altLang="en-US" sz="900">
                <a:solidFill>
                  <a:schemeClr val="tx1"/>
                </a:solidFill>
              </a:rPr>
              <a:t>时已检出多重耐药菌以及临床资料不完整的患者</a:t>
            </a:r>
            <a:endParaRPr lang="zh-CN" altLang="en-US" sz="900">
              <a:solidFill>
                <a:schemeClr val="tx1"/>
              </a:solidFill>
            </a:endParaRPr>
          </a:p>
        </p:txBody>
      </p:sp>
      <p:grpSp>
        <p:nvGrpSpPr>
          <p:cNvPr id="58" name="组合 57"/>
          <p:cNvGrpSpPr/>
          <p:nvPr/>
        </p:nvGrpSpPr>
        <p:grpSpPr>
          <a:xfrm>
            <a:off x="7640718" y="2691037"/>
            <a:ext cx="2635715" cy="261610"/>
            <a:chOff x="7790433" y="2719923"/>
            <a:chExt cx="2635715" cy="261610"/>
          </a:xfrm>
        </p:grpSpPr>
        <p:grpSp>
          <p:nvGrpSpPr>
            <p:cNvPr id="56" name="组合 55"/>
            <p:cNvGrpSpPr/>
            <p:nvPr/>
          </p:nvGrpSpPr>
          <p:grpSpPr>
            <a:xfrm>
              <a:off x="7790433" y="2719923"/>
              <a:ext cx="1170211" cy="261610"/>
              <a:chOff x="7790433" y="2716388"/>
              <a:chExt cx="1170211" cy="261610"/>
            </a:xfrm>
          </p:grpSpPr>
          <p:sp>
            <p:nvSpPr>
              <p:cNvPr id="52" name="矩形 51"/>
              <p:cNvSpPr/>
              <p:nvPr/>
            </p:nvSpPr>
            <p:spPr>
              <a:xfrm>
                <a:off x="7790433" y="2793193"/>
                <a:ext cx="108000" cy="108000"/>
              </a:xfrm>
              <a:prstGeom prst="rect">
                <a:avLst/>
              </a:prstGeom>
              <a:solidFill>
                <a:srgbClr val="B8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文本框 52"/>
              <p:cNvSpPr txBox="1"/>
              <p:nvPr/>
            </p:nvSpPr>
            <p:spPr>
              <a:xfrm>
                <a:off x="7893303" y="2716388"/>
                <a:ext cx="1067341" cy="261610"/>
              </a:xfrm>
              <a:prstGeom prst="rect">
                <a:avLst/>
              </a:prstGeom>
              <a:noFill/>
            </p:spPr>
            <p:txBody>
              <a:bodyPr wrap="square" anchor="ctr">
                <a:spAutoFit/>
              </a:bodyPr>
              <a:lstStyle/>
              <a:p>
                <a:pPr algn="ctr"/>
                <a:r>
                  <a:rPr lang="zh-CN" altLang="en-US" sz="1100"/>
                  <a:t>革兰氏阴性菌</a:t>
                </a:r>
                <a:endParaRPr lang="zh-CN" altLang="en-US" sz="1100"/>
              </a:p>
            </p:txBody>
          </p:sp>
        </p:grpSp>
        <p:grpSp>
          <p:nvGrpSpPr>
            <p:cNvPr id="57" name="组合 56"/>
            <p:cNvGrpSpPr/>
            <p:nvPr/>
          </p:nvGrpSpPr>
          <p:grpSpPr>
            <a:xfrm>
              <a:off x="9255937" y="2719923"/>
              <a:ext cx="1170211" cy="261610"/>
              <a:chOff x="8003786" y="2927296"/>
              <a:chExt cx="1170211" cy="261610"/>
            </a:xfrm>
          </p:grpSpPr>
          <p:sp>
            <p:nvSpPr>
              <p:cNvPr id="54" name="矩形 53"/>
              <p:cNvSpPr/>
              <p:nvPr/>
            </p:nvSpPr>
            <p:spPr>
              <a:xfrm>
                <a:off x="8003786" y="3004101"/>
                <a:ext cx="108000" cy="108000"/>
              </a:xfrm>
              <a:prstGeom prst="rect">
                <a:avLst/>
              </a:prstGeom>
              <a:solidFill>
                <a:srgbClr val="00C2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文本框 54"/>
              <p:cNvSpPr txBox="1"/>
              <p:nvPr/>
            </p:nvSpPr>
            <p:spPr>
              <a:xfrm>
                <a:off x="8106656" y="2927296"/>
                <a:ext cx="1067341" cy="261610"/>
              </a:xfrm>
              <a:prstGeom prst="rect">
                <a:avLst/>
              </a:prstGeom>
              <a:noFill/>
            </p:spPr>
            <p:txBody>
              <a:bodyPr wrap="square" anchor="ctr">
                <a:spAutoFit/>
              </a:bodyPr>
              <a:lstStyle/>
              <a:p>
                <a:pPr algn="ctr"/>
                <a:r>
                  <a:rPr lang="zh-CN" altLang="en-US" sz="1100"/>
                  <a:t>革兰氏阳性菌</a:t>
                </a:r>
                <a:endParaRPr lang="zh-CN" altLang="en-US" sz="1100"/>
              </a:p>
            </p:txBody>
          </p:sp>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3729" name="标题 1"/>
          <p:cNvSpPr>
            <a:spLocks noGrp="1"/>
          </p:cNvSpPr>
          <p:nvPr>
            <p:ph type="title"/>
          </p:nvPr>
        </p:nvSpPr>
        <p:spPr>
          <a:xfrm>
            <a:off x="490855" y="493395"/>
            <a:ext cx="11233785" cy="457200"/>
          </a:xfrm>
        </p:spPr>
        <p:txBody>
          <a:bodyPr lIns="91440" tIns="45720" rIns="91440" bIns="45720" anchor="ctr" anchorCtr="0"/>
          <a:p>
            <a:pPr algn="ctr">
              <a:lnSpc>
                <a:spcPct val="100000"/>
              </a:lnSpc>
              <a:buClrTx/>
              <a:buSzTx/>
              <a:buFontTx/>
            </a:pPr>
            <a:r>
              <a:rPr lang="zh-CN" altLang="en-US" sz="2400" dirty="0">
                <a:solidFill>
                  <a:srgbClr val="000D45"/>
                </a:solidFill>
                <a:latin typeface="Pfizer Tomorrow" charset="0"/>
                <a:ea typeface="微软雅黑" panose="020B0503020204020204" charset="-122"/>
              </a:rPr>
              <a:t>全面覆盖：</a:t>
            </a:r>
            <a:r>
              <a:rPr lang="zh-CN" altLang="en-US" dirty="0">
                <a:solidFill>
                  <a:srgbClr val="000D45"/>
                </a:solidFill>
                <a:latin typeface="Pfizer Tomorrow" charset="0"/>
                <a:ea typeface="微软雅黑" panose="020B0503020204020204" charset="-122"/>
                <a:sym typeface="Arial" panose="020B0604020202090204" pitchFamily="34" charset="0"/>
              </a:rPr>
              <a:t>思福诺®</a:t>
            </a:r>
            <a:r>
              <a:rPr lang="en-US" altLang="zh-CN" dirty="0">
                <a:solidFill>
                  <a:srgbClr val="000D45"/>
                </a:solidFill>
                <a:latin typeface="Pfizer Tomorrow" charset="0"/>
                <a:ea typeface="微软雅黑" panose="020B0503020204020204" charset="-122"/>
                <a:sym typeface="Arial" panose="020B0604020202090204" pitchFamily="34" charset="0"/>
              </a:rPr>
              <a:t>（</a:t>
            </a:r>
            <a:r>
              <a:rPr lang="zh-CN" altLang="en-US" dirty="0">
                <a:solidFill>
                  <a:srgbClr val="000D45"/>
                </a:solidFill>
                <a:latin typeface="Pfizer Tomorrow" charset="0"/>
                <a:ea typeface="微软雅黑" panose="020B0503020204020204" charset="-122"/>
                <a:sym typeface="Pfizer Tomorrow" charset="0"/>
              </a:rPr>
              <a:t>氨曲南-阿维巴坦</a:t>
            </a:r>
            <a:r>
              <a:rPr lang="en-US" altLang="zh-CN" dirty="0">
                <a:solidFill>
                  <a:srgbClr val="000D45"/>
                </a:solidFill>
                <a:latin typeface="Pfizer Tomorrow" charset="0"/>
                <a:ea typeface="微软雅黑" panose="020B0503020204020204" charset="-122"/>
                <a:sym typeface="Pfizer Tomorrow" charset="0"/>
              </a:rPr>
              <a:t>）</a:t>
            </a:r>
            <a:r>
              <a:rPr lang="zh-CN" altLang="en-US" sz="2400" dirty="0">
                <a:solidFill>
                  <a:srgbClr val="000D45"/>
                </a:solidFill>
                <a:latin typeface="Pfizer Tomorrow" charset="0"/>
                <a:ea typeface="微软雅黑" panose="020B0503020204020204" charset="-122"/>
              </a:rPr>
              <a:t>体外可有效抑制MBL-CRE与嗜麦芽窄食单胞菌，且全面覆盖各类β-内酰胺酶（A、B、C、D）</a:t>
            </a:r>
            <a:endParaRPr lang="zh-CN" altLang="en-US" sz="2400" dirty="0">
              <a:solidFill>
                <a:srgbClr val="000D45"/>
              </a:solidFill>
              <a:latin typeface="Pfizer Tomorrow" charset="0"/>
              <a:ea typeface="微软雅黑" panose="020B0503020204020204" charset="-122"/>
            </a:endParaRPr>
          </a:p>
        </p:txBody>
      </p:sp>
      <p:sp>
        <p:nvSpPr>
          <p:cNvPr id="37" name="文本占位符 36"/>
          <p:cNvSpPr/>
          <p:nvPr>
            <p:ph type="body" sz="quarter" idx="10"/>
          </p:nvPr>
        </p:nvSpPr>
        <p:spPr>
          <a:xfrm>
            <a:off x="1262063" y="6382941"/>
            <a:ext cx="9164085" cy="432000"/>
          </a:xfrm>
          <a:prstGeom prst="rect">
            <a:avLst/>
          </a:prstGeom>
        </p:spPr>
        <p:txBody>
          <a:bodyPr numCol="2"/>
          <a:lstStyle/>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Sader HS, et al. JAC Antimicrob Resist. 2023;5(2):dlad032.</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Rossolini GM, et al. J Glob Antimicrob Resist. 2024;36:123-131.</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Wise MG, et al. Eur J Clin Microbiol Infect Dis. 2023;42(9):1135-1143.</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Karlowsky JA, et al. Antimicrob Agents Chemother. 2017;61(9):e00472-17.</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Biagi M, et al. Antimicrob Agents Chemother. 2020;64(12):e00297-20.</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Karaiskos I, et al. Expert Opin Drug Metab Toxicol. 2019;15(2):133-149.</a:t>
            </a:r>
            <a:endParaRPr lang="en-US" altLang="zh-CN" sz="700" strike="noStrike" noProof="1" dirty="0" err="1">
              <a:latin typeface="Arial" panose="020B0604020202090204" pitchFamily="34" charset="0"/>
              <a:ea typeface="微软雅黑" panose="020B0503020204020204" charset="-122"/>
              <a:cs typeface="+mn-ea"/>
            </a:endParaRPr>
          </a:p>
        </p:txBody>
      </p:sp>
      <p:grpSp>
        <p:nvGrpSpPr>
          <p:cNvPr id="73731" name="组合 39"/>
          <p:cNvGrpSpPr/>
          <p:nvPr/>
        </p:nvGrpSpPr>
        <p:grpSpPr>
          <a:xfrm>
            <a:off x="479425" y="1263650"/>
            <a:ext cx="11233150" cy="719138"/>
            <a:chOff x="479425" y="1089025"/>
            <a:chExt cx="11233150" cy="720000"/>
          </a:xfrm>
        </p:grpSpPr>
        <p:sp>
          <p:nvSpPr>
            <p:cNvPr id="41" name="矩形 40"/>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fontAlgn="auto">
                <a:lnSpc>
                  <a:spcPct val="120000"/>
                </a:lnSpc>
                <a:spcAft>
                  <a:spcPts val="600"/>
                </a:spcAft>
              </a:pPr>
              <a:r>
                <a:rPr lang="zh-CN" altLang="en-US" sz="1200" strike="noStrike" noProof="1" dirty="0">
                  <a:solidFill>
                    <a:schemeClr val="tx1"/>
                  </a:solidFill>
                </a:rPr>
                <a:t>氨曲南</a:t>
              </a:r>
              <a:r>
                <a:rPr lang="en-US" altLang="zh-CN" sz="1200" strike="noStrike" noProof="1" dirty="0">
                  <a:solidFill>
                    <a:schemeClr val="tx1"/>
                  </a:solidFill>
                </a:rPr>
                <a:t>-</a:t>
              </a:r>
              <a:r>
                <a:rPr lang="zh-CN" altLang="en-US" sz="1200" strike="noStrike" noProof="1" dirty="0">
                  <a:solidFill>
                    <a:schemeClr val="tx1"/>
                  </a:solidFill>
                </a:rPr>
                <a:t>阿维巴坦在体外可</a:t>
              </a:r>
              <a:r>
                <a:rPr lang="zh-CN" altLang="en-US" sz="1200" b="1" strike="noStrike" noProof="1" dirty="0">
                  <a:solidFill>
                    <a:schemeClr val="accent1"/>
                  </a:solidFill>
                </a:rPr>
                <a:t>有效对抗产</a:t>
              </a:r>
              <a:r>
                <a:rPr lang="en-US" altLang="zh-CN" sz="1200" b="1" strike="noStrike" noProof="1" dirty="0">
                  <a:solidFill>
                    <a:schemeClr val="accent1"/>
                  </a:solidFill>
                </a:rPr>
                <a:t>MBL</a:t>
              </a:r>
              <a:r>
                <a:rPr lang="zh-CN" altLang="en-US" sz="1200" b="1" strike="noStrike" noProof="1" dirty="0">
                  <a:solidFill>
                    <a:schemeClr val="accent1"/>
                  </a:solidFill>
                </a:rPr>
                <a:t>肠杆菌以及嗜麦芽窄食单胞菌</a:t>
              </a:r>
              <a:endParaRPr lang="zh-CN" altLang="en-US" sz="1200" b="1" strike="noStrike" noProof="1" dirty="0">
                <a:solidFill>
                  <a:schemeClr val="accent1"/>
                </a:solidFill>
              </a:endParaRPr>
            </a:p>
            <a:p>
              <a:pPr algn="just" fontAlgn="auto">
                <a:lnSpc>
                  <a:spcPct val="120000"/>
                </a:lnSpc>
                <a:spcAft>
                  <a:spcPts val="600"/>
                </a:spcAft>
              </a:pPr>
              <a:r>
                <a:rPr lang="zh-CN" altLang="en-US" sz="1200" strike="noStrike" noProof="1" dirty="0">
                  <a:solidFill>
                    <a:schemeClr val="tx1"/>
                  </a:solidFill>
                </a:rPr>
                <a:t>体外研究表明，在没有获得性耐药机制的情况下，这些病原体对氨曲南</a:t>
              </a:r>
              <a:r>
                <a:rPr lang="en-US" altLang="zh-CN" sz="1200" strike="noStrike" noProof="1" dirty="0">
                  <a:solidFill>
                    <a:schemeClr val="tx1"/>
                  </a:solidFill>
                </a:rPr>
                <a:t>-</a:t>
              </a:r>
              <a:r>
                <a:rPr lang="zh-CN" altLang="en-US" sz="1200" strike="noStrike" noProof="1" dirty="0">
                  <a:solidFill>
                    <a:schemeClr val="tx1"/>
                  </a:solidFill>
                </a:rPr>
                <a:t>阿维巴坦敏感</a:t>
              </a:r>
              <a:endParaRPr lang="zh-CN" altLang="en-US" sz="1200" strike="noStrike" noProof="1" dirty="0">
                <a:solidFill>
                  <a:schemeClr val="tx1"/>
                </a:solidFill>
              </a:endParaRPr>
            </a:p>
          </p:txBody>
        </p:sp>
        <p:sp>
          <p:nvSpPr>
            <p:cNvPr id="42" name="任意多边形: 形状 41"/>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fontAlgn="auto"/>
              <a:endParaRPr lang="zh-CN" altLang="en-US" strike="noStrike" noProof="1">
                <a:solidFill>
                  <a:schemeClr val="tx1"/>
                </a:solidFill>
                <a:latin typeface="微软雅黑" panose="020B0503020204020204" charset="-122"/>
                <a:ea typeface="微软雅黑" panose="020B0503020204020204" charset="-122"/>
              </a:endParaRPr>
            </a:p>
          </p:txBody>
        </p:sp>
        <p:sp>
          <p:nvSpPr>
            <p:cNvPr id="43" name="任意多边形: 形状 42"/>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fontAlgn="auto"/>
              <a:endParaRPr lang="zh-CN" altLang="en-US" strike="noStrike" noProof="1">
                <a:solidFill>
                  <a:schemeClr val="tx1"/>
                </a:solidFill>
                <a:latin typeface="微软雅黑" panose="020B0503020204020204" charset="-122"/>
                <a:ea typeface="微软雅黑" panose="020B0503020204020204" charset="-122"/>
              </a:endParaRPr>
            </a:p>
          </p:txBody>
        </p:sp>
      </p:grpSp>
      <p:sp>
        <p:nvSpPr>
          <p:cNvPr id="46" name="矩形 45"/>
          <p:cNvSpPr/>
          <p:nvPr/>
        </p:nvSpPr>
        <p:spPr>
          <a:xfrm>
            <a:off x="479425"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3736" name="组合 54"/>
          <p:cNvGrpSpPr/>
          <p:nvPr/>
        </p:nvGrpSpPr>
        <p:grpSpPr>
          <a:xfrm>
            <a:off x="6203950" y="1989138"/>
            <a:ext cx="5508625" cy="4319587"/>
            <a:chOff x="5067300" y="1988829"/>
            <a:chExt cx="5508042" cy="4319896"/>
          </a:xfrm>
        </p:grpSpPr>
        <p:sp>
          <p:nvSpPr>
            <p:cNvPr id="56" name="矩形 55"/>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3738" name="组合 56"/>
            <p:cNvGrpSpPr/>
            <p:nvPr/>
          </p:nvGrpSpPr>
          <p:grpSpPr>
            <a:xfrm>
              <a:off x="5067300" y="1988829"/>
              <a:ext cx="5508042" cy="432000"/>
              <a:chOff x="5067300" y="1988829"/>
              <a:chExt cx="5508042" cy="432000"/>
            </a:xfrm>
          </p:grpSpPr>
          <p:sp>
            <p:nvSpPr>
              <p:cNvPr id="58" name="矩形 57"/>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b="1" strike="noStrike" noProof="1" dirty="0">
                    <a:effectLst>
                      <a:outerShdw blurRad="38100" dist="38100" dir="2700000" algn="tl">
                        <a:srgbClr val="000000">
                          <a:alpha val="43137"/>
                        </a:srgbClr>
                      </a:outerShdw>
                    </a:effectLst>
                  </a:rPr>
                  <a:t>全面覆盖</a:t>
                </a:r>
                <a:r>
                  <a:rPr lang="en-US" altLang="zh-CN" b="1" strike="noStrike" noProof="1" dirty="0">
                    <a:effectLst>
                      <a:outerShdw blurRad="38100" dist="38100" dir="2700000" algn="tl">
                        <a:srgbClr val="000000">
                          <a:alpha val="43137"/>
                        </a:srgbClr>
                      </a:outerShdw>
                    </a:effectLst>
                  </a:rPr>
                  <a:t>A</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B</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C</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D</a:t>
                </a:r>
                <a:r>
                  <a:rPr lang="zh-CN" altLang="en-US" b="1" strike="noStrike" noProof="1" dirty="0">
                    <a:effectLst>
                      <a:outerShdw blurRad="38100" dist="38100" dir="2700000" algn="tl">
                        <a:srgbClr val="000000">
                          <a:alpha val="43137"/>
                        </a:srgbClr>
                      </a:outerShdw>
                    </a:effectLst>
                  </a:rPr>
                  <a:t>类 </a:t>
                </a:r>
                <a:r>
                  <a:rPr lang="en-US" altLang="zh-CN" b="1" strike="noStrike" noProof="1" dirty="0">
                    <a:effectLst>
                      <a:outerShdw blurRad="38100" dist="38100" dir="2700000" algn="tl">
                        <a:srgbClr val="000000">
                          <a:alpha val="43137"/>
                        </a:srgbClr>
                      </a:outerShdw>
                    </a:effectLst>
                  </a:rPr>
                  <a:t>β-</a:t>
                </a:r>
                <a:r>
                  <a:rPr lang="zh-CN" altLang="en-US" b="1" strike="noStrike" noProof="1" dirty="0">
                    <a:effectLst>
                      <a:outerShdw blurRad="38100" dist="38100" dir="2700000" algn="tl">
                        <a:srgbClr val="000000">
                          <a:alpha val="43137"/>
                        </a:srgbClr>
                      </a:outerShdw>
                    </a:effectLst>
                  </a:rPr>
                  <a:t>内酰胺酶</a:t>
                </a:r>
                <a:endParaRPr lang="zh-CN" altLang="en-US" b="1" strike="noStrike" noProof="1" dirty="0">
                  <a:effectLst>
                    <a:outerShdw blurRad="38100" dist="38100" dir="2700000" algn="tl">
                      <a:srgbClr val="000000">
                        <a:alpha val="43137"/>
                      </a:srgbClr>
                    </a:outerShdw>
                  </a:effectLst>
                </a:endParaRPr>
              </a:p>
            </p:txBody>
          </p:sp>
          <p:grpSp>
            <p:nvGrpSpPr>
              <p:cNvPr id="73740" name="组合 58"/>
              <p:cNvGrpSpPr/>
              <p:nvPr/>
            </p:nvGrpSpPr>
            <p:grpSpPr>
              <a:xfrm>
                <a:off x="10053527" y="1988829"/>
                <a:ext cx="521815" cy="432000"/>
                <a:chOff x="7281325" y="2029438"/>
                <a:chExt cx="521815" cy="430843"/>
              </a:xfrm>
            </p:grpSpPr>
            <p:sp>
              <p:nvSpPr>
                <p:cNvPr id="63" name="直角三角形 6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4" name="直角三角形 6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nvGrpSpPr>
              <p:cNvPr id="73743" name="组合 59"/>
              <p:cNvGrpSpPr/>
              <p:nvPr/>
            </p:nvGrpSpPr>
            <p:grpSpPr>
              <a:xfrm flipH="1">
                <a:off x="5067300" y="1988829"/>
                <a:ext cx="521815" cy="432000"/>
                <a:chOff x="9555833" y="2029438"/>
                <a:chExt cx="521815" cy="430843"/>
              </a:xfrm>
            </p:grpSpPr>
            <p:sp>
              <p:nvSpPr>
                <p:cNvPr id="61" name="直角三角形 6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2" name="直角三角形 6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grpSp>
        <p:nvGrpSpPr>
          <p:cNvPr id="73746" name="组合 70"/>
          <p:cNvGrpSpPr/>
          <p:nvPr/>
        </p:nvGrpSpPr>
        <p:grpSpPr>
          <a:xfrm>
            <a:off x="658813" y="2224088"/>
            <a:ext cx="5148262" cy="2428875"/>
            <a:chOff x="659446" y="2223620"/>
            <a:chExt cx="5148000" cy="2428875"/>
          </a:xfrm>
        </p:grpSpPr>
        <p:sp>
          <p:nvSpPr>
            <p:cNvPr id="68" name="矩形: 圆角 67"/>
            <p:cNvSpPr/>
            <p:nvPr/>
          </p:nvSpPr>
          <p:spPr>
            <a:xfrm>
              <a:off x="659446" y="2223620"/>
              <a:ext cx="5148000" cy="684000"/>
            </a:xfrm>
            <a:prstGeom prst="roundRect">
              <a:avLst>
                <a:gd name="adj" fmla="val 2963"/>
              </a:avLst>
            </a:prstGeom>
            <a:gradFill>
              <a:gsLst>
                <a:gs pos="100000">
                  <a:schemeClr val="accent1">
                    <a:alpha val="0"/>
                  </a:schemeClr>
                </a:gs>
                <a:gs pos="0">
                  <a:schemeClr val="accent1">
                    <a:alpha val="1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auto">
                <a:lnSpc>
                  <a:spcPct val="150000"/>
                </a:lnSpc>
              </a:pPr>
              <a:r>
                <a:rPr lang="zh-CN" altLang="en-US" sz="1400" strike="noStrike" noProof="1" dirty="0">
                  <a:solidFill>
                    <a:schemeClr val="tx1"/>
                  </a:solidFill>
                </a:rPr>
                <a:t>根据体外研究，氨曲南</a:t>
              </a:r>
              <a:r>
                <a:rPr lang="en-US" altLang="zh-CN" sz="1400" strike="noStrike" noProof="1" dirty="0">
                  <a:solidFill>
                    <a:schemeClr val="tx1"/>
                  </a:solidFill>
                </a:rPr>
                <a:t>-</a:t>
              </a:r>
              <a:r>
                <a:rPr lang="zh-CN" altLang="en-US" sz="1400" strike="noStrike" noProof="1" dirty="0">
                  <a:solidFill>
                    <a:schemeClr val="tx1"/>
                  </a:solidFill>
                </a:rPr>
                <a:t>阿维巴坦在没有获得性耐药机制的情况下，对以下特定病原体具有抗菌活性：</a:t>
              </a:r>
              <a:endParaRPr lang="zh-CN" altLang="en-US" sz="1400" strike="noStrike" noProof="1" dirty="0">
                <a:solidFill>
                  <a:schemeClr val="tx1"/>
                </a:solidFill>
              </a:endParaRPr>
            </a:p>
          </p:txBody>
        </p:sp>
        <p:sp>
          <p:nvSpPr>
            <p:cNvPr id="70" name="文本框 69"/>
            <p:cNvSpPr txBox="1"/>
            <p:nvPr/>
          </p:nvSpPr>
          <p:spPr>
            <a:xfrm>
              <a:off x="659446" y="2924025"/>
              <a:ext cx="1933575" cy="1728470"/>
            </a:xfrm>
            <a:prstGeom prst="rect">
              <a:avLst/>
            </a:prstGeom>
            <a:noFill/>
          </p:spPr>
          <p:txBody>
            <a:bodyPr wrap="square" numCol="3" anchor="ctr">
              <a:noAutofit/>
            </a:bodyPr>
            <a:lstStyle/>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弗劳地枸橼酸杆菌菌群</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克氏枸橼酸杆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大肠埃希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阴沟肠杆菌菌群</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产气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肺炎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产酸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摩氏摩根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奇异变形杆菌</a:t>
              </a:r>
              <a:endParaRPr lang="zh-CN" altLang="en-US" sz="1200" noProof="1" dirty="0">
                <a:latin typeface="Arial" panose="020B0604020202090204" pitchFamily="34" charset="0"/>
                <a:ea typeface="微软雅黑" panose="020B0503020204020204" charset="-122"/>
              </a:endParaRPr>
            </a:p>
          </p:txBody>
        </p:sp>
        <p:sp>
          <p:nvSpPr>
            <p:cNvPr id="3" name="文本框 2"/>
            <p:cNvSpPr txBox="1"/>
            <p:nvPr/>
          </p:nvSpPr>
          <p:spPr>
            <a:xfrm>
              <a:off x="2813366" y="2923390"/>
              <a:ext cx="2263775" cy="1728470"/>
            </a:xfrm>
            <a:prstGeom prst="rect">
              <a:avLst/>
            </a:prstGeom>
            <a:noFill/>
          </p:spPr>
          <p:txBody>
            <a:bodyPr wrap="square" numCol="3" anchor="ctr">
              <a:noAutofit/>
            </a:bodyPr>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普通变形杆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雷氏普罗威登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斯氏普罗威登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解鸟氨酸拉乌尔菌 </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沙雷菌属</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铜绿假单胞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粘质沙雷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嗜麦芽窄食单胞菌</a:t>
              </a:r>
              <a:endParaRPr lang="zh-CN" altLang="en-US" sz="1200" noProof="1" dirty="0">
                <a:latin typeface="Arial" panose="020B0604020202090204" pitchFamily="34" charset="0"/>
                <a:ea typeface="微软雅黑" panose="020B0503020204020204" charset="-122"/>
                <a:sym typeface="+mn-ea"/>
              </a:endParaRPr>
            </a:p>
          </p:txBody>
        </p:sp>
      </p:grpSp>
      <p:graphicFrame>
        <p:nvGraphicFramePr>
          <p:cNvPr id="75" name="表格 74"/>
          <p:cNvGraphicFramePr>
            <a:graphicFrameLocks noGrp="1"/>
          </p:cNvGraphicFramePr>
          <p:nvPr/>
        </p:nvGraphicFramePr>
        <p:xfrm>
          <a:off x="658813" y="5240338"/>
          <a:ext cx="5148263" cy="828000"/>
        </p:xfrm>
        <a:graphic>
          <a:graphicData uri="http://schemas.openxmlformats.org/drawingml/2006/table">
            <a:tbl>
              <a:tblPr firstRow="1" bandRow="1">
                <a:tableStyleId>{5C22544A-7EE6-4342-B048-85BDC9FD1C3A}</a:tableStyleId>
              </a:tblPr>
              <a:tblGrid>
                <a:gridCol w="2574000"/>
                <a:gridCol w="2574000"/>
              </a:tblGrid>
              <a:tr h="414000">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不动杆菌属</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厌氧菌</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414000">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需氧革兰氏阳性菌</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2720" indent="-171450" algn="l">
                        <a:lnSpc>
                          <a:spcPct val="100000"/>
                        </a:lnSpc>
                        <a:spcBef>
                          <a:spcPts val="0"/>
                        </a:spcBef>
                        <a:buFont typeface="Arial" panose="020B0604020202090204" pitchFamily="34" charset="0"/>
                        <a:buChar char="•"/>
                      </a:pP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pSp>
        <p:nvGrpSpPr>
          <p:cNvPr id="73761" name="组合 81"/>
          <p:cNvGrpSpPr/>
          <p:nvPr/>
        </p:nvGrpSpPr>
        <p:grpSpPr>
          <a:xfrm>
            <a:off x="658813" y="4897438"/>
            <a:ext cx="4581525" cy="307975"/>
            <a:chOff x="659445" y="4713739"/>
            <a:chExt cx="4580257" cy="307777"/>
          </a:xfrm>
        </p:grpSpPr>
        <p:sp>
          <p:nvSpPr>
            <p:cNvPr id="73762" name="文本框 76"/>
            <p:cNvSpPr txBox="1"/>
            <p:nvPr/>
          </p:nvSpPr>
          <p:spPr>
            <a:xfrm>
              <a:off x="659445" y="4713739"/>
              <a:ext cx="4580257" cy="307777"/>
            </a:xfrm>
            <a:prstGeom prst="rect">
              <a:avLst/>
            </a:prstGeom>
            <a:noFill/>
            <a:ln w="9525">
              <a:noFill/>
            </a:ln>
          </p:spPr>
          <p:txBody>
            <a:bodyPr wrap="square" lIns="0" rIns="0" anchor="ctr" anchorCtr="0">
              <a:spAutoFit/>
            </a:bodyPr>
            <a:p>
              <a:r>
                <a:rPr lang="zh-CN" altLang="en-US" sz="1400" b="1" dirty="0">
                  <a:latin typeface="Arial" panose="020B0604020202090204" pitchFamily="34" charset="0"/>
                  <a:ea typeface="微软雅黑" panose="020B0503020204020204" charset="-122"/>
                </a:rPr>
                <a:t>体外研究表明，以下菌株对氨曲南</a:t>
              </a:r>
              <a:r>
                <a:rPr lang="en-US" altLang="zh-CN" sz="1400" b="1" dirty="0">
                  <a:latin typeface="Arial" panose="020B0604020202090204" pitchFamily="34" charset="0"/>
                  <a:ea typeface="微软雅黑" panose="020B0503020204020204" charset="-122"/>
                </a:rPr>
                <a:t>-</a:t>
              </a:r>
              <a:r>
                <a:rPr lang="zh-CN" altLang="en-US" sz="1400" b="1" dirty="0">
                  <a:latin typeface="Arial" panose="020B0604020202090204" pitchFamily="34" charset="0"/>
                  <a:ea typeface="微软雅黑" panose="020B0503020204020204" charset="-122"/>
                </a:rPr>
                <a:t>阿维巴坦不敏感</a:t>
              </a:r>
              <a:endParaRPr lang="zh-CN" altLang="en-US" sz="1400" b="1" dirty="0">
                <a:latin typeface="Arial" panose="020B0604020202090204" pitchFamily="34" charset="0"/>
                <a:ea typeface="微软雅黑" panose="020B0503020204020204" charset="-122"/>
              </a:endParaRPr>
            </a:p>
          </p:txBody>
        </p:sp>
        <p:grpSp>
          <p:nvGrpSpPr>
            <p:cNvPr id="73763" name="组合 77"/>
            <p:cNvGrpSpPr/>
            <p:nvPr/>
          </p:nvGrpSpPr>
          <p:grpSpPr>
            <a:xfrm>
              <a:off x="4745903" y="4801127"/>
              <a:ext cx="330399" cy="133001"/>
              <a:chOff x="1003837" y="4113475"/>
              <a:chExt cx="607881" cy="244701"/>
            </a:xfrm>
          </p:grpSpPr>
          <p:sp>
            <p:nvSpPr>
              <p:cNvPr id="73764" name="等腰三角形 78"/>
              <p:cNvSpPr/>
              <p:nvPr/>
            </p:nvSpPr>
            <p:spPr>
              <a:xfrm rot="5400000">
                <a:off x="966961" y="4150349"/>
                <a:ext cx="244701" cy="170951"/>
              </a:xfrm>
              <a:prstGeom prst="triangle">
                <a:avLst>
                  <a:gd name="adj" fmla="val 50000"/>
                </a:avLst>
              </a:prstGeom>
              <a:solidFill>
                <a:schemeClr val="accent1"/>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sp>
            <p:nvSpPr>
              <p:cNvPr id="73765" name="等腰三角形 79"/>
              <p:cNvSpPr/>
              <p:nvPr/>
            </p:nvSpPr>
            <p:spPr>
              <a:xfrm rot="5400000">
                <a:off x="1185426" y="4150349"/>
                <a:ext cx="244701" cy="170951"/>
              </a:xfrm>
              <a:prstGeom prst="triangle">
                <a:avLst>
                  <a:gd name="adj" fmla="val 50000"/>
                </a:avLst>
              </a:prstGeom>
              <a:solidFill>
                <a:schemeClr val="accent1">
                  <a:alpha val="59999"/>
                </a:schemeClr>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sp>
            <p:nvSpPr>
              <p:cNvPr id="73766" name="等腰三角形 80"/>
              <p:cNvSpPr/>
              <p:nvPr/>
            </p:nvSpPr>
            <p:spPr>
              <a:xfrm rot="5400000">
                <a:off x="1403891" y="4150349"/>
                <a:ext cx="244701" cy="170951"/>
              </a:xfrm>
              <a:prstGeom prst="triangle">
                <a:avLst>
                  <a:gd name="adj" fmla="val 50000"/>
                </a:avLst>
              </a:prstGeom>
              <a:solidFill>
                <a:schemeClr val="accent1">
                  <a:alpha val="20000"/>
                </a:schemeClr>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grpSp>
      </p:grpSp>
      <p:grpSp>
        <p:nvGrpSpPr>
          <p:cNvPr id="73767" name="组合 97"/>
          <p:cNvGrpSpPr/>
          <p:nvPr/>
        </p:nvGrpSpPr>
        <p:grpSpPr>
          <a:xfrm>
            <a:off x="6513513" y="2506663"/>
            <a:ext cx="4889500" cy="138112"/>
            <a:chOff x="6420642" y="2575025"/>
            <a:chExt cx="4890296" cy="138499"/>
          </a:xfrm>
        </p:grpSpPr>
        <p:grpSp>
          <p:nvGrpSpPr>
            <p:cNvPr id="73768" name="组合 96"/>
            <p:cNvGrpSpPr/>
            <p:nvPr/>
          </p:nvGrpSpPr>
          <p:grpSpPr>
            <a:xfrm>
              <a:off x="6420642" y="2575025"/>
              <a:ext cx="1215690" cy="138499"/>
              <a:chOff x="6420642" y="2575025"/>
              <a:chExt cx="1215690" cy="138499"/>
            </a:xfrm>
          </p:grpSpPr>
          <p:sp>
            <p:nvSpPr>
              <p:cNvPr id="73769" name="文本框 83"/>
              <p:cNvSpPr txBox="1"/>
              <p:nvPr/>
            </p:nvSpPr>
            <p:spPr>
              <a:xfrm>
                <a:off x="6636591" y="2575025"/>
                <a:ext cx="999741"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敏感率&gt;8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7" name="矩形: 圆角 86"/>
              <p:cNvSpPr/>
              <p:nvPr/>
            </p:nvSpPr>
            <p:spPr>
              <a:xfrm>
                <a:off x="6420642" y="2580001"/>
                <a:ext cx="239764" cy="128549"/>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nvGrpSpPr>
            <p:cNvPr id="73771" name="组合 94"/>
            <p:cNvGrpSpPr/>
            <p:nvPr/>
          </p:nvGrpSpPr>
          <p:grpSpPr>
            <a:xfrm>
              <a:off x="7838312" y="2575025"/>
              <a:ext cx="1356085" cy="138499"/>
              <a:chOff x="7853930" y="2575025"/>
              <a:chExt cx="1356085" cy="138499"/>
            </a:xfrm>
          </p:grpSpPr>
          <p:sp>
            <p:nvSpPr>
              <p:cNvPr id="73772" name="文本框 84"/>
              <p:cNvSpPr txBox="1"/>
              <p:nvPr/>
            </p:nvSpPr>
            <p:spPr>
              <a:xfrm>
                <a:off x="8061605" y="2575025"/>
                <a:ext cx="1148410"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敏感率30–8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8" name="矩形: 圆角 87"/>
              <p:cNvSpPr/>
              <p:nvPr/>
            </p:nvSpPr>
            <p:spPr>
              <a:xfrm>
                <a:off x="7853930" y="2580001"/>
                <a:ext cx="239764" cy="128549"/>
              </a:xfrm>
              <a:prstGeom prst="roundRect">
                <a:avLst>
                  <a:gd name="adj" fmla="val 50000"/>
                </a:avLst>
              </a:prstGeom>
              <a:solidFill>
                <a:srgbClr val="FFE6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nvGrpSpPr>
            <p:cNvPr id="73774" name="组合 93"/>
            <p:cNvGrpSpPr/>
            <p:nvPr/>
          </p:nvGrpSpPr>
          <p:grpSpPr>
            <a:xfrm>
              <a:off x="9396377" y="2575025"/>
              <a:ext cx="1914561" cy="138499"/>
              <a:chOff x="9396377" y="2575025"/>
              <a:chExt cx="1914561" cy="138499"/>
            </a:xfrm>
          </p:grpSpPr>
          <p:sp>
            <p:nvSpPr>
              <p:cNvPr id="73775" name="文本框 85"/>
              <p:cNvSpPr txBox="1"/>
              <p:nvPr/>
            </p:nvSpPr>
            <p:spPr>
              <a:xfrm>
                <a:off x="9610940" y="2575025"/>
                <a:ext cx="1699998"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内在耐药性或敏感率&lt;3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9" name="矩形: 圆角 88"/>
              <p:cNvSpPr/>
              <p:nvPr/>
            </p:nvSpPr>
            <p:spPr>
              <a:xfrm>
                <a:off x="9396377" y="2580001"/>
                <a:ext cx="239764" cy="128549"/>
              </a:xfrm>
              <a:prstGeom prst="roundRect">
                <a:avLst>
                  <a:gd name="adj" fmla="val 50000"/>
                </a:avLst>
              </a:prstGeom>
              <a:solidFill>
                <a:srgbClr val="F260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grpSp>
        <p:nvGrpSpPr>
          <p:cNvPr id="73777" name="组合 162"/>
          <p:cNvGrpSpPr/>
          <p:nvPr/>
        </p:nvGrpSpPr>
        <p:grpSpPr>
          <a:xfrm>
            <a:off x="6348413" y="2670715"/>
            <a:ext cx="5219700" cy="3264306"/>
            <a:chOff x="6348554" y="2686594"/>
            <a:chExt cx="5220000" cy="3264225"/>
          </a:xfrm>
        </p:grpSpPr>
        <p:sp>
          <p:nvSpPr>
            <p:cNvPr id="101" name="矩形 100"/>
            <p:cNvSpPr/>
            <p:nvPr/>
          </p:nvSpPr>
          <p:spPr>
            <a:xfrm>
              <a:off x="6348554" y="2962280"/>
              <a:ext cx="3094805" cy="22242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a:latin typeface="Arial" panose="020B0604020202090204" pitchFamily="34" charset="0"/>
                  <a:ea typeface="微软雅黑" panose="020B0503020204020204" charset="-122"/>
                  <a:cs typeface="+mn-ea"/>
                  <a:sym typeface="+mn-lt"/>
                </a:rPr>
                <a:t>肠杆菌目</a:t>
              </a:r>
              <a:endParaRPr lang="zh-CN" altLang="en-US" sz="1200" b="1" strike="noStrike" noProof="1">
                <a:latin typeface="Arial" panose="020B0604020202090204" pitchFamily="34" charset="0"/>
                <a:ea typeface="微软雅黑" panose="020B0503020204020204" charset="-122"/>
                <a:cs typeface="+mn-ea"/>
                <a:sym typeface="+mn-lt"/>
              </a:endParaRPr>
            </a:p>
          </p:txBody>
        </p:sp>
        <p:sp>
          <p:nvSpPr>
            <p:cNvPr id="103" name="矩形 102"/>
            <p:cNvSpPr/>
            <p:nvPr/>
          </p:nvSpPr>
          <p:spPr>
            <a:xfrm>
              <a:off x="6348554" y="3213745"/>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dirty="0">
                  <a:solidFill>
                    <a:schemeClr val="tx1"/>
                  </a:solidFill>
                  <a:latin typeface="Arial" panose="020B0604020202090204" pitchFamily="34" charset="0"/>
                  <a:ea typeface="微软雅黑" panose="020B0503020204020204" charset="-122"/>
                  <a:cs typeface="+mn-ea"/>
                  <a:sym typeface="+mn-lt"/>
                </a:rPr>
                <a:t>KPC</a:t>
              </a:r>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dirty="0">
                  <a:solidFill>
                    <a:schemeClr val="tx1"/>
                  </a:solidFill>
                  <a:latin typeface="Arial" panose="020B0604020202090204" pitchFamily="34" charset="0"/>
                  <a:ea typeface="微软雅黑" panose="020B0503020204020204" charset="-122"/>
                  <a:cs typeface="+mn-ea"/>
                  <a:sym typeface="+mn-lt"/>
                </a:rPr>
                <a:t>1</a:t>
              </a:r>
              <a:endParaRPr lang="zh-CN" altLang="en-US" sz="1200" strike="noStrike" baseline="30000" noProof="1" dirty="0">
                <a:solidFill>
                  <a:schemeClr val="tx1"/>
                </a:solidFill>
                <a:latin typeface="Arial" panose="020B0604020202090204" pitchFamily="34" charset="0"/>
                <a:ea typeface="微软雅黑" panose="020B0503020204020204" charset="-122"/>
                <a:cs typeface="+mn-ea"/>
                <a:sym typeface="+mn-lt"/>
              </a:endParaRPr>
            </a:p>
          </p:txBody>
        </p:sp>
        <p:sp>
          <p:nvSpPr>
            <p:cNvPr id="104" name="矩形 103"/>
            <p:cNvSpPr/>
            <p:nvPr/>
          </p:nvSpPr>
          <p:spPr>
            <a:xfrm>
              <a:off x="6348554" y="3465210"/>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1</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baseline="30000" noProof="1">
                <a:solidFill>
                  <a:schemeClr val="tx1"/>
                </a:solidFill>
                <a:latin typeface="Arial" panose="020B0604020202090204" pitchFamily="34" charset="0"/>
                <a:ea typeface="微软雅黑" panose="020B0503020204020204" charset="-122"/>
                <a:cs typeface="+mn-ea"/>
                <a:sym typeface="+mn-lt"/>
              </a:endParaRPr>
            </a:p>
          </p:txBody>
        </p:sp>
        <p:sp>
          <p:nvSpPr>
            <p:cNvPr id="105" name="矩形 104"/>
            <p:cNvSpPr/>
            <p:nvPr/>
          </p:nvSpPr>
          <p:spPr>
            <a:xfrm>
              <a:off x="6348554" y="3716674"/>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5</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06" name="矩形 105"/>
            <p:cNvSpPr/>
            <p:nvPr/>
          </p:nvSpPr>
          <p:spPr>
            <a:xfrm>
              <a:off x="6348554" y="3968139"/>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7</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6" name="矩形 125"/>
            <p:cNvSpPr/>
            <p:nvPr/>
          </p:nvSpPr>
          <p:spPr>
            <a:xfrm>
              <a:off x="6348554" y="4219604"/>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VIM</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7" name="矩形 126"/>
            <p:cNvSpPr/>
            <p:nvPr/>
          </p:nvSpPr>
          <p:spPr>
            <a:xfrm>
              <a:off x="6348554" y="4471069"/>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IMP</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8" name="矩形 127"/>
            <p:cNvSpPr/>
            <p:nvPr/>
          </p:nvSpPr>
          <p:spPr>
            <a:xfrm>
              <a:off x="6348554" y="4722533"/>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OXA-48-</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样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1</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9" name="矩形 128"/>
            <p:cNvSpPr/>
            <p:nvPr/>
          </p:nvSpPr>
          <p:spPr>
            <a:xfrm>
              <a:off x="6348554" y="4973998"/>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ESBL</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3</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30" name="矩形 129"/>
            <p:cNvSpPr/>
            <p:nvPr/>
          </p:nvSpPr>
          <p:spPr>
            <a:xfrm>
              <a:off x="6348554" y="5225463"/>
              <a:ext cx="3094805" cy="22242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dirty="0">
                  <a:latin typeface="Arial" panose="020B0604020202090204" pitchFamily="34" charset="0"/>
                  <a:ea typeface="微软雅黑" panose="020B0503020204020204" charset="-122"/>
                  <a:cs typeface="+mn-ea"/>
                  <a:sym typeface="+mn-lt"/>
                </a:rPr>
                <a:t>铜绿假单胞菌</a:t>
              </a:r>
              <a:r>
                <a:rPr lang="en-US" altLang="zh-CN" sz="1200" b="1" strike="noStrike" baseline="30000" noProof="1" dirty="0">
                  <a:latin typeface="Arial" panose="020B0604020202090204" pitchFamily="34" charset="0"/>
                  <a:ea typeface="微软雅黑" panose="020B0503020204020204" charset="-122"/>
                  <a:cs typeface="+mn-ea"/>
                  <a:sym typeface="+mn-lt"/>
                </a:rPr>
                <a:t>4</a:t>
              </a:r>
              <a:endParaRPr lang="zh-CN" altLang="en-US" sz="1200" b="1" strike="noStrike" baseline="30000" noProof="1" dirty="0">
                <a:latin typeface="Arial" panose="020B0604020202090204" pitchFamily="34" charset="0"/>
                <a:ea typeface="微软雅黑" panose="020B0503020204020204" charset="-122"/>
                <a:cs typeface="+mn-ea"/>
                <a:sym typeface="+mn-lt"/>
              </a:endParaRPr>
            </a:p>
          </p:txBody>
        </p:sp>
        <p:sp>
          <p:nvSpPr>
            <p:cNvPr id="131" name="矩形 130"/>
            <p:cNvSpPr/>
            <p:nvPr/>
          </p:nvSpPr>
          <p:spPr>
            <a:xfrm>
              <a:off x="6348554" y="5476928"/>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dirty="0">
                  <a:solidFill>
                    <a:schemeClr val="tx1"/>
                  </a:solidFill>
                  <a:latin typeface="Arial" panose="020B0604020202090204" pitchFamily="34" charset="0"/>
                  <a:ea typeface="微软雅黑" panose="020B0503020204020204" charset="-122"/>
                  <a:cs typeface="+mn-ea"/>
                  <a:sym typeface="+mn-lt"/>
                </a:rPr>
                <a:t>MBL</a:t>
              </a:r>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的铜绿假单胞菌</a:t>
              </a:r>
              <a:r>
                <a:rPr lang="en-US" altLang="zh-CN" sz="1200" strike="noStrike" baseline="30000" noProof="1" dirty="0">
                  <a:solidFill>
                    <a:schemeClr val="tx1"/>
                  </a:solidFill>
                  <a:latin typeface="Arial" panose="020B0604020202090204" pitchFamily="34" charset="0"/>
                  <a:ea typeface="微软雅黑" panose="020B0503020204020204" charset="-122"/>
                  <a:cs typeface="+mn-ea"/>
                  <a:sym typeface="+mn-lt"/>
                </a:rPr>
                <a:t>4</a:t>
              </a:r>
              <a:endParaRPr lang="zh-CN" altLang="en-US" sz="1200" strike="noStrike" baseline="30000" noProof="1" dirty="0">
                <a:solidFill>
                  <a:schemeClr val="tx1"/>
                </a:solidFill>
                <a:latin typeface="Arial" panose="020B0604020202090204" pitchFamily="34" charset="0"/>
                <a:ea typeface="微软雅黑" panose="020B0503020204020204" charset="-122"/>
                <a:cs typeface="+mn-ea"/>
                <a:sym typeface="+mn-lt"/>
              </a:endParaRPr>
            </a:p>
          </p:txBody>
        </p:sp>
        <p:sp>
          <p:nvSpPr>
            <p:cNvPr id="132" name="矩形 131"/>
            <p:cNvSpPr/>
            <p:nvPr/>
          </p:nvSpPr>
          <p:spPr>
            <a:xfrm>
              <a:off x="6348554" y="5728392"/>
              <a:ext cx="3094805" cy="22242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dirty="0">
                  <a:solidFill>
                    <a:schemeClr val="bg1"/>
                  </a:solidFill>
                  <a:latin typeface="Arial" panose="020B0604020202090204" pitchFamily="34" charset="0"/>
                  <a:ea typeface="微软雅黑" panose="020B0503020204020204" charset="-122"/>
                  <a:cs typeface="+mn-ea"/>
                  <a:sym typeface="+mn-lt"/>
                </a:rPr>
                <a:t>嗜麦芽窄食单胞菌</a:t>
              </a:r>
              <a:r>
                <a:rPr lang="en-US" altLang="zh-CN" sz="1200" b="1" strike="noStrike" baseline="30000" noProof="1" dirty="0">
                  <a:solidFill>
                    <a:schemeClr val="bg1"/>
                  </a:solidFill>
                  <a:latin typeface="Arial" panose="020B0604020202090204" pitchFamily="34" charset="0"/>
                  <a:ea typeface="微软雅黑" panose="020B0503020204020204" charset="-122"/>
                  <a:cs typeface="+mn-ea"/>
                  <a:sym typeface="+mn-lt"/>
                </a:rPr>
                <a:t>5</a:t>
              </a:r>
              <a:endParaRPr lang="zh-CN" altLang="en-US" sz="1200" b="1" strike="noStrike" baseline="30000" noProof="1" dirty="0">
                <a:solidFill>
                  <a:schemeClr val="bg1"/>
                </a:solidFill>
                <a:latin typeface="Arial" panose="020B0604020202090204" pitchFamily="34" charset="0"/>
                <a:ea typeface="微软雅黑" panose="020B0503020204020204" charset="-122"/>
                <a:cs typeface="+mn-ea"/>
                <a:sym typeface="+mn-lt"/>
              </a:endParaRPr>
            </a:p>
          </p:txBody>
        </p:sp>
        <p:sp>
          <p:nvSpPr>
            <p:cNvPr id="134" name="矩形 133"/>
            <p:cNvSpPr/>
            <p:nvPr/>
          </p:nvSpPr>
          <p:spPr>
            <a:xfrm>
              <a:off x="9505351" y="2962280"/>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5" name="矩形 134"/>
            <p:cNvSpPr/>
            <p:nvPr/>
          </p:nvSpPr>
          <p:spPr>
            <a:xfrm>
              <a:off x="9505351" y="3465210"/>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6" name="矩形 135"/>
            <p:cNvSpPr/>
            <p:nvPr/>
          </p:nvSpPr>
          <p:spPr>
            <a:xfrm>
              <a:off x="9505351" y="3968139"/>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7" name="矩形 136"/>
            <p:cNvSpPr/>
            <p:nvPr/>
          </p:nvSpPr>
          <p:spPr>
            <a:xfrm>
              <a:off x="9505351" y="4471069"/>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8" name="矩形 137"/>
            <p:cNvSpPr/>
            <p:nvPr/>
          </p:nvSpPr>
          <p:spPr>
            <a:xfrm>
              <a:off x="9505351" y="4973998"/>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9" name="矩形 138"/>
            <p:cNvSpPr/>
            <p:nvPr/>
          </p:nvSpPr>
          <p:spPr>
            <a:xfrm>
              <a:off x="9505351" y="5476928"/>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41" name="矩形 140"/>
            <p:cNvSpPr/>
            <p:nvPr/>
          </p:nvSpPr>
          <p:spPr>
            <a:xfrm>
              <a:off x="9505351" y="3213745"/>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2" name="矩形 141"/>
            <p:cNvSpPr/>
            <p:nvPr/>
          </p:nvSpPr>
          <p:spPr>
            <a:xfrm>
              <a:off x="9505351" y="3716674"/>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3" name="矩形 142"/>
            <p:cNvSpPr/>
            <p:nvPr/>
          </p:nvSpPr>
          <p:spPr>
            <a:xfrm>
              <a:off x="9505351" y="4219604"/>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4" name="矩形 143"/>
            <p:cNvSpPr/>
            <p:nvPr/>
          </p:nvSpPr>
          <p:spPr>
            <a:xfrm>
              <a:off x="9505351" y="4722533"/>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5" name="矩形 144"/>
            <p:cNvSpPr/>
            <p:nvPr/>
          </p:nvSpPr>
          <p:spPr>
            <a:xfrm>
              <a:off x="9505351" y="5225463"/>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6" name="矩形 145"/>
            <p:cNvSpPr/>
            <p:nvPr/>
          </p:nvSpPr>
          <p:spPr>
            <a:xfrm>
              <a:off x="9505351" y="5728392"/>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7" name="矩形: 圆角 146"/>
            <p:cNvSpPr/>
            <p:nvPr/>
          </p:nvSpPr>
          <p:spPr>
            <a:xfrm>
              <a:off x="9763251" y="3016762"/>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48" name="矩形: 圆角 147"/>
            <p:cNvSpPr/>
            <p:nvPr/>
          </p:nvSpPr>
          <p:spPr>
            <a:xfrm>
              <a:off x="9763251" y="3268227"/>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49" name="矩形: 圆角 148"/>
            <p:cNvSpPr/>
            <p:nvPr/>
          </p:nvSpPr>
          <p:spPr>
            <a:xfrm>
              <a:off x="9763251" y="3519692"/>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0" name="矩形: 圆角 149"/>
            <p:cNvSpPr/>
            <p:nvPr/>
          </p:nvSpPr>
          <p:spPr>
            <a:xfrm>
              <a:off x="9763251" y="3771157"/>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1" name="矩形: 圆角 150"/>
            <p:cNvSpPr/>
            <p:nvPr/>
          </p:nvSpPr>
          <p:spPr>
            <a:xfrm>
              <a:off x="9763251" y="4022621"/>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2" name="矩形: 圆角 151"/>
            <p:cNvSpPr/>
            <p:nvPr/>
          </p:nvSpPr>
          <p:spPr>
            <a:xfrm>
              <a:off x="9763251" y="4274086"/>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3" name="矩形: 圆角 152"/>
            <p:cNvSpPr/>
            <p:nvPr/>
          </p:nvSpPr>
          <p:spPr>
            <a:xfrm>
              <a:off x="9763251" y="4525551"/>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4" name="矩形: 圆角 153"/>
            <p:cNvSpPr/>
            <p:nvPr/>
          </p:nvSpPr>
          <p:spPr>
            <a:xfrm>
              <a:off x="9763251" y="4777016"/>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5" name="矩形: 圆角 154"/>
            <p:cNvSpPr/>
            <p:nvPr/>
          </p:nvSpPr>
          <p:spPr>
            <a:xfrm>
              <a:off x="9763251" y="5028480"/>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6" name="矩形: 圆角 155"/>
            <p:cNvSpPr/>
            <p:nvPr/>
          </p:nvSpPr>
          <p:spPr>
            <a:xfrm>
              <a:off x="9763251" y="5279945"/>
              <a:ext cx="1547403" cy="113464"/>
            </a:xfrm>
            <a:prstGeom prst="roundRect">
              <a:avLst>
                <a:gd name="adj" fmla="val 50000"/>
              </a:avLst>
            </a:prstGeom>
            <a:solidFill>
              <a:srgbClr val="FFE6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7" name="矩形: 圆角 156"/>
            <p:cNvSpPr/>
            <p:nvPr/>
          </p:nvSpPr>
          <p:spPr>
            <a:xfrm>
              <a:off x="9763251" y="5531410"/>
              <a:ext cx="1547403" cy="113464"/>
            </a:xfrm>
            <a:prstGeom prst="roundRect">
              <a:avLst>
                <a:gd name="adj" fmla="val 50000"/>
              </a:avLst>
            </a:prstGeom>
            <a:solidFill>
              <a:srgbClr val="F260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8" name="矩形: 圆角 157"/>
            <p:cNvSpPr/>
            <p:nvPr/>
          </p:nvSpPr>
          <p:spPr>
            <a:xfrm>
              <a:off x="9763251" y="5782875"/>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73817" name="文本框 160"/>
            <p:cNvSpPr txBox="1"/>
            <p:nvPr/>
          </p:nvSpPr>
          <p:spPr>
            <a:xfrm>
              <a:off x="7145387" y="2686594"/>
              <a:ext cx="1501139" cy="306697"/>
            </a:xfrm>
            <a:prstGeom prst="rect">
              <a:avLst/>
            </a:prstGeom>
            <a:noFill/>
            <a:ln w="9525">
              <a:noFill/>
            </a:ln>
          </p:spPr>
          <p:txBody>
            <a:bodyPr wrap="square" lIns="0" rIns="0" anchor="ctr" anchorCtr="0">
              <a:spAutoFit/>
            </a:bodyPr>
            <a:p>
              <a:pPr algn="ctr"/>
              <a:r>
                <a:rPr lang="zh-CN" altLang="en-US" sz="1400" b="1" dirty="0">
                  <a:latin typeface="Arial" panose="020B0604020202090204" pitchFamily="34" charset="0"/>
                  <a:ea typeface="微软雅黑" panose="020B0503020204020204" charset="-122"/>
                </a:rPr>
                <a:t>氨曲南</a:t>
              </a:r>
              <a:r>
                <a:rPr lang="en-US" altLang="zh-CN" sz="1400" b="1" dirty="0">
                  <a:latin typeface="Arial" panose="020B0604020202090204" pitchFamily="34" charset="0"/>
                  <a:ea typeface="微软雅黑" panose="020B0503020204020204" charset="-122"/>
                </a:rPr>
                <a:t>/</a:t>
              </a:r>
              <a:r>
                <a:rPr lang="zh-CN" altLang="en-US" sz="1400" b="1" dirty="0">
                  <a:latin typeface="Arial" panose="020B0604020202090204" pitchFamily="34" charset="0"/>
                  <a:ea typeface="微软雅黑" panose="020B0503020204020204" charset="-122"/>
                </a:rPr>
                <a:t>阿维巴坦</a:t>
              </a:r>
              <a:endParaRPr lang="zh-CN" altLang="en-US" sz="1400" b="1" dirty="0">
                <a:latin typeface="Arial" panose="020B0604020202090204" pitchFamily="34" charset="0"/>
                <a:ea typeface="微软雅黑" panose="020B0503020204020204" charset="-122"/>
              </a:endParaRPr>
            </a:p>
          </p:txBody>
        </p:sp>
        <p:sp>
          <p:nvSpPr>
            <p:cNvPr id="73818" name="文本框 161"/>
            <p:cNvSpPr txBox="1"/>
            <p:nvPr/>
          </p:nvSpPr>
          <p:spPr>
            <a:xfrm>
              <a:off x="9786383" y="2686594"/>
              <a:ext cx="1501139" cy="306697"/>
            </a:xfrm>
            <a:prstGeom prst="rect">
              <a:avLst/>
            </a:prstGeom>
            <a:noFill/>
            <a:ln w="9525">
              <a:noFill/>
            </a:ln>
          </p:spPr>
          <p:txBody>
            <a:bodyPr wrap="square" lIns="0" rIns="0" anchor="ctr" anchorCtr="0">
              <a:spAutoFit/>
            </a:bodyPr>
            <a:p>
              <a:pPr algn="ctr"/>
              <a:r>
                <a:rPr lang="zh-CN" altLang="en-US" sz="1400" b="1" dirty="0">
                  <a:latin typeface="Arial" panose="020B0604020202090204" pitchFamily="34" charset="0"/>
                  <a:ea typeface="微软雅黑" panose="020B0503020204020204" charset="-122"/>
                </a:rPr>
                <a:t>敏感率</a:t>
              </a:r>
              <a:endParaRPr lang="zh-CN" altLang="en-US" sz="1400" b="1" dirty="0">
                <a:latin typeface="Arial" panose="020B0604020202090204" pitchFamily="34" charset="0"/>
                <a:ea typeface="微软雅黑" panose="020B0503020204020204" charset="-122"/>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5777" name="标题 1"/>
          <p:cNvSpPr>
            <a:spLocks noGrp="1"/>
          </p:cNvSpPr>
          <p:nvPr>
            <p:ph type="title"/>
          </p:nvPr>
        </p:nvSpPr>
        <p:spPr>
          <a:xfrm>
            <a:off x="452120" y="353060"/>
            <a:ext cx="11297285" cy="829945"/>
          </a:xfrm>
        </p:spPr>
        <p:txBody>
          <a:bodyPr wrap="square"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PK/PD：</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rPr>
              <a:t>氨曲南-阿维巴坦</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静脉输注可实现快速、完全的生物利用度</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且药物间相互作用可能性小，确保疗效及安全性</a:t>
            </a:r>
            <a:endParaRPr lang="zh-CN" altLang="en-US" b="1" kern="1200" dirty="0">
              <a:solidFill>
                <a:srgbClr val="000D45"/>
              </a:solidFill>
              <a:latin typeface="Pfizer Tomorrow" charset="0"/>
              <a:ea typeface="微软雅黑" panose="020B0503020204020204" charset="-122"/>
              <a:cs typeface="+mj-cs"/>
            </a:endParaRPr>
          </a:p>
        </p:txBody>
      </p:sp>
      <p:sp>
        <p:nvSpPr>
          <p:cNvPr id="5" name="Rectangle: Rounded Corners 112"/>
          <p:cNvSpPr/>
          <p:nvPr/>
        </p:nvSpPr>
        <p:spPr>
          <a:xfrm>
            <a:off x="441325" y="1681163"/>
            <a:ext cx="2587625" cy="3852863"/>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6" name="TextBox 86"/>
          <p:cNvSpPr txBox="1"/>
          <p:nvPr/>
        </p:nvSpPr>
        <p:spPr>
          <a:xfrm>
            <a:off x="709613" y="3152775"/>
            <a:ext cx="2052638" cy="1076325"/>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通过静脉</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输注</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给药，在感染的关键急性期可实现</a:t>
            </a:r>
            <a:r>
              <a:rPr kumimoji="0" lang="en-GB"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快速</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完全的生物利用度</a:t>
            </a:r>
            <a:endParaRPr kumimoji="0" lang="en-GB"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780" name="组合 6"/>
          <p:cNvGrpSpPr/>
          <p:nvPr/>
        </p:nvGrpSpPr>
        <p:grpSpPr>
          <a:xfrm>
            <a:off x="441325" y="2538413"/>
            <a:ext cx="2587625" cy="431800"/>
            <a:chOff x="3356668" y="1161733"/>
            <a:chExt cx="2463107" cy="432000"/>
          </a:xfrm>
        </p:grpSpPr>
        <p:sp>
          <p:nvSpPr>
            <p:cNvPr id="8"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p>
              <a:pPr algn="ctr" defTabSz="227330">
                <a:buSzPct val="60000"/>
                <a:buNone/>
              </a:pPr>
              <a:r>
                <a:rPr lang="zh-CN" altLang="en-US" sz="1600" b="1" baseline="0" dirty="0">
                  <a:solidFill>
                    <a:srgbClr val="FFFFFF"/>
                  </a:solidFill>
                  <a:latin typeface="Arial" panose="020B0604020202090204" pitchFamily="34" charset="0"/>
                  <a:ea typeface="微软雅黑" panose="020B0503020204020204" charset="-122"/>
                </a:rPr>
                <a:t>静脉输注</a:t>
              </a:r>
              <a:r>
                <a:rPr lang="en-US" altLang="zh-CN" sz="1600" b="1" baseline="30000" dirty="0">
                  <a:solidFill>
                    <a:srgbClr val="FFFFFF"/>
                  </a:solidFill>
                  <a:latin typeface="Arial" panose="020B0604020202090204" pitchFamily="34" charset="0"/>
                  <a:ea typeface="微软雅黑" panose="020B0503020204020204" charset="-122"/>
                </a:rPr>
                <a:t>1,2</a:t>
              </a:r>
              <a:endParaRPr lang="zh-CN" altLang="en-US" sz="1600" b="1" baseline="30000" dirty="0">
                <a:solidFill>
                  <a:srgbClr val="FFFFFF"/>
                </a:solidFill>
                <a:latin typeface="Arial" panose="020B0604020202090204" pitchFamily="34" charset="0"/>
                <a:ea typeface="微软雅黑" panose="020B0503020204020204" charset="-122"/>
              </a:endParaRPr>
            </a:p>
          </p:txBody>
        </p:sp>
        <p:pic>
          <p:nvPicPr>
            <p:cNvPr id="9" name="图片 8"/>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75783" name="Group 48"/>
          <p:cNvGrpSpPr>
            <a:grpSpLocks noChangeAspect="1"/>
          </p:cNvGrpSpPr>
          <p:nvPr/>
        </p:nvGrpSpPr>
        <p:grpSpPr>
          <a:xfrm>
            <a:off x="1460500" y="1849438"/>
            <a:ext cx="549275" cy="528637"/>
            <a:chOff x="1021" y="1394"/>
            <a:chExt cx="469" cy="452"/>
          </a:xfrm>
        </p:grpSpPr>
        <p:sp>
          <p:nvSpPr>
            <p:cNvPr id="11" name="Freeform 49"/>
            <p:cNvSpPr/>
            <p:nvPr/>
          </p:nvSpPr>
          <p:spPr bwMode="auto">
            <a:xfrm>
              <a:off x="1247" y="1535"/>
              <a:ext cx="243" cy="243"/>
            </a:xfrm>
            <a:custGeom>
              <a:avLst/>
              <a:gdLst>
                <a:gd name="T0" fmla="*/ 632 w 632"/>
                <a:gd name="T1" fmla="*/ 316 h 631"/>
                <a:gd name="T2" fmla="*/ 632 w 632"/>
                <a:gd name="T3" fmla="*/ 316 h 631"/>
                <a:gd name="T4" fmla="*/ 316 w 632"/>
                <a:gd name="T5" fmla="*/ 631 h 631"/>
                <a:gd name="T6" fmla="*/ 0 w 632"/>
                <a:gd name="T7" fmla="*/ 316 h 631"/>
                <a:gd name="T8" fmla="*/ 316 w 632"/>
                <a:gd name="T9" fmla="*/ 0 h 631"/>
                <a:gd name="T10" fmla="*/ 632 w 632"/>
                <a:gd name="T11" fmla="*/ 316 h 631"/>
              </a:gdLst>
              <a:ahLst/>
              <a:cxnLst>
                <a:cxn ang="0">
                  <a:pos x="T0" y="T1"/>
                </a:cxn>
                <a:cxn ang="0">
                  <a:pos x="T2" y="T3"/>
                </a:cxn>
                <a:cxn ang="0">
                  <a:pos x="T4" y="T5"/>
                </a:cxn>
                <a:cxn ang="0">
                  <a:pos x="T6" y="T7"/>
                </a:cxn>
                <a:cxn ang="0">
                  <a:pos x="T8" y="T9"/>
                </a:cxn>
                <a:cxn ang="0">
                  <a:pos x="T10" y="T11"/>
                </a:cxn>
              </a:cxnLst>
              <a:rect l="0" t="0" r="r" b="b"/>
              <a:pathLst>
                <a:path w="632" h="631">
                  <a:moveTo>
                    <a:pt x="632" y="316"/>
                  </a:moveTo>
                  <a:lnTo>
                    <a:pt x="632" y="316"/>
                  </a:lnTo>
                  <a:cubicBezTo>
                    <a:pt x="632" y="490"/>
                    <a:pt x="490" y="631"/>
                    <a:pt x="316" y="631"/>
                  </a:cubicBezTo>
                  <a:cubicBezTo>
                    <a:pt x="142" y="631"/>
                    <a:pt x="0" y="490"/>
                    <a:pt x="0" y="316"/>
                  </a:cubicBezTo>
                  <a:cubicBezTo>
                    <a:pt x="0" y="141"/>
                    <a:pt x="142" y="0"/>
                    <a:pt x="316" y="0"/>
                  </a:cubicBezTo>
                  <a:cubicBezTo>
                    <a:pt x="490" y="0"/>
                    <a:pt x="632" y="141"/>
                    <a:pt x="632" y="316"/>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2" name="Freeform 51"/>
            <p:cNvSpPr/>
            <p:nvPr/>
          </p:nvSpPr>
          <p:spPr bwMode="auto">
            <a:xfrm>
              <a:off x="1021" y="1394"/>
              <a:ext cx="293" cy="452"/>
            </a:xfrm>
            <a:custGeom>
              <a:avLst/>
              <a:gdLst>
                <a:gd name="T0" fmla="*/ 621 w 763"/>
                <a:gd name="T1" fmla="*/ 312 h 1177"/>
                <a:gd name="T2" fmla="*/ 621 w 763"/>
                <a:gd name="T3" fmla="*/ 312 h 1177"/>
                <a:gd name="T4" fmla="*/ 431 w 763"/>
                <a:gd name="T5" fmla="*/ 0 h 1177"/>
                <a:gd name="T6" fmla="*/ 147 w 763"/>
                <a:gd name="T7" fmla="*/ 450 h 1177"/>
                <a:gd name="T8" fmla="*/ 19 w 763"/>
                <a:gd name="T9" fmla="*/ 718 h 1177"/>
                <a:gd name="T10" fmla="*/ 134 w 763"/>
                <a:gd name="T11" fmla="*/ 1061 h 1177"/>
                <a:gd name="T12" fmla="*/ 431 w 763"/>
                <a:gd name="T13" fmla="*/ 1176 h 1177"/>
                <a:gd name="T14" fmla="*/ 728 w 763"/>
                <a:gd name="T15" fmla="*/ 1061 h 1177"/>
                <a:gd name="T16" fmla="*/ 763 w 763"/>
                <a:gd name="T17" fmla="*/ 1021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1177">
                  <a:moveTo>
                    <a:pt x="621" y="312"/>
                  </a:moveTo>
                  <a:lnTo>
                    <a:pt x="621" y="312"/>
                  </a:lnTo>
                  <a:cubicBezTo>
                    <a:pt x="563" y="225"/>
                    <a:pt x="495" y="121"/>
                    <a:pt x="431" y="0"/>
                  </a:cubicBezTo>
                  <a:cubicBezTo>
                    <a:pt x="329" y="195"/>
                    <a:pt x="215" y="345"/>
                    <a:pt x="147" y="450"/>
                  </a:cubicBezTo>
                  <a:cubicBezTo>
                    <a:pt x="74" y="562"/>
                    <a:pt x="30" y="620"/>
                    <a:pt x="19" y="718"/>
                  </a:cubicBezTo>
                  <a:cubicBezTo>
                    <a:pt x="16" y="752"/>
                    <a:pt x="0" y="929"/>
                    <a:pt x="134" y="1061"/>
                  </a:cubicBezTo>
                  <a:cubicBezTo>
                    <a:pt x="252" y="1177"/>
                    <a:pt x="401" y="1177"/>
                    <a:pt x="431" y="1176"/>
                  </a:cubicBezTo>
                  <a:cubicBezTo>
                    <a:pt x="461" y="1177"/>
                    <a:pt x="610" y="1177"/>
                    <a:pt x="728" y="1061"/>
                  </a:cubicBezTo>
                  <a:cubicBezTo>
                    <a:pt x="741" y="1048"/>
                    <a:pt x="753" y="1035"/>
                    <a:pt x="763" y="1021"/>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Pfizer Tomorrow" charset="0"/>
                <a:ea typeface="微软雅黑" panose="020B0503020204020204" charset="-122"/>
                <a:cs typeface="+mn-cs"/>
              </a:endParaRPr>
            </a:p>
          </p:txBody>
        </p:sp>
        <p:sp>
          <p:nvSpPr>
            <p:cNvPr id="13" name="Freeform 52"/>
            <p:cNvSpPr/>
            <p:nvPr/>
          </p:nvSpPr>
          <p:spPr bwMode="auto">
            <a:xfrm>
              <a:off x="1231" y="1526"/>
              <a:ext cx="230" cy="230"/>
            </a:xfrm>
            <a:custGeom>
              <a:avLst/>
              <a:gdLst>
                <a:gd name="T0" fmla="*/ 598 w 598"/>
                <a:gd name="T1" fmla="*/ 299 h 598"/>
                <a:gd name="T2" fmla="*/ 598 w 598"/>
                <a:gd name="T3" fmla="*/ 299 h 598"/>
                <a:gd name="T4" fmla="*/ 299 w 598"/>
                <a:gd name="T5" fmla="*/ 598 h 598"/>
                <a:gd name="T6" fmla="*/ 0 w 598"/>
                <a:gd name="T7" fmla="*/ 299 h 598"/>
                <a:gd name="T8" fmla="*/ 299 w 598"/>
                <a:gd name="T9" fmla="*/ 0 h 598"/>
                <a:gd name="T10" fmla="*/ 598 w 598"/>
                <a:gd name="T11" fmla="*/ 299 h 598"/>
                <a:gd name="T12" fmla="*/ 598 w 598"/>
                <a:gd name="T13" fmla="*/ 299 h 598"/>
              </a:gdLst>
              <a:ahLst/>
              <a:cxnLst>
                <a:cxn ang="0">
                  <a:pos x="T0" y="T1"/>
                </a:cxn>
                <a:cxn ang="0">
                  <a:pos x="T2" y="T3"/>
                </a:cxn>
                <a:cxn ang="0">
                  <a:pos x="T4" y="T5"/>
                </a:cxn>
                <a:cxn ang="0">
                  <a:pos x="T6" y="T7"/>
                </a:cxn>
                <a:cxn ang="0">
                  <a:pos x="T8" y="T9"/>
                </a:cxn>
                <a:cxn ang="0">
                  <a:pos x="T10" y="T11"/>
                </a:cxn>
                <a:cxn ang="0">
                  <a:pos x="T12" y="T13"/>
                </a:cxn>
              </a:cxnLst>
              <a:rect l="0" t="0" r="r" b="b"/>
              <a:pathLst>
                <a:path w="598" h="598">
                  <a:moveTo>
                    <a:pt x="598" y="299"/>
                  </a:moveTo>
                  <a:lnTo>
                    <a:pt x="598" y="299"/>
                  </a:lnTo>
                  <a:cubicBezTo>
                    <a:pt x="598" y="464"/>
                    <a:pt x="464" y="598"/>
                    <a:pt x="299" y="598"/>
                  </a:cubicBezTo>
                  <a:cubicBezTo>
                    <a:pt x="134" y="598"/>
                    <a:pt x="0" y="464"/>
                    <a:pt x="0" y="299"/>
                  </a:cubicBezTo>
                  <a:cubicBezTo>
                    <a:pt x="0" y="134"/>
                    <a:pt x="134" y="0"/>
                    <a:pt x="299" y="0"/>
                  </a:cubicBezTo>
                  <a:cubicBezTo>
                    <a:pt x="464" y="0"/>
                    <a:pt x="598" y="134"/>
                    <a:pt x="598" y="299"/>
                  </a:cubicBezTo>
                  <a:lnTo>
                    <a:pt x="598" y="299"/>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4" name="Freeform 53"/>
            <p:cNvSpPr/>
            <p:nvPr/>
          </p:nvSpPr>
          <p:spPr bwMode="auto">
            <a:xfrm>
              <a:off x="1260" y="1613"/>
              <a:ext cx="64" cy="75"/>
            </a:xfrm>
            <a:custGeom>
              <a:avLst/>
              <a:gdLst>
                <a:gd name="T0" fmla="*/ 129 w 166"/>
                <a:gd name="T1" fmla="*/ 178 h 197"/>
                <a:gd name="T2" fmla="*/ 129 w 166"/>
                <a:gd name="T3" fmla="*/ 178 h 197"/>
                <a:gd name="T4" fmla="*/ 25 w 166"/>
                <a:gd name="T5" fmla="*/ 132 h 197"/>
                <a:gd name="T6" fmla="*/ 36 w 166"/>
                <a:gd name="T7" fmla="*/ 18 h 197"/>
                <a:gd name="T8" fmla="*/ 140 w 166"/>
                <a:gd name="T9" fmla="*/ 65 h 197"/>
                <a:gd name="T10" fmla="*/ 129 w 166"/>
                <a:gd name="T11" fmla="*/ 178 h 197"/>
                <a:gd name="T12" fmla="*/ 129 w 166"/>
                <a:gd name="T13" fmla="*/ 178 h 197"/>
              </a:gdLst>
              <a:ahLst/>
              <a:cxnLst>
                <a:cxn ang="0">
                  <a:pos x="T0" y="T1"/>
                </a:cxn>
                <a:cxn ang="0">
                  <a:pos x="T2" y="T3"/>
                </a:cxn>
                <a:cxn ang="0">
                  <a:pos x="T4" y="T5"/>
                </a:cxn>
                <a:cxn ang="0">
                  <a:pos x="T6" y="T7"/>
                </a:cxn>
                <a:cxn ang="0">
                  <a:pos x="T8" y="T9"/>
                </a:cxn>
                <a:cxn ang="0">
                  <a:pos x="T10" y="T11"/>
                </a:cxn>
                <a:cxn ang="0">
                  <a:pos x="T12" y="T13"/>
                </a:cxn>
              </a:cxnLst>
              <a:rect l="0" t="0" r="r" b="b"/>
              <a:pathLst>
                <a:path w="166" h="197">
                  <a:moveTo>
                    <a:pt x="129" y="178"/>
                  </a:moveTo>
                  <a:lnTo>
                    <a:pt x="129" y="178"/>
                  </a:lnTo>
                  <a:cubicBezTo>
                    <a:pt x="97" y="197"/>
                    <a:pt x="51" y="176"/>
                    <a:pt x="25" y="132"/>
                  </a:cubicBezTo>
                  <a:cubicBezTo>
                    <a:pt x="0" y="87"/>
                    <a:pt x="5" y="37"/>
                    <a:pt x="36" y="18"/>
                  </a:cubicBezTo>
                  <a:cubicBezTo>
                    <a:pt x="68" y="0"/>
                    <a:pt x="115" y="21"/>
                    <a:pt x="140" y="65"/>
                  </a:cubicBezTo>
                  <a:cubicBezTo>
                    <a:pt x="166" y="109"/>
                    <a:pt x="161" y="160"/>
                    <a:pt x="129" y="178"/>
                  </a:cubicBezTo>
                  <a:lnTo>
                    <a:pt x="129" y="178"/>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5" name="Freeform 54"/>
            <p:cNvSpPr/>
            <p:nvPr/>
          </p:nvSpPr>
          <p:spPr bwMode="auto">
            <a:xfrm>
              <a:off x="1345" y="1648"/>
              <a:ext cx="69" cy="71"/>
            </a:xfrm>
            <a:custGeom>
              <a:avLst/>
              <a:gdLst>
                <a:gd name="T0" fmla="*/ 27 w 179"/>
                <a:gd name="T1" fmla="*/ 161 h 186"/>
                <a:gd name="T2" fmla="*/ 27 w 179"/>
                <a:gd name="T3" fmla="*/ 161 h 186"/>
                <a:gd name="T4" fmla="*/ 41 w 179"/>
                <a:gd name="T5" fmla="*/ 48 h 186"/>
                <a:gd name="T6" fmla="*/ 152 w 179"/>
                <a:gd name="T7" fmla="*/ 25 h 186"/>
                <a:gd name="T8" fmla="*/ 139 w 179"/>
                <a:gd name="T9" fmla="*/ 138 h 186"/>
                <a:gd name="T10" fmla="*/ 27 w 179"/>
                <a:gd name="T11" fmla="*/ 161 h 186"/>
                <a:gd name="T12" fmla="*/ 27 w 179"/>
                <a:gd name="T13" fmla="*/ 161 h 186"/>
              </a:gdLst>
              <a:ahLst/>
              <a:cxnLst>
                <a:cxn ang="0">
                  <a:pos x="T0" y="T1"/>
                </a:cxn>
                <a:cxn ang="0">
                  <a:pos x="T2" y="T3"/>
                </a:cxn>
                <a:cxn ang="0">
                  <a:pos x="T4" y="T5"/>
                </a:cxn>
                <a:cxn ang="0">
                  <a:pos x="T6" y="T7"/>
                </a:cxn>
                <a:cxn ang="0">
                  <a:pos x="T8" y="T9"/>
                </a:cxn>
                <a:cxn ang="0">
                  <a:pos x="T10" y="T11"/>
                </a:cxn>
                <a:cxn ang="0">
                  <a:pos x="T12" y="T13"/>
                </a:cxn>
              </a:cxnLst>
              <a:rect l="0" t="0" r="r" b="b"/>
              <a:pathLst>
                <a:path w="179" h="186">
                  <a:moveTo>
                    <a:pt x="27" y="161"/>
                  </a:moveTo>
                  <a:lnTo>
                    <a:pt x="27" y="161"/>
                  </a:lnTo>
                  <a:cubicBezTo>
                    <a:pt x="0" y="136"/>
                    <a:pt x="6" y="86"/>
                    <a:pt x="41" y="48"/>
                  </a:cubicBezTo>
                  <a:cubicBezTo>
                    <a:pt x="75" y="10"/>
                    <a:pt x="125" y="0"/>
                    <a:pt x="152" y="25"/>
                  </a:cubicBezTo>
                  <a:cubicBezTo>
                    <a:pt x="179" y="50"/>
                    <a:pt x="173" y="101"/>
                    <a:pt x="139" y="138"/>
                  </a:cubicBezTo>
                  <a:cubicBezTo>
                    <a:pt x="104" y="176"/>
                    <a:pt x="54" y="186"/>
                    <a:pt x="27" y="161"/>
                  </a:cubicBezTo>
                  <a:lnTo>
                    <a:pt x="27" y="161"/>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6" name="Freeform 55"/>
            <p:cNvSpPr/>
            <p:nvPr/>
          </p:nvSpPr>
          <p:spPr bwMode="auto">
            <a:xfrm>
              <a:off x="1340" y="1558"/>
              <a:ext cx="55" cy="73"/>
            </a:xfrm>
            <a:custGeom>
              <a:avLst/>
              <a:gdLst>
                <a:gd name="T0" fmla="*/ 62 w 141"/>
                <a:gd name="T1" fmla="*/ 187 h 190"/>
                <a:gd name="T2" fmla="*/ 62 w 141"/>
                <a:gd name="T3" fmla="*/ 187 h 190"/>
                <a:gd name="T4" fmla="*/ 4 w 141"/>
                <a:gd name="T5" fmla="*/ 89 h 190"/>
                <a:gd name="T6" fmla="*/ 78 w 141"/>
                <a:gd name="T7" fmla="*/ 3 h 190"/>
                <a:gd name="T8" fmla="*/ 137 w 141"/>
                <a:gd name="T9" fmla="*/ 101 h 190"/>
                <a:gd name="T10" fmla="*/ 62 w 141"/>
                <a:gd name="T11" fmla="*/ 187 h 190"/>
                <a:gd name="T12" fmla="*/ 62 w 141"/>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41" h="190">
                  <a:moveTo>
                    <a:pt x="62" y="187"/>
                  </a:moveTo>
                  <a:lnTo>
                    <a:pt x="62" y="187"/>
                  </a:lnTo>
                  <a:cubicBezTo>
                    <a:pt x="26" y="184"/>
                    <a:pt x="0" y="140"/>
                    <a:pt x="4" y="89"/>
                  </a:cubicBezTo>
                  <a:cubicBezTo>
                    <a:pt x="8" y="38"/>
                    <a:pt x="41" y="0"/>
                    <a:pt x="78" y="3"/>
                  </a:cubicBezTo>
                  <a:cubicBezTo>
                    <a:pt x="115" y="6"/>
                    <a:pt x="141" y="50"/>
                    <a:pt x="137" y="101"/>
                  </a:cubicBezTo>
                  <a:cubicBezTo>
                    <a:pt x="132" y="152"/>
                    <a:pt x="99" y="190"/>
                    <a:pt x="62" y="187"/>
                  </a:cubicBezTo>
                  <a:lnTo>
                    <a:pt x="62" y="187"/>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790" name="组合 16"/>
          <p:cNvGrpSpPr/>
          <p:nvPr/>
        </p:nvGrpSpPr>
        <p:grpSpPr>
          <a:xfrm>
            <a:off x="3348038" y="1681163"/>
            <a:ext cx="2587625" cy="3852862"/>
            <a:chOff x="3349311" y="1554499"/>
            <a:chExt cx="2586981" cy="3852000"/>
          </a:xfrm>
        </p:grpSpPr>
        <p:sp>
          <p:nvSpPr>
            <p:cNvPr id="18" name="Rectangle: Rounded Corners 112"/>
            <p:cNvSpPr/>
            <p:nvPr/>
          </p:nvSpPr>
          <p:spPr>
            <a:xfrm>
              <a:off x="3349311"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19" name="TextBox 87"/>
            <p:cNvSpPr txBox="1"/>
            <p:nvPr/>
          </p:nvSpPr>
          <p:spPr>
            <a:xfrm>
              <a:off x="3547073" y="3026303"/>
              <a:ext cx="2230142" cy="1783245"/>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在肺部的</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渗透率</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约为血浆浓度的</a:t>
              </a:r>
              <a:r>
                <a:rPr kumimoji="0" lang="en-GB"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 30%</a:t>
              </a:r>
              <a:endParaRPr kumimoji="0" lang="en-GB" sz="1200" b="0" i="0" kern="1200" cap="none" spc="0" normalizeH="0" baseline="3000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氨曲南和阿维巴坦具有相当的</a:t>
              </a:r>
              <a:r>
                <a:rPr kumimoji="0" lang="en-GB" altLang="zh-CN"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稳态</a:t>
              </a: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Vd</a:t>
              </a:r>
              <a:endParaRPr kumimoji="0" lang="en-GB"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的</a:t>
              </a:r>
              <a:r>
                <a:rPr kumimoji="0" lang="en-GB" altLang="zh-CN"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蛋白结合率低</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且与浓度无关</a:t>
              </a:r>
              <a:endParaRPr kumimoji="0" lang="en-GB"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793" name="Group 30"/>
            <p:cNvGrpSpPr>
              <a:grpSpLocks noChangeAspect="1"/>
            </p:cNvGrpSpPr>
            <p:nvPr/>
          </p:nvGrpSpPr>
          <p:grpSpPr>
            <a:xfrm>
              <a:off x="4357003" y="1730967"/>
              <a:ext cx="571596" cy="511982"/>
              <a:chOff x="2692" y="1402"/>
              <a:chExt cx="489" cy="438"/>
            </a:xfrm>
          </p:grpSpPr>
          <p:sp>
            <p:nvSpPr>
              <p:cNvPr id="24" name="Freeform 32"/>
              <p:cNvSpPr/>
              <p:nvPr/>
            </p:nvSpPr>
            <p:spPr bwMode="auto">
              <a:xfrm>
                <a:off x="2997" y="1477"/>
                <a:ext cx="164" cy="187"/>
              </a:xfrm>
              <a:custGeom>
                <a:avLst/>
                <a:gdLst>
                  <a:gd name="T0" fmla="*/ 415 w 415"/>
                  <a:gd name="T1" fmla="*/ 119 h 479"/>
                  <a:gd name="T2" fmla="*/ 415 w 415"/>
                  <a:gd name="T3" fmla="*/ 119 h 479"/>
                  <a:gd name="T4" fmla="*/ 415 w 415"/>
                  <a:gd name="T5" fmla="*/ 359 h 479"/>
                  <a:gd name="T6" fmla="*/ 208 w 415"/>
                  <a:gd name="T7" fmla="*/ 479 h 479"/>
                  <a:gd name="T8" fmla="*/ 0 w 415"/>
                  <a:gd name="T9" fmla="*/ 359 h 479"/>
                  <a:gd name="T10" fmla="*/ 0 w 415"/>
                  <a:gd name="T11" fmla="*/ 119 h 479"/>
                  <a:gd name="T12" fmla="*/ 208 w 415"/>
                  <a:gd name="T13" fmla="*/ 0 h 479"/>
                  <a:gd name="T14" fmla="*/ 415 w 415"/>
                  <a:gd name="T15" fmla="*/ 119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19"/>
                    </a:moveTo>
                    <a:lnTo>
                      <a:pt x="415" y="119"/>
                    </a:lnTo>
                    <a:lnTo>
                      <a:pt x="415" y="359"/>
                    </a:lnTo>
                    <a:lnTo>
                      <a:pt x="208" y="479"/>
                    </a:lnTo>
                    <a:lnTo>
                      <a:pt x="0" y="359"/>
                    </a:lnTo>
                    <a:lnTo>
                      <a:pt x="0" y="119"/>
                    </a:lnTo>
                    <a:lnTo>
                      <a:pt x="208" y="0"/>
                    </a:lnTo>
                    <a:lnTo>
                      <a:pt x="415" y="119"/>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5" name="Freeform 33"/>
              <p:cNvSpPr/>
              <p:nvPr/>
            </p:nvSpPr>
            <p:spPr bwMode="auto">
              <a:xfrm>
                <a:off x="2916" y="1617"/>
                <a:ext cx="163" cy="188"/>
              </a:xfrm>
              <a:custGeom>
                <a:avLst/>
                <a:gdLst>
                  <a:gd name="T0" fmla="*/ 415 w 415"/>
                  <a:gd name="T1" fmla="*/ 120 h 479"/>
                  <a:gd name="T2" fmla="*/ 415 w 415"/>
                  <a:gd name="T3" fmla="*/ 120 h 479"/>
                  <a:gd name="T4" fmla="*/ 415 w 415"/>
                  <a:gd name="T5" fmla="*/ 359 h 479"/>
                  <a:gd name="T6" fmla="*/ 207 w 415"/>
                  <a:gd name="T7" fmla="*/ 479 h 479"/>
                  <a:gd name="T8" fmla="*/ 0 w 415"/>
                  <a:gd name="T9" fmla="*/ 359 h 479"/>
                  <a:gd name="T10" fmla="*/ 0 w 415"/>
                  <a:gd name="T11" fmla="*/ 120 h 479"/>
                  <a:gd name="T12" fmla="*/ 207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7" y="479"/>
                    </a:lnTo>
                    <a:lnTo>
                      <a:pt x="0" y="359"/>
                    </a:lnTo>
                    <a:lnTo>
                      <a:pt x="0" y="120"/>
                    </a:lnTo>
                    <a:lnTo>
                      <a:pt x="207" y="0"/>
                    </a:lnTo>
                    <a:lnTo>
                      <a:pt x="415" y="120"/>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6" name="Freeform 34"/>
              <p:cNvSpPr/>
              <p:nvPr/>
            </p:nvSpPr>
            <p:spPr bwMode="auto">
              <a:xfrm>
                <a:off x="2753" y="1617"/>
                <a:ext cx="163" cy="188"/>
              </a:xfrm>
              <a:custGeom>
                <a:avLst/>
                <a:gdLst>
                  <a:gd name="T0" fmla="*/ 415 w 415"/>
                  <a:gd name="T1" fmla="*/ 120 h 479"/>
                  <a:gd name="T2" fmla="*/ 415 w 415"/>
                  <a:gd name="T3" fmla="*/ 120 h 479"/>
                  <a:gd name="T4" fmla="*/ 415 w 415"/>
                  <a:gd name="T5" fmla="*/ 359 h 479"/>
                  <a:gd name="T6" fmla="*/ 208 w 415"/>
                  <a:gd name="T7" fmla="*/ 479 h 479"/>
                  <a:gd name="T8" fmla="*/ 0 w 415"/>
                  <a:gd name="T9" fmla="*/ 359 h 479"/>
                  <a:gd name="T10" fmla="*/ 0 w 415"/>
                  <a:gd name="T11" fmla="*/ 120 h 479"/>
                  <a:gd name="T12" fmla="*/ 208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8" y="479"/>
                    </a:lnTo>
                    <a:lnTo>
                      <a:pt x="0" y="359"/>
                    </a:lnTo>
                    <a:lnTo>
                      <a:pt x="0" y="120"/>
                    </a:lnTo>
                    <a:lnTo>
                      <a:pt x="208" y="0"/>
                    </a:lnTo>
                    <a:lnTo>
                      <a:pt x="415" y="120"/>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7" name="Freeform 35"/>
              <p:cNvSpPr/>
              <p:nvPr/>
            </p:nvSpPr>
            <p:spPr bwMode="auto">
              <a:xfrm>
                <a:off x="2895" y="1597"/>
                <a:ext cx="163" cy="187"/>
              </a:xfrm>
              <a:custGeom>
                <a:avLst/>
                <a:gdLst>
                  <a:gd name="T0" fmla="*/ 0 w 415"/>
                  <a:gd name="T1" fmla="*/ 120 h 479"/>
                  <a:gd name="T2" fmla="*/ 0 w 415"/>
                  <a:gd name="T3" fmla="*/ 120 h 479"/>
                  <a:gd name="T4" fmla="*/ 0 w 415"/>
                  <a:gd name="T5" fmla="*/ 359 h 479"/>
                  <a:gd name="T6" fmla="*/ 208 w 415"/>
                  <a:gd name="T7" fmla="*/ 479 h 479"/>
                  <a:gd name="T8" fmla="*/ 415 w 415"/>
                  <a:gd name="T9" fmla="*/ 359 h 479"/>
                  <a:gd name="T10" fmla="*/ 415 w 415"/>
                  <a:gd name="T11" fmla="*/ 120 h 479"/>
                  <a:gd name="T12" fmla="*/ 208 w 415"/>
                  <a:gd name="T13" fmla="*/ 0 h 479"/>
                  <a:gd name="T14" fmla="*/ 0 w 415"/>
                  <a:gd name="T15" fmla="*/ 120 h 479"/>
                  <a:gd name="T16" fmla="*/ 0 w 415"/>
                  <a:gd name="T17" fmla="*/ 12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479">
                    <a:moveTo>
                      <a:pt x="0" y="120"/>
                    </a:moveTo>
                    <a:lnTo>
                      <a:pt x="0" y="120"/>
                    </a:lnTo>
                    <a:lnTo>
                      <a:pt x="0" y="359"/>
                    </a:lnTo>
                    <a:lnTo>
                      <a:pt x="208" y="479"/>
                    </a:lnTo>
                    <a:lnTo>
                      <a:pt x="415" y="359"/>
                    </a:lnTo>
                    <a:lnTo>
                      <a:pt x="415" y="120"/>
                    </a:lnTo>
                    <a:lnTo>
                      <a:pt x="208" y="0"/>
                    </a:lnTo>
                    <a:lnTo>
                      <a:pt x="0" y="120"/>
                    </a:lnTo>
                    <a:lnTo>
                      <a:pt x="0" y="120"/>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8" name="Freeform 36"/>
              <p:cNvSpPr/>
              <p:nvPr/>
            </p:nvSpPr>
            <p:spPr bwMode="auto">
              <a:xfrm>
                <a:off x="3058" y="1737"/>
                <a:ext cx="44" cy="25"/>
              </a:xfrm>
              <a:custGeom>
                <a:avLst/>
                <a:gdLst>
                  <a:gd name="T0" fmla="*/ 110 w 110"/>
                  <a:gd name="T1" fmla="*/ 64 h 64"/>
                  <a:gd name="T2" fmla="*/ 110 w 110"/>
                  <a:gd name="T3" fmla="*/ 64 h 64"/>
                  <a:gd name="T4" fmla="*/ 0 w 110"/>
                  <a:gd name="T5" fmla="*/ 0 h 64"/>
                </a:gdLst>
                <a:ahLst/>
                <a:cxnLst>
                  <a:cxn ang="0">
                    <a:pos x="T0" y="T1"/>
                  </a:cxn>
                  <a:cxn ang="0">
                    <a:pos x="T2" y="T3"/>
                  </a:cxn>
                  <a:cxn ang="0">
                    <a:pos x="T4" y="T5"/>
                  </a:cxn>
                </a:cxnLst>
                <a:rect l="0" t="0" r="r" b="b"/>
                <a:pathLst>
                  <a:path w="110" h="64">
                    <a:moveTo>
                      <a:pt x="110" y="64"/>
                    </a:moveTo>
                    <a:lnTo>
                      <a:pt x="110" y="6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9" name="Freeform 37"/>
              <p:cNvSpPr/>
              <p:nvPr/>
            </p:nvSpPr>
            <p:spPr bwMode="auto">
              <a:xfrm>
                <a:off x="2977" y="1456"/>
                <a:ext cx="163" cy="187"/>
              </a:xfrm>
              <a:custGeom>
                <a:avLst/>
                <a:gdLst>
                  <a:gd name="T0" fmla="*/ 207 w 414"/>
                  <a:gd name="T1" fmla="*/ 479 h 479"/>
                  <a:gd name="T2" fmla="*/ 207 w 414"/>
                  <a:gd name="T3" fmla="*/ 479 h 479"/>
                  <a:gd name="T4" fmla="*/ 414 w 414"/>
                  <a:gd name="T5" fmla="*/ 359 h 479"/>
                  <a:gd name="T6" fmla="*/ 414 w 414"/>
                  <a:gd name="T7" fmla="*/ 120 h 479"/>
                  <a:gd name="T8" fmla="*/ 207 w 414"/>
                  <a:gd name="T9" fmla="*/ 0 h 479"/>
                  <a:gd name="T10" fmla="*/ 0 w 414"/>
                  <a:gd name="T11" fmla="*/ 120 h 479"/>
                  <a:gd name="T12" fmla="*/ 0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207" y="479"/>
                    </a:moveTo>
                    <a:lnTo>
                      <a:pt x="207" y="479"/>
                    </a:lnTo>
                    <a:lnTo>
                      <a:pt x="414" y="359"/>
                    </a:lnTo>
                    <a:lnTo>
                      <a:pt x="414" y="120"/>
                    </a:lnTo>
                    <a:lnTo>
                      <a:pt x="207" y="0"/>
                    </a:lnTo>
                    <a:lnTo>
                      <a:pt x="0" y="120"/>
                    </a:lnTo>
                    <a:lnTo>
                      <a:pt x="0" y="359"/>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0" name="Freeform 38"/>
              <p:cNvSpPr/>
              <p:nvPr/>
            </p:nvSpPr>
            <p:spPr bwMode="auto">
              <a:xfrm>
                <a:off x="3010" y="1519"/>
                <a:ext cx="0" cy="61"/>
              </a:xfrm>
              <a:custGeom>
                <a:avLst/>
                <a:gdLst>
                  <a:gd name="T0" fmla="*/ 0 h 157"/>
                  <a:gd name="T1" fmla="*/ 0 h 157"/>
                  <a:gd name="T2" fmla="*/ 157 h 157"/>
                </a:gdLst>
                <a:ahLst/>
                <a:cxnLst>
                  <a:cxn ang="0">
                    <a:pos x="0" y="T0"/>
                  </a:cxn>
                  <a:cxn ang="0">
                    <a:pos x="0" y="T1"/>
                  </a:cxn>
                  <a:cxn ang="0">
                    <a:pos x="0" y="T2"/>
                  </a:cxn>
                </a:cxnLst>
                <a:rect l="0" t="0" r="r" b="b"/>
                <a:pathLst>
                  <a:path h="157">
                    <a:moveTo>
                      <a:pt x="0" y="0"/>
                    </a:moveTo>
                    <a:lnTo>
                      <a:pt x="0" y="0"/>
                    </a:lnTo>
                    <a:lnTo>
                      <a:pt x="0" y="157"/>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1" name="Freeform 39"/>
              <p:cNvSpPr/>
              <p:nvPr/>
            </p:nvSpPr>
            <p:spPr bwMode="auto">
              <a:xfrm>
                <a:off x="2733" y="1597"/>
                <a:ext cx="162" cy="187"/>
              </a:xfrm>
              <a:custGeom>
                <a:avLst/>
                <a:gdLst>
                  <a:gd name="T0" fmla="*/ 414 w 414"/>
                  <a:gd name="T1" fmla="*/ 120 h 479"/>
                  <a:gd name="T2" fmla="*/ 414 w 414"/>
                  <a:gd name="T3" fmla="*/ 120 h 479"/>
                  <a:gd name="T4" fmla="*/ 207 w 414"/>
                  <a:gd name="T5" fmla="*/ 0 h 479"/>
                  <a:gd name="T6" fmla="*/ 0 w 414"/>
                  <a:gd name="T7" fmla="*/ 120 h 479"/>
                  <a:gd name="T8" fmla="*/ 0 w 414"/>
                  <a:gd name="T9" fmla="*/ 359 h 479"/>
                  <a:gd name="T10" fmla="*/ 207 w 414"/>
                  <a:gd name="T11" fmla="*/ 479 h 479"/>
                  <a:gd name="T12" fmla="*/ 414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414" y="120"/>
                    </a:moveTo>
                    <a:lnTo>
                      <a:pt x="414" y="120"/>
                    </a:lnTo>
                    <a:lnTo>
                      <a:pt x="207" y="0"/>
                    </a:lnTo>
                    <a:lnTo>
                      <a:pt x="0" y="120"/>
                    </a:lnTo>
                    <a:lnTo>
                      <a:pt x="0" y="359"/>
                    </a:lnTo>
                    <a:lnTo>
                      <a:pt x="207" y="479"/>
                    </a:lnTo>
                    <a:lnTo>
                      <a:pt x="414" y="359"/>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2" name="Freeform 40"/>
              <p:cNvSpPr/>
              <p:nvPr/>
            </p:nvSpPr>
            <p:spPr bwMode="auto">
              <a:xfrm>
                <a:off x="2810" y="1717"/>
                <a:ext cx="57" cy="33"/>
              </a:xfrm>
              <a:custGeom>
                <a:avLst/>
                <a:gdLst>
                  <a:gd name="T0" fmla="*/ 0 w 145"/>
                  <a:gd name="T1" fmla="*/ 84 h 84"/>
                  <a:gd name="T2" fmla="*/ 0 w 145"/>
                  <a:gd name="T3" fmla="*/ 84 h 84"/>
                  <a:gd name="T4" fmla="*/ 145 w 145"/>
                  <a:gd name="T5" fmla="*/ 0 h 84"/>
                </a:gdLst>
                <a:ahLst/>
                <a:cxnLst>
                  <a:cxn ang="0">
                    <a:pos x="T0" y="T1"/>
                  </a:cxn>
                  <a:cxn ang="0">
                    <a:pos x="T2" y="T3"/>
                  </a:cxn>
                  <a:cxn ang="0">
                    <a:pos x="T4" y="T5"/>
                  </a:cxn>
                </a:cxnLst>
                <a:rect l="0" t="0" r="r" b="b"/>
                <a:pathLst>
                  <a:path w="145" h="84">
                    <a:moveTo>
                      <a:pt x="0" y="84"/>
                    </a:moveTo>
                    <a:lnTo>
                      <a:pt x="0" y="84"/>
                    </a:lnTo>
                    <a:lnTo>
                      <a:pt x="145"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3" name="Freeform 41"/>
              <p:cNvSpPr/>
              <p:nvPr/>
            </p:nvSpPr>
            <p:spPr bwMode="auto">
              <a:xfrm>
                <a:off x="3058" y="1402"/>
                <a:ext cx="0" cy="54"/>
              </a:xfrm>
              <a:custGeom>
                <a:avLst/>
                <a:gdLst>
                  <a:gd name="T0" fmla="*/ 137 h 137"/>
                  <a:gd name="T1" fmla="*/ 137 h 137"/>
                  <a:gd name="T2" fmla="*/ 0 h 137"/>
                </a:gdLst>
                <a:ahLst/>
                <a:cxnLst>
                  <a:cxn ang="0">
                    <a:pos x="0" y="T0"/>
                  </a:cxn>
                  <a:cxn ang="0">
                    <a:pos x="0" y="T1"/>
                  </a:cxn>
                  <a:cxn ang="0">
                    <a:pos x="0" y="T2"/>
                  </a:cxn>
                </a:cxnLst>
                <a:rect l="0" t="0" r="r" b="b"/>
                <a:pathLst>
                  <a:path h="137">
                    <a:moveTo>
                      <a:pt x="0" y="137"/>
                    </a:moveTo>
                    <a:lnTo>
                      <a:pt x="0" y="137"/>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4" name="Freeform 42"/>
              <p:cNvSpPr/>
              <p:nvPr/>
            </p:nvSpPr>
            <p:spPr bwMode="auto">
              <a:xfrm>
                <a:off x="2814" y="1540"/>
                <a:ext cx="0" cy="57"/>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5" name="Freeform 43"/>
              <p:cNvSpPr/>
              <p:nvPr/>
            </p:nvSpPr>
            <p:spPr bwMode="auto">
              <a:xfrm>
                <a:off x="2977" y="1784"/>
                <a:ext cx="0" cy="56"/>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6" name="Freeform 44"/>
              <p:cNvSpPr/>
              <p:nvPr/>
            </p:nvSpPr>
            <p:spPr bwMode="auto">
              <a:xfrm>
                <a:off x="2692" y="1737"/>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7" name="Freeform 45"/>
              <p:cNvSpPr/>
              <p:nvPr/>
            </p:nvSpPr>
            <p:spPr bwMode="auto">
              <a:xfrm>
                <a:off x="3140" y="1480"/>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08" name="组合 20"/>
            <p:cNvGrpSpPr/>
            <p:nvPr/>
          </p:nvGrpSpPr>
          <p:grpSpPr>
            <a:xfrm>
              <a:off x="3349311" y="2411999"/>
              <a:ext cx="2586981" cy="432000"/>
              <a:chOff x="3356668" y="1161733"/>
              <a:chExt cx="2463107" cy="432000"/>
            </a:xfrm>
          </p:grpSpPr>
          <p:sp>
            <p:nvSpPr>
              <p:cNvPr id="22"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分 布</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23" name="图片 22"/>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75811" name="组合 37"/>
          <p:cNvGrpSpPr/>
          <p:nvPr/>
        </p:nvGrpSpPr>
        <p:grpSpPr>
          <a:xfrm>
            <a:off x="6254750" y="1681163"/>
            <a:ext cx="2587625" cy="3852862"/>
            <a:chOff x="6255709" y="1554499"/>
            <a:chExt cx="2586981" cy="3852000"/>
          </a:xfrm>
        </p:grpSpPr>
        <p:sp>
          <p:nvSpPr>
            <p:cNvPr id="39" name="Rectangle: Rounded Corners 112"/>
            <p:cNvSpPr/>
            <p:nvPr/>
          </p:nvSpPr>
          <p:spPr>
            <a:xfrm>
              <a:off x="6255709"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40" name="TextBox 91"/>
            <p:cNvSpPr txBox="1"/>
            <p:nvPr/>
          </p:nvSpPr>
          <p:spPr>
            <a:xfrm>
              <a:off x="6385108" y="3055673"/>
              <a:ext cx="2450347" cy="1429302"/>
            </a:xfrm>
            <a:prstGeom prst="rect">
              <a:avLst/>
            </a:prstGeom>
            <a:noFill/>
            <a:ln>
              <a:noFill/>
            </a:ln>
            <a:effectLst/>
          </p:spPr>
          <p:txBody>
            <a:bodyPr wrap="square" lIns="0" tIns="0" rIns="0" bIns="0">
              <a:spAutoFit/>
            </a:bodyPr>
            <a:p>
              <a:pPr marL="144780" indent="-144780">
                <a:lnSpc>
                  <a:spcPct val="150000"/>
                </a:lnSpc>
                <a:spcBef>
                  <a:spcPts val="600"/>
                </a:spcBef>
                <a:buFont typeface="Arial" panose="020B0604020202090204" pitchFamily="34" charset="0"/>
                <a:buChar char="•"/>
              </a:pPr>
              <a:r>
                <a:rPr lang="zh-CN" altLang="en-US" sz="1200" baseline="0" dirty="0">
                  <a:solidFill>
                    <a:srgbClr val="000000"/>
                  </a:solidFill>
                  <a:latin typeface="微软雅黑" panose="020B0503020204020204" charset="-122"/>
                  <a:ea typeface="微软雅黑" panose="020B0503020204020204" charset="-122"/>
                </a:rPr>
                <a:t>氨曲南</a:t>
              </a:r>
              <a:r>
                <a:rPr lang="en-US" altLang="zh-CN" sz="1200" dirty="0">
                  <a:solidFill>
                    <a:srgbClr val="000000"/>
                  </a:solidFill>
                  <a:latin typeface="微软雅黑" panose="020B0503020204020204" charset="-122"/>
                  <a:ea typeface="微软雅黑" panose="020B0503020204020204" charset="-122"/>
                </a:rPr>
                <a:t>-</a:t>
              </a:r>
              <a:r>
                <a:rPr lang="zh-CN" altLang="en-US" sz="1200" baseline="0" dirty="0">
                  <a:solidFill>
                    <a:srgbClr val="000000"/>
                  </a:solidFill>
                  <a:latin typeface="微软雅黑" panose="020B0503020204020204" charset="-122"/>
                  <a:ea typeface="微软雅黑" panose="020B0503020204020204" charset="-122"/>
                </a:rPr>
                <a:t>阿维巴坦无显著的</a:t>
              </a:r>
              <a:r>
                <a:rPr lang="en-GB" altLang="en-US" sz="1200" baseline="0" dirty="0" err="1">
                  <a:solidFill>
                    <a:srgbClr val="000000"/>
                  </a:solidFill>
                  <a:latin typeface="微软雅黑" panose="020B0503020204020204" charset="-122"/>
                  <a:ea typeface="微软雅黑" panose="020B0503020204020204" charset="-122"/>
                </a:rPr>
                <a:t>肝脏代谢</a:t>
              </a:r>
              <a:r>
                <a:rPr lang="zh-CN" altLang="en-US" sz="1200" dirty="0">
                  <a:solidFill>
                    <a:srgbClr val="000000"/>
                  </a:solidFill>
                  <a:latin typeface="微软雅黑" panose="020B0503020204020204" charset="-122"/>
                  <a:ea typeface="微软雅黑" panose="020B0503020204020204" charset="-122"/>
                </a:rPr>
                <a:t>，肝功能损害患者</a:t>
              </a:r>
              <a:r>
                <a:rPr lang="zh-CN" altLang="en-US" sz="1200" b="1" dirty="0">
                  <a:solidFill>
                    <a:srgbClr val="00C987"/>
                  </a:solidFill>
                  <a:latin typeface="微软雅黑" panose="020B0503020204020204" charset="-122"/>
                  <a:ea typeface="微软雅黑" panose="020B0503020204020204" charset="-122"/>
                </a:rPr>
                <a:t>无需调整</a:t>
              </a:r>
              <a:r>
                <a:rPr lang="zh-CN" altLang="en-US" sz="1200" dirty="0">
                  <a:solidFill>
                    <a:srgbClr val="000000"/>
                  </a:solidFill>
                  <a:latin typeface="微软雅黑" panose="020B0503020204020204" charset="-122"/>
                  <a:ea typeface="微软雅黑" panose="020B0503020204020204" charset="-122"/>
                </a:rPr>
                <a:t>本品的剂量</a:t>
              </a:r>
              <a:endParaRPr lang="en-GB" altLang="en-US" sz="1200" baseline="30000" dirty="0">
                <a:solidFill>
                  <a:srgbClr val="000000"/>
                </a:solidFill>
                <a:latin typeface="微软雅黑" panose="020B0503020204020204" charset="-122"/>
                <a:ea typeface="微软雅黑" panose="020B0503020204020204" charset="-122"/>
              </a:endParaRPr>
            </a:p>
            <a:p>
              <a:pPr marL="144780" indent="-144780">
                <a:lnSpc>
                  <a:spcPct val="150000"/>
                </a:lnSpc>
                <a:spcBef>
                  <a:spcPts val="600"/>
                </a:spcBef>
                <a:buFont typeface="Arial" panose="020B0604020202090204" pitchFamily="34" charset="0"/>
                <a:buChar char="•"/>
              </a:pPr>
              <a:r>
                <a:rPr lang="zh-CN" altLang="en-US" sz="1200" baseline="0" dirty="0">
                  <a:solidFill>
                    <a:srgbClr val="000000"/>
                  </a:solidFill>
                  <a:latin typeface="微软雅黑" panose="020B0503020204020204" charset="-122"/>
                  <a:ea typeface="微软雅黑" panose="020B0503020204020204" charset="-122"/>
                </a:rPr>
                <a:t>氨曲南</a:t>
              </a:r>
              <a:r>
                <a:rPr lang="en-US" altLang="zh-CN" sz="1200" dirty="0">
                  <a:solidFill>
                    <a:srgbClr val="000000"/>
                  </a:solidFill>
                  <a:latin typeface="微软雅黑" panose="020B0503020204020204" charset="-122"/>
                  <a:ea typeface="微软雅黑" panose="020B0503020204020204" charset="-122"/>
                </a:rPr>
                <a:t>-</a:t>
              </a:r>
              <a:r>
                <a:rPr lang="zh-CN" altLang="en-US" sz="1200" baseline="0" dirty="0">
                  <a:solidFill>
                    <a:srgbClr val="000000"/>
                  </a:solidFill>
                  <a:latin typeface="微软雅黑" panose="020B0503020204020204" charset="-122"/>
                  <a:ea typeface="微软雅黑" panose="020B0503020204020204" charset="-122"/>
                </a:rPr>
                <a:t>阿维巴坦</a:t>
              </a:r>
              <a:r>
                <a:rPr lang="zh-CN" altLang="en-US" sz="1200" dirty="0">
                  <a:solidFill>
                    <a:srgbClr val="000000"/>
                  </a:solidFill>
                  <a:latin typeface="微软雅黑" panose="020B0503020204020204" charset="-122"/>
                  <a:ea typeface="微软雅黑" panose="020B0503020204020204" charset="-122"/>
                </a:rPr>
                <a:t>引起</a:t>
              </a:r>
              <a:r>
                <a:rPr lang="zh-CN" altLang="en-US" sz="1200" b="1" dirty="0">
                  <a:solidFill>
                    <a:srgbClr val="00C987"/>
                  </a:solidFill>
                  <a:latin typeface="微软雅黑" panose="020B0503020204020204" charset="-122"/>
                  <a:ea typeface="微软雅黑" panose="020B0503020204020204" charset="-122"/>
                </a:rPr>
                <a:t>药物相互作用的可能性很小</a:t>
              </a:r>
              <a:endParaRPr lang="en-GB" altLang="zh-CN" sz="1200" baseline="30000" dirty="0">
                <a:solidFill>
                  <a:srgbClr val="000000"/>
                </a:solidFill>
                <a:latin typeface="微软雅黑" panose="020B0503020204020204" charset="-122"/>
                <a:ea typeface="微软雅黑" panose="020B0503020204020204" charset="-122"/>
              </a:endParaRPr>
            </a:p>
          </p:txBody>
        </p:sp>
        <p:grpSp>
          <p:nvGrpSpPr>
            <p:cNvPr id="75814" name="组合 40"/>
            <p:cNvGrpSpPr/>
            <p:nvPr/>
          </p:nvGrpSpPr>
          <p:grpSpPr>
            <a:xfrm>
              <a:off x="7299468" y="1725169"/>
              <a:ext cx="499462" cy="523578"/>
              <a:chOff x="6986890" y="2097088"/>
              <a:chExt cx="834422" cy="874712"/>
            </a:xfrm>
          </p:grpSpPr>
          <p:grpSp>
            <p:nvGrpSpPr>
              <p:cNvPr id="75815" name="组合 44"/>
              <p:cNvGrpSpPr/>
              <p:nvPr/>
            </p:nvGrpSpPr>
            <p:grpSpPr>
              <a:xfrm>
                <a:off x="7138989" y="2321336"/>
                <a:ext cx="582612" cy="534166"/>
                <a:chOff x="7067551" y="2255838"/>
                <a:chExt cx="725487" cy="665162"/>
              </a:xfrm>
            </p:grpSpPr>
            <p:sp>
              <p:nvSpPr>
                <p:cNvPr id="53" name="Freeform 59"/>
                <p:cNvSpPr/>
                <p:nvPr/>
              </p:nvSpPr>
              <p:spPr bwMode="auto">
                <a:xfrm>
                  <a:off x="7107238" y="2282825"/>
                  <a:ext cx="465138" cy="638175"/>
                </a:xfrm>
                <a:custGeom>
                  <a:avLst/>
                  <a:gdLst>
                    <a:gd name="T0" fmla="*/ 581 w 741"/>
                    <a:gd name="T1" fmla="*/ 954 h 1013"/>
                    <a:gd name="T2" fmla="*/ 581 w 741"/>
                    <a:gd name="T3" fmla="*/ 954 h 1013"/>
                    <a:gd name="T4" fmla="*/ 556 w 741"/>
                    <a:gd name="T5" fmla="*/ 965 h 1013"/>
                    <a:gd name="T6" fmla="*/ 271 w 741"/>
                    <a:gd name="T7" fmla="*/ 853 h 1013"/>
                    <a:gd name="T8" fmla="*/ 48 w 741"/>
                    <a:gd name="T9" fmla="*/ 344 h 1013"/>
                    <a:gd name="T10" fmla="*/ 160 w 741"/>
                    <a:gd name="T11" fmla="*/ 58 h 1013"/>
                    <a:gd name="T12" fmla="*/ 185 w 741"/>
                    <a:gd name="T13" fmla="*/ 48 h 1013"/>
                    <a:gd name="T14" fmla="*/ 470 w 741"/>
                    <a:gd name="T15" fmla="*/ 160 h 1013"/>
                    <a:gd name="T16" fmla="*/ 693 w 741"/>
                    <a:gd name="T17" fmla="*/ 669 h 1013"/>
                    <a:gd name="T18" fmla="*/ 581 w 741"/>
                    <a:gd name="T19" fmla="*/ 954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013">
                      <a:moveTo>
                        <a:pt x="581" y="954"/>
                      </a:moveTo>
                      <a:lnTo>
                        <a:pt x="581" y="954"/>
                      </a:lnTo>
                      <a:lnTo>
                        <a:pt x="556" y="965"/>
                      </a:lnTo>
                      <a:cubicBezTo>
                        <a:pt x="447" y="1013"/>
                        <a:pt x="319" y="963"/>
                        <a:pt x="271" y="853"/>
                      </a:cubicBezTo>
                      <a:lnTo>
                        <a:pt x="48" y="344"/>
                      </a:lnTo>
                      <a:cubicBezTo>
                        <a:pt x="0" y="234"/>
                        <a:pt x="50" y="106"/>
                        <a:pt x="160" y="58"/>
                      </a:cubicBezTo>
                      <a:lnTo>
                        <a:pt x="185" y="48"/>
                      </a:lnTo>
                      <a:cubicBezTo>
                        <a:pt x="294" y="0"/>
                        <a:pt x="422" y="50"/>
                        <a:pt x="470" y="160"/>
                      </a:cubicBezTo>
                      <a:lnTo>
                        <a:pt x="693" y="669"/>
                      </a:lnTo>
                      <a:cubicBezTo>
                        <a:pt x="741" y="779"/>
                        <a:pt x="691" y="907"/>
                        <a:pt x="581" y="954"/>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4" name="Freeform 60"/>
                <p:cNvSpPr/>
                <p:nvPr/>
              </p:nvSpPr>
              <p:spPr bwMode="auto">
                <a:xfrm>
                  <a:off x="7421563" y="2305050"/>
                  <a:ext cx="371475" cy="371475"/>
                </a:xfrm>
                <a:custGeom>
                  <a:avLst/>
                  <a:gdLst>
                    <a:gd name="T0" fmla="*/ 590 w 590"/>
                    <a:gd name="T1" fmla="*/ 295 h 590"/>
                    <a:gd name="T2" fmla="*/ 590 w 590"/>
                    <a:gd name="T3" fmla="*/ 295 h 590"/>
                    <a:gd name="T4" fmla="*/ 295 w 590"/>
                    <a:gd name="T5" fmla="*/ 590 h 590"/>
                    <a:gd name="T6" fmla="*/ 0 w 590"/>
                    <a:gd name="T7" fmla="*/ 295 h 590"/>
                    <a:gd name="T8" fmla="*/ 295 w 590"/>
                    <a:gd name="T9" fmla="*/ 0 h 590"/>
                    <a:gd name="T10" fmla="*/ 590 w 590"/>
                    <a:gd name="T11" fmla="*/ 295 h 590"/>
                  </a:gdLst>
                  <a:ahLst/>
                  <a:cxnLst>
                    <a:cxn ang="0">
                      <a:pos x="T0" y="T1"/>
                    </a:cxn>
                    <a:cxn ang="0">
                      <a:pos x="T2" y="T3"/>
                    </a:cxn>
                    <a:cxn ang="0">
                      <a:pos x="T4" y="T5"/>
                    </a:cxn>
                    <a:cxn ang="0">
                      <a:pos x="T6" y="T7"/>
                    </a:cxn>
                    <a:cxn ang="0">
                      <a:pos x="T8" y="T9"/>
                    </a:cxn>
                    <a:cxn ang="0">
                      <a:pos x="T10" y="T11"/>
                    </a:cxn>
                  </a:cxnLst>
                  <a:rect l="0" t="0" r="r" b="b"/>
                  <a:pathLst>
                    <a:path w="590" h="590">
                      <a:moveTo>
                        <a:pt x="590" y="295"/>
                      </a:moveTo>
                      <a:lnTo>
                        <a:pt x="590" y="295"/>
                      </a:lnTo>
                      <a:cubicBezTo>
                        <a:pt x="590" y="458"/>
                        <a:pt x="458" y="590"/>
                        <a:pt x="295" y="590"/>
                      </a:cubicBezTo>
                      <a:cubicBezTo>
                        <a:pt x="132" y="590"/>
                        <a:pt x="0" y="458"/>
                        <a:pt x="0" y="295"/>
                      </a:cubicBezTo>
                      <a:cubicBezTo>
                        <a:pt x="0" y="132"/>
                        <a:pt x="132" y="0"/>
                        <a:pt x="295" y="0"/>
                      </a:cubicBezTo>
                      <a:cubicBezTo>
                        <a:pt x="458" y="0"/>
                        <a:pt x="590" y="132"/>
                        <a:pt x="590" y="295"/>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5" name="Freeform 61"/>
                <p:cNvSpPr/>
                <p:nvPr/>
              </p:nvSpPr>
              <p:spPr bwMode="auto">
                <a:xfrm>
                  <a:off x="7450138" y="2335213"/>
                  <a:ext cx="257175" cy="246063"/>
                </a:xfrm>
                <a:custGeom>
                  <a:avLst/>
                  <a:gdLst>
                    <a:gd name="T0" fmla="*/ 408 w 408"/>
                    <a:gd name="T1" fmla="*/ 0 h 391"/>
                    <a:gd name="T2" fmla="*/ 408 w 408"/>
                    <a:gd name="T3" fmla="*/ 0 h 391"/>
                    <a:gd name="T4" fmla="*/ 0 w 408"/>
                    <a:gd name="T5" fmla="*/ 391 h 391"/>
                  </a:gdLst>
                  <a:ahLst/>
                  <a:cxnLst>
                    <a:cxn ang="0">
                      <a:pos x="T0" y="T1"/>
                    </a:cxn>
                    <a:cxn ang="0">
                      <a:pos x="T2" y="T3"/>
                    </a:cxn>
                    <a:cxn ang="0">
                      <a:pos x="T4" y="T5"/>
                    </a:cxn>
                  </a:cxnLst>
                  <a:rect l="0" t="0" r="r" b="b"/>
                  <a:pathLst>
                    <a:path w="408" h="391">
                      <a:moveTo>
                        <a:pt x="408" y="0"/>
                      </a:moveTo>
                      <a:lnTo>
                        <a:pt x="408" y="0"/>
                      </a:lnTo>
                      <a:lnTo>
                        <a:pt x="0" y="391"/>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6" name="Freeform 62"/>
                <p:cNvSpPr/>
                <p:nvPr/>
              </p:nvSpPr>
              <p:spPr bwMode="auto">
                <a:xfrm>
                  <a:off x="7383463" y="2273300"/>
                  <a:ext cx="371475" cy="371475"/>
                </a:xfrm>
                <a:custGeom>
                  <a:avLst/>
                  <a:gdLst>
                    <a:gd name="T0" fmla="*/ 0 w 589"/>
                    <a:gd name="T1" fmla="*/ 261 h 591"/>
                    <a:gd name="T2" fmla="*/ 0 w 589"/>
                    <a:gd name="T3" fmla="*/ 261 h 591"/>
                    <a:gd name="T4" fmla="*/ 294 w 589"/>
                    <a:gd name="T5" fmla="*/ 0 h 591"/>
                    <a:gd name="T6" fmla="*/ 589 w 589"/>
                    <a:gd name="T7" fmla="*/ 296 h 591"/>
                    <a:gd name="T8" fmla="*/ 294 w 589"/>
                    <a:gd name="T9" fmla="*/ 591 h 591"/>
                    <a:gd name="T10" fmla="*/ 131 w 589"/>
                    <a:gd name="T11" fmla="*/ 543 h 591"/>
                  </a:gdLst>
                  <a:ahLst/>
                  <a:cxnLst>
                    <a:cxn ang="0">
                      <a:pos x="T0" y="T1"/>
                    </a:cxn>
                    <a:cxn ang="0">
                      <a:pos x="T2" y="T3"/>
                    </a:cxn>
                    <a:cxn ang="0">
                      <a:pos x="T4" y="T5"/>
                    </a:cxn>
                    <a:cxn ang="0">
                      <a:pos x="T6" y="T7"/>
                    </a:cxn>
                    <a:cxn ang="0">
                      <a:pos x="T8" y="T9"/>
                    </a:cxn>
                    <a:cxn ang="0">
                      <a:pos x="T10" y="T11"/>
                    </a:cxn>
                  </a:cxnLst>
                  <a:rect l="0" t="0" r="r" b="b"/>
                  <a:pathLst>
                    <a:path w="589" h="591">
                      <a:moveTo>
                        <a:pt x="0" y="261"/>
                      </a:moveTo>
                      <a:lnTo>
                        <a:pt x="0" y="261"/>
                      </a:lnTo>
                      <a:cubicBezTo>
                        <a:pt x="17" y="114"/>
                        <a:pt x="142" y="0"/>
                        <a:pt x="294" y="0"/>
                      </a:cubicBezTo>
                      <a:cubicBezTo>
                        <a:pt x="457" y="0"/>
                        <a:pt x="589" y="132"/>
                        <a:pt x="589" y="296"/>
                      </a:cubicBezTo>
                      <a:cubicBezTo>
                        <a:pt x="589" y="459"/>
                        <a:pt x="457" y="591"/>
                        <a:pt x="294" y="591"/>
                      </a:cubicBezTo>
                      <a:cubicBezTo>
                        <a:pt x="234" y="591"/>
                        <a:pt x="178" y="573"/>
                        <a:pt x="131" y="543"/>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7" name="Freeform 63"/>
                <p:cNvSpPr/>
                <p:nvPr/>
              </p:nvSpPr>
              <p:spPr bwMode="auto">
                <a:xfrm>
                  <a:off x="7173913" y="2513013"/>
                  <a:ext cx="244475" cy="115888"/>
                </a:xfrm>
                <a:custGeom>
                  <a:avLst/>
                  <a:gdLst>
                    <a:gd name="T0" fmla="*/ 390 w 390"/>
                    <a:gd name="T1" fmla="*/ 0 h 183"/>
                    <a:gd name="T2" fmla="*/ 390 w 390"/>
                    <a:gd name="T3" fmla="*/ 0 h 183"/>
                    <a:gd name="T4" fmla="*/ 0 w 390"/>
                    <a:gd name="T5" fmla="*/ 183 h 183"/>
                  </a:gdLst>
                  <a:ahLst/>
                  <a:cxnLst>
                    <a:cxn ang="0">
                      <a:pos x="T0" y="T1"/>
                    </a:cxn>
                    <a:cxn ang="0">
                      <a:pos x="T2" y="T3"/>
                    </a:cxn>
                    <a:cxn ang="0">
                      <a:pos x="T4" y="T5"/>
                    </a:cxn>
                  </a:cxnLst>
                  <a:rect l="0" t="0" r="r" b="b"/>
                  <a:pathLst>
                    <a:path w="390" h="183">
                      <a:moveTo>
                        <a:pt x="390" y="0"/>
                      </a:moveTo>
                      <a:lnTo>
                        <a:pt x="390" y="0"/>
                      </a:lnTo>
                      <a:lnTo>
                        <a:pt x="0" y="183"/>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8" name="Freeform 64"/>
                <p:cNvSpPr/>
                <p:nvPr/>
              </p:nvSpPr>
              <p:spPr bwMode="auto">
                <a:xfrm>
                  <a:off x="7067551" y="2255838"/>
                  <a:ext cx="457200" cy="630238"/>
                </a:xfrm>
                <a:custGeom>
                  <a:avLst/>
                  <a:gdLst>
                    <a:gd name="T0" fmla="*/ 154 w 729"/>
                    <a:gd name="T1" fmla="*/ 50 h 1000"/>
                    <a:gd name="T2" fmla="*/ 154 w 729"/>
                    <a:gd name="T3" fmla="*/ 50 h 1000"/>
                    <a:gd name="T4" fmla="*/ 154 w 729"/>
                    <a:gd name="T5" fmla="*/ 50 h 1000"/>
                    <a:gd name="T6" fmla="*/ 440 w 729"/>
                    <a:gd name="T7" fmla="*/ 154 h 1000"/>
                    <a:gd name="T8" fmla="*/ 679 w 729"/>
                    <a:gd name="T9" fmla="*/ 663 h 1000"/>
                    <a:gd name="T10" fmla="*/ 576 w 729"/>
                    <a:gd name="T11" fmla="*/ 949 h 1000"/>
                    <a:gd name="T12" fmla="*/ 289 w 729"/>
                    <a:gd name="T13" fmla="*/ 846 h 1000"/>
                    <a:gd name="T14" fmla="*/ 50 w 729"/>
                    <a:gd name="T15" fmla="*/ 336 h 1000"/>
                    <a:gd name="T16" fmla="*/ 154 w 729"/>
                    <a:gd name="T17" fmla="*/ 50 h 1000"/>
                    <a:gd name="T18" fmla="*/ 154 w 729"/>
                    <a:gd name="T19" fmla="*/ 5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 h="1000">
                      <a:moveTo>
                        <a:pt x="154" y="50"/>
                      </a:moveTo>
                      <a:lnTo>
                        <a:pt x="154" y="50"/>
                      </a:lnTo>
                      <a:lnTo>
                        <a:pt x="154" y="50"/>
                      </a:lnTo>
                      <a:cubicBezTo>
                        <a:pt x="261" y="0"/>
                        <a:pt x="390" y="46"/>
                        <a:pt x="440" y="154"/>
                      </a:cubicBezTo>
                      <a:lnTo>
                        <a:pt x="679" y="663"/>
                      </a:lnTo>
                      <a:cubicBezTo>
                        <a:pt x="729" y="771"/>
                        <a:pt x="683" y="899"/>
                        <a:pt x="576" y="949"/>
                      </a:cubicBezTo>
                      <a:cubicBezTo>
                        <a:pt x="468" y="1000"/>
                        <a:pt x="340" y="954"/>
                        <a:pt x="289" y="846"/>
                      </a:cubicBezTo>
                      <a:lnTo>
                        <a:pt x="50" y="336"/>
                      </a:lnTo>
                      <a:cubicBezTo>
                        <a:pt x="0" y="229"/>
                        <a:pt x="46" y="101"/>
                        <a:pt x="154" y="50"/>
                      </a:cubicBezTo>
                      <a:lnTo>
                        <a:pt x="154" y="50"/>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9" name="Freeform 65"/>
                <p:cNvSpPr/>
                <p:nvPr/>
              </p:nvSpPr>
              <p:spPr bwMode="auto">
                <a:xfrm>
                  <a:off x="7200901" y="2314575"/>
                  <a:ext cx="85725" cy="46038"/>
                </a:xfrm>
                <a:custGeom>
                  <a:avLst/>
                  <a:gdLst>
                    <a:gd name="T0" fmla="*/ 0 w 138"/>
                    <a:gd name="T1" fmla="*/ 24 h 74"/>
                    <a:gd name="T2" fmla="*/ 0 w 138"/>
                    <a:gd name="T3" fmla="*/ 24 h 74"/>
                    <a:gd name="T4" fmla="*/ 138 w 138"/>
                    <a:gd name="T5" fmla="*/ 74 h 74"/>
                  </a:gdLst>
                  <a:ahLst/>
                  <a:cxnLst>
                    <a:cxn ang="0">
                      <a:pos x="T0" y="T1"/>
                    </a:cxn>
                    <a:cxn ang="0">
                      <a:pos x="T2" y="T3"/>
                    </a:cxn>
                    <a:cxn ang="0">
                      <a:pos x="T4" y="T5"/>
                    </a:cxn>
                  </a:cxnLst>
                  <a:rect l="0" t="0" r="r" b="b"/>
                  <a:pathLst>
                    <a:path w="138" h="74">
                      <a:moveTo>
                        <a:pt x="0" y="24"/>
                      </a:moveTo>
                      <a:lnTo>
                        <a:pt x="0" y="24"/>
                      </a:lnTo>
                      <a:cubicBezTo>
                        <a:pt x="52" y="0"/>
                        <a:pt x="114" y="22"/>
                        <a:pt x="138" y="74"/>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23" name="组合 45"/>
              <p:cNvGrpSpPr/>
              <p:nvPr/>
            </p:nvGrpSpPr>
            <p:grpSpPr>
              <a:xfrm>
                <a:off x="6986890" y="2097088"/>
                <a:ext cx="834422" cy="874712"/>
                <a:chOff x="6894513" y="1987550"/>
                <a:chExt cx="1019176" cy="1068388"/>
              </a:xfrm>
            </p:grpSpPr>
            <p:grpSp>
              <p:nvGrpSpPr>
                <p:cNvPr id="75824" name="组合 46"/>
                <p:cNvGrpSpPr/>
                <p:nvPr/>
              </p:nvGrpSpPr>
              <p:grpSpPr>
                <a:xfrm>
                  <a:off x="6926263" y="1987550"/>
                  <a:ext cx="987426" cy="309563"/>
                  <a:chOff x="6926263" y="1987550"/>
                  <a:chExt cx="987426" cy="309563"/>
                </a:xfrm>
              </p:grpSpPr>
              <p:sp>
                <p:nvSpPr>
                  <p:cNvPr id="51" name="Freeform 67"/>
                  <p:cNvSpPr/>
                  <p:nvPr/>
                </p:nvSpPr>
                <p:spPr bwMode="auto">
                  <a:xfrm>
                    <a:off x="6926263" y="1987550"/>
                    <a:ext cx="960438" cy="303213"/>
                  </a:xfrm>
                  <a:custGeom>
                    <a:avLst/>
                    <a:gdLst>
                      <a:gd name="T0" fmla="*/ 0 w 1528"/>
                      <a:gd name="T1" fmla="*/ 480 h 480"/>
                      <a:gd name="T2" fmla="*/ 0 w 1528"/>
                      <a:gd name="T3" fmla="*/ 480 h 480"/>
                      <a:gd name="T4" fmla="*/ 764 w 1528"/>
                      <a:gd name="T5" fmla="*/ 0 h 480"/>
                      <a:gd name="T6" fmla="*/ 1528 w 1528"/>
                      <a:gd name="T7" fmla="*/ 480 h 480"/>
                    </a:gdLst>
                    <a:ahLst/>
                    <a:cxnLst>
                      <a:cxn ang="0">
                        <a:pos x="T0" y="T1"/>
                      </a:cxn>
                      <a:cxn ang="0">
                        <a:pos x="T2" y="T3"/>
                      </a:cxn>
                      <a:cxn ang="0">
                        <a:pos x="T4" y="T5"/>
                      </a:cxn>
                      <a:cxn ang="0">
                        <a:pos x="T6" y="T7"/>
                      </a:cxn>
                    </a:cxnLst>
                    <a:rect l="0" t="0" r="r" b="b"/>
                    <a:pathLst>
                      <a:path w="1528" h="480">
                        <a:moveTo>
                          <a:pt x="0" y="480"/>
                        </a:moveTo>
                        <a:lnTo>
                          <a:pt x="0" y="480"/>
                        </a:lnTo>
                        <a:cubicBezTo>
                          <a:pt x="137" y="196"/>
                          <a:pt x="427" y="0"/>
                          <a:pt x="764" y="0"/>
                        </a:cubicBezTo>
                        <a:cubicBezTo>
                          <a:pt x="1100" y="0"/>
                          <a:pt x="1391" y="196"/>
                          <a:pt x="1528" y="48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2" name="Freeform 68"/>
                  <p:cNvSpPr/>
                  <p:nvPr/>
                </p:nvSpPr>
                <p:spPr bwMode="auto">
                  <a:xfrm>
                    <a:off x="7791451" y="2193925"/>
                    <a:ext cx="122238" cy="103188"/>
                  </a:xfrm>
                  <a:custGeom>
                    <a:avLst/>
                    <a:gdLst>
                      <a:gd name="T0" fmla="*/ 195 w 195"/>
                      <a:gd name="T1" fmla="*/ 0 h 164"/>
                      <a:gd name="T2" fmla="*/ 195 w 195"/>
                      <a:gd name="T3" fmla="*/ 0 h 164"/>
                      <a:gd name="T4" fmla="*/ 163 w 195"/>
                      <a:gd name="T5" fmla="*/ 164 h 164"/>
                      <a:gd name="T6" fmla="*/ 0 w 195"/>
                      <a:gd name="T7" fmla="*/ 132 h 164"/>
                    </a:gdLst>
                    <a:ahLst/>
                    <a:cxnLst>
                      <a:cxn ang="0">
                        <a:pos x="T0" y="T1"/>
                      </a:cxn>
                      <a:cxn ang="0">
                        <a:pos x="T2" y="T3"/>
                      </a:cxn>
                      <a:cxn ang="0">
                        <a:pos x="T4" y="T5"/>
                      </a:cxn>
                      <a:cxn ang="0">
                        <a:pos x="T6" y="T7"/>
                      </a:cxn>
                    </a:cxnLst>
                    <a:rect l="0" t="0" r="r" b="b"/>
                    <a:pathLst>
                      <a:path w="195" h="164">
                        <a:moveTo>
                          <a:pt x="195" y="0"/>
                        </a:moveTo>
                        <a:lnTo>
                          <a:pt x="195" y="0"/>
                        </a:lnTo>
                        <a:lnTo>
                          <a:pt x="163" y="164"/>
                        </a:lnTo>
                        <a:lnTo>
                          <a:pt x="0" y="132"/>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27" name="组合 47"/>
                <p:cNvGrpSpPr/>
                <p:nvPr/>
              </p:nvGrpSpPr>
              <p:grpSpPr>
                <a:xfrm>
                  <a:off x="6894513" y="2763838"/>
                  <a:ext cx="982663" cy="292100"/>
                  <a:chOff x="6894513" y="2763838"/>
                  <a:chExt cx="982663" cy="292100"/>
                </a:xfrm>
              </p:grpSpPr>
              <p:sp>
                <p:nvSpPr>
                  <p:cNvPr id="49" name="Freeform 66"/>
                  <p:cNvSpPr/>
                  <p:nvPr/>
                </p:nvSpPr>
                <p:spPr bwMode="auto">
                  <a:xfrm>
                    <a:off x="6932613" y="2763838"/>
                    <a:ext cx="944563" cy="292100"/>
                  </a:xfrm>
                  <a:custGeom>
                    <a:avLst/>
                    <a:gdLst>
                      <a:gd name="T0" fmla="*/ 1504 w 1504"/>
                      <a:gd name="T1" fmla="*/ 11 h 463"/>
                      <a:gd name="T2" fmla="*/ 1504 w 1504"/>
                      <a:gd name="T3" fmla="*/ 11 h 463"/>
                      <a:gd name="T4" fmla="*/ 755 w 1504"/>
                      <a:gd name="T5" fmla="*/ 463 h 463"/>
                      <a:gd name="T6" fmla="*/ 0 w 1504"/>
                      <a:gd name="T7" fmla="*/ 0 h 463"/>
                    </a:gdLst>
                    <a:ahLst/>
                    <a:cxnLst>
                      <a:cxn ang="0">
                        <a:pos x="T0" y="T1"/>
                      </a:cxn>
                      <a:cxn ang="0">
                        <a:pos x="T2" y="T3"/>
                      </a:cxn>
                      <a:cxn ang="0">
                        <a:pos x="T4" y="T5"/>
                      </a:cxn>
                      <a:cxn ang="0">
                        <a:pos x="T6" y="T7"/>
                      </a:cxn>
                    </a:cxnLst>
                    <a:rect l="0" t="0" r="r" b="b"/>
                    <a:pathLst>
                      <a:path w="1504" h="463">
                        <a:moveTo>
                          <a:pt x="1504" y="11"/>
                        </a:moveTo>
                        <a:lnTo>
                          <a:pt x="1504" y="11"/>
                        </a:lnTo>
                        <a:cubicBezTo>
                          <a:pt x="1362" y="280"/>
                          <a:pt x="1080" y="463"/>
                          <a:pt x="755" y="463"/>
                        </a:cubicBezTo>
                        <a:cubicBezTo>
                          <a:pt x="425" y="463"/>
                          <a:pt x="140" y="275"/>
                          <a:pt x="0" y="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0" name="Freeform 69"/>
                  <p:cNvSpPr/>
                  <p:nvPr/>
                </p:nvSpPr>
                <p:spPr bwMode="auto">
                  <a:xfrm>
                    <a:off x="6894513" y="2763838"/>
                    <a:ext cx="134938" cy="98425"/>
                  </a:xfrm>
                  <a:custGeom>
                    <a:avLst/>
                    <a:gdLst>
                      <a:gd name="T0" fmla="*/ 0 w 215"/>
                      <a:gd name="T1" fmla="*/ 156 h 156"/>
                      <a:gd name="T2" fmla="*/ 0 w 215"/>
                      <a:gd name="T3" fmla="*/ 156 h 156"/>
                      <a:gd name="T4" fmla="*/ 60 w 215"/>
                      <a:gd name="T5" fmla="*/ 0 h 156"/>
                      <a:gd name="T6" fmla="*/ 215 w 215"/>
                      <a:gd name="T7" fmla="*/ 60 h 156"/>
                    </a:gdLst>
                    <a:ahLst/>
                    <a:cxnLst>
                      <a:cxn ang="0">
                        <a:pos x="T0" y="T1"/>
                      </a:cxn>
                      <a:cxn ang="0">
                        <a:pos x="T2" y="T3"/>
                      </a:cxn>
                      <a:cxn ang="0">
                        <a:pos x="T4" y="T5"/>
                      </a:cxn>
                      <a:cxn ang="0">
                        <a:pos x="T6" y="T7"/>
                      </a:cxn>
                    </a:cxnLst>
                    <a:rect l="0" t="0" r="r" b="b"/>
                    <a:pathLst>
                      <a:path w="215" h="156">
                        <a:moveTo>
                          <a:pt x="0" y="156"/>
                        </a:moveTo>
                        <a:lnTo>
                          <a:pt x="0" y="156"/>
                        </a:lnTo>
                        <a:lnTo>
                          <a:pt x="60" y="0"/>
                        </a:lnTo>
                        <a:lnTo>
                          <a:pt x="215"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grpSp>
        <p:grpSp>
          <p:nvGrpSpPr>
            <p:cNvPr id="75830" name="组合 41"/>
            <p:cNvGrpSpPr/>
            <p:nvPr/>
          </p:nvGrpSpPr>
          <p:grpSpPr>
            <a:xfrm>
              <a:off x="6255709" y="2411999"/>
              <a:ext cx="2586981" cy="432000"/>
              <a:chOff x="3356668" y="1161733"/>
              <a:chExt cx="2463107" cy="432000"/>
            </a:xfrm>
          </p:grpSpPr>
          <p:sp>
            <p:nvSpPr>
              <p:cNvPr id="43"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代 谢</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44" name="图片 43"/>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75833" name="组合 59"/>
          <p:cNvGrpSpPr/>
          <p:nvPr/>
        </p:nvGrpSpPr>
        <p:grpSpPr>
          <a:xfrm>
            <a:off x="9161463" y="1681163"/>
            <a:ext cx="2587625" cy="3852862"/>
            <a:chOff x="9162107" y="1554499"/>
            <a:chExt cx="2586981" cy="3852000"/>
          </a:xfrm>
        </p:grpSpPr>
        <p:sp>
          <p:nvSpPr>
            <p:cNvPr id="61" name="Rectangle: Rounded Corners 112"/>
            <p:cNvSpPr/>
            <p:nvPr/>
          </p:nvSpPr>
          <p:spPr>
            <a:xfrm>
              <a:off x="9162107"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62" name="TextBox 95"/>
            <p:cNvSpPr txBox="1"/>
            <p:nvPr/>
          </p:nvSpPr>
          <p:spPr>
            <a:xfrm>
              <a:off x="9376718" y="3050011"/>
              <a:ext cx="2251269" cy="1706301"/>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kumimoji="0" lang="en-US"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主要通过肾脏清除</a:t>
              </a:r>
              <a:endParaRPr kumimoji="0" lang="en-GB" sz="1200" b="0" i="0" kern="1200" cap="none" spc="0" normalizeH="0" baseline="3000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indent="-144145" fontAlgn="auto">
                <a:lnSpc>
                  <a:spcPct val="150000"/>
                </a:lnSpc>
                <a:spcBef>
                  <a:spcPts val="600"/>
                </a:spcBef>
                <a:buFont typeface="Arial" panose="020B0604020202090204" pitchFamily="34" charset="0"/>
                <a:buChar char="•"/>
                <a:defRPr/>
              </a:pP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在所研究的剂量范围内，氨曲南和阿维巴坦的药代动力学皆近似呈</a:t>
              </a:r>
              <a:r>
                <a:rPr lang="zh-CN" altLang="en-US" sz="1200" b="1" noProof="1" dirty="0">
                  <a:solidFill>
                    <a:srgbClr val="00C987"/>
                  </a:solidFill>
                  <a:latin typeface="微软雅黑" panose="020B0503020204020204" charset="-122"/>
                  <a:ea typeface="微软雅黑" panose="020B0503020204020204" charset="-122"/>
                  <a:cs typeface="Times New Roman" panose="02020503050405090304" pitchFamily="18" charset="0"/>
                </a:rPr>
                <a:t>线性</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终末消除</a:t>
              </a:r>
              <a:r>
                <a:rPr lang="en-PH" altLang="zh-CN" sz="1200" noProof="1" dirty="0" err="1">
                  <a:solidFill>
                    <a:srgbClr val="000000"/>
                  </a:solidFill>
                  <a:latin typeface="微软雅黑" panose="020B0503020204020204" charset="-122"/>
                  <a:ea typeface="微软雅黑" panose="020B0503020204020204" charset="-122"/>
                  <a:cs typeface="Times New Roman" panose="02020503050405090304" pitchFamily="18" charset="0"/>
                </a:rPr>
                <a:t>半衰期为</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静脉给药后</a:t>
              </a:r>
              <a:r>
                <a:rPr lang="en-PH"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2至3小时</a:t>
              </a:r>
              <a:endParaRPr lang="en-GB" altLang="zh-CN" sz="1200" baseline="30000" noProof="1"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836" name="Group 17"/>
            <p:cNvGrpSpPr>
              <a:grpSpLocks noChangeAspect="1"/>
            </p:cNvGrpSpPr>
            <p:nvPr/>
          </p:nvGrpSpPr>
          <p:grpSpPr>
            <a:xfrm>
              <a:off x="10206034" y="1726291"/>
              <a:ext cx="499126" cy="521334"/>
              <a:chOff x="6161" y="1384"/>
              <a:chExt cx="427" cy="446"/>
            </a:xfrm>
          </p:grpSpPr>
          <p:sp>
            <p:nvSpPr>
              <p:cNvPr id="69" name="Freeform 18"/>
              <p:cNvSpPr/>
              <p:nvPr/>
            </p:nvSpPr>
            <p:spPr bwMode="auto">
              <a:xfrm>
                <a:off x="6319" y="1693"/>
                <a:ext cx="141" cy="124"/>
              </a:xfrm>
              <a:custGeom>
                <a:avLst/>
                <a:gdLst>
                  <a:gd name="T0" fmla="*/ 196 w 392"/>
                  <a:gd name="T1" fmla="*/ 0 h 345"/>
                  <a:gd name="T2" fmla="*/ 196 w 392"/>
                  <a:gd name="T3" fmla="*/ 0 h 345"/>
                  <a:gd name="T4" fmla="*/ 0 w 392"/>
                  <a:gd name="T5" fmla="*/ 125 h 345"/>
                  <a:gd name="T6" fmla="*/ 94 w 392"/>
                  <a:gd name="T7" fmla="*/ 232 h 345"/>
                  <a:gd name="T8" fmla="*/ 165 w 392"/>
                  <a:gd name="T9" fmla="*/ 334 h 345"/>
                  <a:gd name="T10" fmla="*/ 165 w 392"/>
                  <a:gd name="T11" fmla="*/ 345 h 345"/>
                  <a:gd name="T12" fmla="*/ 227 w 392"/>
                  <a:gd name="T13" fmla="*/ 345 h 345"/>
                  <a:gd name="T14" fmla="*/ 227 w 392"/>
                  <a:gd name="T15" fmla="*/ 334 h 345"/>
                  <a:gd name="T16" fmla="*/ 298 w 392"/>
                  <a:gd name="T17" fmla="*/ 232 h 345"/>
                  <a:gd name="T18" fmla="*/ 392 w 392"/>
                  <a:gd name="T19" fmla="*/ 125 h 345"/>
                  <a:gd name="T20" fmla="*/ 196 w 392"/>
                  <a:gd name="T2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45">
                    <a:moveTo>
                      <a:pt x="196" y="0"/>
                    </a:moveTo>
                    <a:lnTo>
                      <a:pt x="196" y="0"/>
                    </a:lnTo>
                    <a:cubicBezTo>
                      <a:pt x="88" y="0"/>
                      <a:pt x="0" y="56"/>
                      <a:pt x="0" y="125"/>
                    </a:cubicBezTo>
                    <a:cubicBezTo>
                      <a:pt x="0" y="168"/>
                      <a:pt x="36" y="209"/>
                      <a:pt x="94" y="232"/>
                    </a:cubicBezTo>
                    <a:cubicBezTo>
                      <a:pt x="137" y="249"/>
                      <a:pt x="165" y="289"/>
                      <a:pt x="165" y="334"/>
                    </a:cubicBezTo>
                    <a:lnTo>
                      <a:pt x="165" y="345"/>
                    </a:lnTo>
                    <a:lnTo>
                      <a:pt x="227" y="345"/>
                    </a:lnTo>
                    <a:lnTo>
                      <a:pt x="227" y="334"/>
                    </a:lnTo>
                    <a:cubicBezTo>
                      <a:pt x="227" y="289"/>
                      <a:pt x="255" y="249"/>
                      <a:pt x="298" y="232"/>
                    </a:cubicBezTo>
                    <a:cubicBezTo>
                      <a:pt x="356" y="209"/>
                      <a:pt x="392" y="168"/>
                      <a:pt x="392" y="125"/>
                    </a:cubicBezTo>
                    <a:cubicBezTo>
                      <a:pt x="392" y="56"/>
                      <a:pt x="304" y="0"/>
                      <a:pt x="196" y="0"/>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0" name="Freeform 19"/>
              <p:cNvSpPr/>
              <p:nvPr/>
            </p:nvSpPr>
            <p:spPr bwMode="auto">
              <a:xfrm>
                <a:off x="6497" y="1406"/>
                <a:ext cx="81" cy="144"/>
              </a:xfrm>
              <a:custGeom>
                <a:avLst/>
                <a:gdLst>
                  <a:gd name="T0" fmla="*/ 89 w 227"/>
                  <a:gd name="T1" fmla="*/ 0 h 400"/>
                  <a:gd name="T2" fmla="*/ 89 w 227"/>
                  <a:gd name="T3" fmla="*/ 0 h 400"/>
                  <a:gd name="T4" fmla="*/ 26 w 227"/>
                  <a:gd name="T5" fmla="*/ 25 h 400"/>
                  <a:gd name="T6" fmla="*/ 0 w 227"/>
                  <a:gd name="T7" fmla="*/ 84 h 400"/>
                  <a:gd name="T8" fmla="*/ 26 w 227"/>
                  <a:gd name="T9" fmla="*/ 143 h 400"/>
                  <a:gd name="T10" fmla="*/ 49 w 227"/>
                  <a:gd name="T11" fmla="*/ 196 h 400"/>
                  <a:gd name="T12" fmla="*/ 26 w 227"/>
                  <a:gd name="T13" fmla="*/ 250 h 400"/>
                  <a:gd name="T14" fmla="*/ 0 w 227"/>
                  <a:gd name="T15" fmla="*/ 309 h 400"/>
                  <a:gd name="T16" fmla="*/ 26 w 227"/>
                  <a:gd name="T17" fmla="*/ 367 h 400"/>
                  <a:gd name="T18" fmla="*/ 152 w 227"/>
                  <a:gd name="T19" fmla="*/ 367 h 400"/>
                  <a:gd name="T20" fmla="*/ 227 w 227"/>
                  <a:gd name="T21" fmla="*/ 196 h 400"/>
                  <a:gd name="T22" fmla="*/ 152 w 227"/>
                  <a:gd name="T23" fmla="*/ 25 h 400"/>
                  <a:gd name="T24" fmla="*/ 89 w 227"/>
                  <a:gd name="T2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89" y="0"/>
                    </a:moveTo>
                    <a:lnTo>
                      <a:pt x="89" y="0"/>
                    </a:lnTo>
                    <a:cubicBezTo>
                      <a:pt x="66" y="0"/>
                      <a:pt x="43" y="9"/>
                      <a:pt x="26" y="25"/>
                    </a:cubicBezTo>
                    <a:cubicBezTo>
                      <a:pt x="9" y="41"/>
                      <a:pt x="0" y="62"/>
                      <a:pt x="0" y="84"/>
                    </a:cubicBezTo>
                    <a:cubicBezTo>
                      <a:pt x="0" y="106"/>
                      <a:pt x="9" y="127"/>
                      <a:pt x="26" y="143"/>
                    </a:cubicBezTo>
                    <a:cubicBezTo>
                      <a:pt x="41" y="157"/>
                      <a:pt x="49" y="176"/>
                      <a:pt x="49" y="196"/>
                    </a:cubicBezTo>
                    <a:cubicBezTo>
                      <a:pt x="49" y="216"/>
                      <a:pt x="41" y="235"/>
                      <a:pt x="26" y="250"/>
                    </a:cubicBezTo>
                    <a:cubicBezTo>
                      <a:pt x="9" y="266"/>
                      <a:pt x="0" y="286"/>
                      <a:pt x="0" y="309"/>
                    </a:cubicBezTo>
                    <a:cubicBezTo>
                      <a:pt x="0" y="331"/>
                      <a:pt x="9" y="352"/>
                      <a:pt x="26" y="367"/>
                    </a:cubicBezTo>
                    <a:cubicBezTo>
                      <a:pt x="61" y="400"/>
                      <a:pt x="117" y="400"/>
                      <a:pt x="152" y="367"/>
                    </a:cubicBezTo>
                    <a:cubicBezTo>
                      <a:pt x="201" y="322"/>
                      <a:pt x="227" y="261"/>
                      <a:pt x="227" y="196"/>
                    </a:cubicBezTo>
                    <a:cubicBezTo>
                      <a:pt x="227" y="132"/>
                      <a:pt x="201" y="71"/>
                      <a:pt x="152" y="25"/>
                    </a:cubicBezTo>
                    <a:cubicBezTo>
                      <a:pt x="135" y="9"/>
                      <a:pt x="112" y="0"/>
                      <a:pt x="89" y="0"/>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1" name="Freeform 20"/>
              <p:cNvSpPr/>
              <p:nvPr/>
            </p:nvSpPr>
            <p:spPr bwMode="auto">
              <a:xfrm>
                <a:off x="6201" y="1406"/>
                <a:ext cx="81" cy="144"/>
              </a:xfrm>
              <a:custGeom>
                <a:avLst/>
                <a:gdLst>
                  <a:gd name="T0" fmla="*/ 178 w 227"/>
                  <a:gd name="T1" fmla="*/ 196 h 400"/>
                  <a:gd name="T2" fmla="*/ 178 w 227"/>
                  <a:gd name="T3" fmla="*/ 196 h 400"/>
                  <a:gd name="T4" fmla="*/ 201 w 227"/>
                  <a:gd name="T5" fmla="*/ 143 h 400"/>
                  <a:gd name="T6" fmla="*/ 227 w 227"/>
                  <a:gd name="T7" fmla="*/ 84 h 400"/>
                  <a:gd name="T8" fmla="*/ 201 w 227"/>
                  <a:gd name="T9" fmla="*/ 25 h 400"/>
                  <a:gd name="T10" fmla="*/ 138 w 227"/>
                  <a:gd name="T11" fmla="*/ 0 h 400"/>
                  <a:gd name="T12" fmla="*/ 75 w 227"/>
                  <a:gd name="T13" fmla="*/ 25 h 400"/>
                  <a:gd name="T14" fmla="*/ 0 w 227"/>
                  <a:gd name="T15" fmla="*/ 196 h 400"/>
                  <a:gd name="T16" fmla="*/ 75 w 227"/>
                  <a:gd name="T17" fmla="*/ 367 h 400"/>
                  <a:gd name="T18" fmla="*/ 201 w 227"/>
                  <a:gd name="T19" fmla="*/ 367 h 400"/>
                  <a:gd name="T20" fmla="*/ 227 w 227"/>
                  <a:gd name="T21" fmla="*/ 309 h 400"/>
                  <a:gd name="T22" fmla="*/ 201 w 227"/>
                  <a:gd name="T23" fmla="*/ 250 h 400"/>
                  <a:gd name="T24" fmla="*/ 178 w 227"/>
                  <a:gd name="T25" fmla="*/ 1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178" y="196"/>
                    </a:moveTo>
                    <a:lnTo>
                      <a:pt x="178" y="196"/>
                    </a:lnTo>
                    <a:cubicBezTo>
                      <a:pt x="178" y="176"/>
                      <a:pt x="186" y="157"/>
                      <a:pt x="201" y="143"/>
                    </a:cubicBezTo>
                    <a:cubicBezTo>
                      <a:pt x="218" y="127"/>
                      <a:pt x="227" y="106"/>
                      <a:pt x="227" y="84"/>
                    </a:cubicBezTo>
                    <a:cubicBezTo>
                      <a:pt x="227" y="62"/>
                      <a:pt x="218" y="41"/>
                      <a:pt x="201" y="25"/>
                    </a:cubicBezTo>
                    <a:cubicBezTo>
                      <a:pt x="184" y="9"/>
                      <a:pt x="161" y="0"/>
                      <a:pt x="138" y="0"/>
                    </a:cubicBezTo>
                    <a:cubicBezTo>
                      <a:pt x="115" y="0"/>
                      <a:pt x="92" y="9"/>
                      <a:pt x="75" y="25"/>
                    </a:cubicBezTo>
                    <a:cubicBezTo>
                      <a:pt x="27" y="71"/>
                      <a:pt x="0" y="132"/>
                      <a:pt x="0" y="196"/>
                    </a:cubicBezTo>
                    <a:cubicBezTo>
                      <a:pt x="0" y="261"/>
                      <a:pt x="27" y="322"/>
                      <a:pt x="75" y="367"/>
                    </a:cubicBezTo>
                    <a:cubicBezTo>
                      <a:pt x="110" y="400"/>
                      <a:pt x="166" y="400"/>
                      <a:pt x="201" y="367"/>
                    </a:cubicBezTo>
                    <a:cubicBezTo>
                      <a:pt x="218" y="352"/>
                      <a:pt x="227" y="331"/>
                      <a:pt x="227" y="309"/>
                    </a:cubicBezTo>
                    <a:cubicBezTo>
                      <a:pt x="227" y="286"/>
                      <a:pt x="218" y="266"/>
                      <a:pt x="201" y="250"/>
                    </a:cubicBezTo>
                    <a:cubicBezTo>
                      <a:pt x="186" y="236"/>
                      <a:pt x="178" y="217"/>
                      <a:pt x="178" y="196"/>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2" name="Freeform 21"/>
              <p:cNvSpPr/>
              <p:nvPr/>
            </p:nvSpPr>
            <p:spPr bwMode="auto">
              <a:xfrm>
                <a:off x="6161" y="1384"/>
                <a:ext cx="111" cy="167"/>
              </a:xfrm>
              <a:custGeom>
                <a:avLst/>
                <a:gdLst>
                  <a:gd name="T0" fmla="*/ 111 w 309"/>
                  <a:gd name="T1" fmla="*/ 423 h 463"/>
                  <a:gd name="T2" fmla="*/ 111 w 309"/>
                  <a:gd name="T3" fmla="*/ 423 h 463"/>
                  <a:gd name="T4" fmla="*/ 111 w 309"/>
                  <a:gd name="T5" fmla="*/ 41 h 463"/>
                  <a:gd name="T6" fmla="*/ 266 w 309"/>
                  <a:gd name="T7" fmla="*/ 41 h 463"/>
                  <a:gd name="T8" fmla="*/ 266 w 309"/>
                  <a:gd name="T9" fmla="*/ 188 h 463"/>
                  <a:gd name="T10" fmla="*/ 266 w 309"/>
                  <a:gd name="T11" fmla="*/ 276 h 463"/>
                  <a:gd name="T12" fmla="*/ 266 w 309"/>
                  <a:gd name="T13" fmla="*/ 423 h 463"/>
                  <a:gd name="T14" fmla="*/ 111 w 309"/>
                  <a:gd name="T15" fmla="*/ 423 h 463"/>
                  <a:gd name="T16" fmla="*/ 111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11" y="423"/>
                    </a:moveTo>
                    <a:lnTo>
                      <a:pt x="111" y="423"/>
                    </a:lnTo>
                    <a:cubicBezTo>
                      <a:pt x="0" y="317"/>
                      <a:pt x="0" y="146"/>
                      <a:pt x="111" y="41"/>
                    </a:cubicBezTo>
                    <a:cubicBezTo>
                      <a:pt x="154" y="0"/>
                      <a:pt x="223" y="0"/>
                      <a:pt x="266" y="41"/>
                    </a:cubicBezTo>
                    <a:cubicBezTo>
                      <a:pt x="309" y="81"/>
                      <a:pt x="309" y="147"/>
                      <a:pt x="266" y="188"/>
                    </a:cubicBezTo>
                    <a:cubicBezTo>
                      <a:pt x="241" y="212"/>
                      <a:pt x="241" y="252"/>
                      <a:pt x="266" y="276"/>
                    </a:cubicBezTo>
                    <a:cubicBezTo>
                      <a:pt x="309" y="317"/>
                      <a:pt x="309" y="382"/>
                      <a:pt x="266" y="423"/>
                    </a:cubicBezTo>
                    <a:cubicBezTo>
                      <a:pt x="223" y="463"/>
                      <a:pt x="154" y="463"/>
                      <a:pt x="111" y="423"/>
                    </a:cubicBezTo>
                    <a:lnTo>
                      <a:pt x="111" y="423"/>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3" name="Freeform 22"/>
              <p:cNvSpPr/>
              <p:nvPr/>
            </p:nvSpPr>
            <p:spPr bwMode="auto">
              <a:xfrm>
                <a:off x="6375" y="1689"/>
                <a:ext cx="79" cy="141"/>
              </a:xfrm>
              <a:custGeom>
                <a:avLst/>
                <a:gdLst>
                  <a:gd name="T0" fmla="*/ 50 w 222"/>
                  <a:gd name="T1" fmla="*/ 393 h 393"/>
                  <a:gd name="T2" fmla="*/ 50 w 222"/>
                  <a:gd name="T3" fmla="*/ 393 h 393"/>
                  <a:gd name="T4" fmla="*/ 50 w 222"/>
                  <a:gd name="T5" fmla="*/ 366 h 393"/>
                  <a:gd name="T6" fmla="*/ 113 w 222"/>
                  <a:gd name="T7" fmla="*/ 274 h 393"/>
                  <a:gd name="T8" fmla="*/ 222 w 222"/>
                  <a:gd name="T9" fmla="*/ 147 h 393"/>
                  <a:gd name="T10" fmla="*/ 0 w 222"/>
                  <a:gd name="T11" fmla="*/ 0 h 393"/>
                </a:gdLst>
                <a:ahLst/>
                <a:cxnLst>
                  <a:cxn ang="0">
                    <a:pos x="T0" y="T1"/>
                  </a:cxn>
                  <a:cxn ang="0">
                    <a:pos x="T2" y="T3"/>
                  </a:cxn>
                  <a:cxn ang="0">
                    <a:pos x="T4" y="T5"/>
                  </a:cxn>
                  <a:cxn ang="0">
                    <a:pos x="T6" y="T7"/>
                  </a:cxn>
                  <a:cxn ang="0">
                    <a:pos x="T8" y="T9"/>
                  </a:cxn>
                  <a:cxn ang="0">
                    <a:pos x="T10" y="T11"/>
                  </a:cxn>
                </a:cxnLst>
                <a:rect l="0" t="0" r="r" b="b"/>
                <a:pathLst>
                  <a:path w="222" h="393">
                    <a:moveTo>
                      <a:pt x="50" y="393"/>
                    </a:moveTo>
                    <a:lnTo>
                      <a:pt x="50" y="393"/>
                    </a:lnTo>
                    <a:lnTo>
                      <a:pt x="50" y="366"/>
                    </a:lnTo>
                    <a:cubicBezTo>
                      <a:pt x="50" y="325"/>
                      <a:pt x="75" y="289"/>
                      <a:pt x="113" y="274"/>
                    </a:cubicBezTo>
                    <a:cubicBezTo>
                      <a:pt x="178" y="249"/>
                      <a:pt x="222" y="202"/>
                      <a:pt x="222" y="147"/>
                    </a:cubicBezTo>
                    <a:cubicBezTo>
                      <a:pt x="222" y="66"/>
                      <a:pt x="123" y="0"/>
                      <a:pt x="0" y="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4" name="Freeform 23"/>
              <p:cNvSpPr/>
              <p:nvPr/>
            </p:nvSpPr>
            <p:spPr bwMode="auto">
              <a:xfrm>
                <a:off x="6295" y="1689"/>
                <a:ext cx="80" cy="141"/>
              </a:xfrm>
              <a:custGeom>
                <a:avLst/>
                <a:gdLst>
                  <a:gd name="T0" fmla="*/ 221 w 221"/>
                  <a:gd name="T1" fmla="*/ 0 h 393"/>
                  <a:gd name="T2" fmla="*/ 221 w 221"/>
                  <a:gd name="T3" fmla="*/ 0 h 393"/>
                  <a:gd name="T4" fmla="*/ 0 w 221"/>
                  <a:gd name="T5" fmla="*/ 147 h 393"/>
                  <a:gd name="T6" fmla="*/ 109 w 221"/>
                  <a:gd name="T7" fmla="*/ 274 h 393"/>
                  <a:gd name="T8" fmla="*/ 172 w 221"/>
                  <a:gd name="T9" fmla="*/ 366 h 393"/>
                  <a:gd name="T10" fmla="*/ 172 w 221"/>
                  <a:gd name="T11" fmla="*/ 393 h 393"/>
                </a:gdLst>
                <a:ahLst/>
                <a:cxnLst>
                  <a:cxn ang="0">
                    <a:pos x="T0" y="T1"/>
                  </a:cxn>
                  <a:cxn ang="0">
                    <a:pos x="T2" y="T3"/>
                  </a:cxn>
                  <a:cxn ang="0">
                    <a:pos x="T4" y="T5"/>
                  </a:cxn>
                  <a:cxn ang="0">
                    <a:pos x="T6" y="T7"/>
                  </a:cxn>
                  <a:cxn ang="0">
                    <a:pos x="T8" y="T9"/>
                  </a:cxn>
                  <a:cxn ang="0">
                    <a:pos x="T10" y="T11"/>
                  </a:cxn>
                </a:cxnLst>
                <a:rect l="0" t="0" r="r" b="b"/>
                <a:pathLst>
                  <a:path w="221" h="393">
                    <a:moveTo>
                      <a:pt x="221" y="0"/>
                    </a:moveTo>
                    <a:lnTo>
                      <a:pt x="221" y="0"/>
                    </a:lnTo>
                    <a:cubicBezTo>
                      <a:pt x="99" y="0"/>
                      <a:pt x="0" y="66"/>
                      <a:pt x="0" y="147"/>
                    </a:cubicBezTo>
                    <a:cubicBezTo>
                      <a:pt x="0" y="202"/>
                      <a:pt x="44" y="249"/>
                      <a:pt x="109" y="274"/>
                    </a:cubicBezTo>
                    <a:cubicBezTo>
                      <a:pt x="147" y="289"/>
                      <a:pt x="172" y="325"/>
                      <a:pt x="172" y="366"/>
                    </a:cubicBezTo>
                    <a:lnTo>
                      <a:pt x="172" y="393"/>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5" name="Freeform 24"/>
              <p:cNvSpPr/>
              <p:nvPr/>
            </p:nvSpPr>
            <p:spPr bwMode="auto">
              <a:xfrm>
                <a:off x="6477" y="1384"/>
                <a:ext cx="111" cy="167"/>
              </a:xfrm>
              <a:custGeom>
                <a:avLst/>
                <a:gdLst>
                  <a:gd name="T0" fmla="*/ 198 w 309"/>
                  <a:gd name="T1" fmla="*/ 423 h 463"/>
                  <a:gd name="T2" fmla="*/ 198 w 309"/>
                  <a:gd name="T3" fmla="*/ 423 h 463"/>
                  <a:gd name="T4" fmla="*/ 198 w 309"/>
                  <a:gd name="T5" fmla="*/ 41 h 463"/>
                  <a:gd name="T6" fmla="*/ 43 w 309"/>
                  <a:gd name="T7" fmla="*/ 41 h 463"/>
                  <a:gd name="T8" fmla="*/ 43 w 309"/>
                  <a:gd name="T9" fmla="*/ 188 h 463"/>
                  <a:gd name="T10" fmla="*/ 43 w 309"/>
                  <a:gd name="T11" fmla="*/ 276 h 463"/>
                  <a:gd name="T12" fmla="*/ 43 w 309"/>
                  <a:gd name="T13" fmla="*/ 423 h 463"/>
                  <a:gd name="T14" fmla="*/ 198 w 309"/>
                  <a:gd name="T15" fmla="*/ 423 h 463"/>
                  <a:gd name="T16" fmla="*/ 198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98" y="423"/>
                    </a:moveTo>
                    <a:lnTo>
                      <a:pt x="198" y="423"/>
                    </a:lnTo>
                    <a:cubicBezTo>
                      <a:pt x="309" y="317"/>
                      <a:pt x="309" y="146"/>
                      <a:pt x="198" y="41"/>
                    </a:cubicBezTo>
                    <a:cubicBezTo>
                      <a:pt x="155" y="0"/>
                      <a:pt x="86" y="0"/>
                      <a:pt x="43" y="41"/>
                    </a:cubicBezTo>
                    <a:cubicBezTo>
                      <a:pt x="0" y="81"/>
                      <a:pt x="0" y="147"/>
                      <a:pt x="43" y="188"/>
                    </a:cubicBezTo>
                    <a:cubicBezTo>
                      <a:pt x="68" y="212"/>
                      <a:pt x="68" y="252"/>
                      <a:pt x="43" y="276"/>
                    </a:cubicBezTo>
                    <a:cubicBezTo>
                      <a:pt x="0" y="317"/>
                      <a:pt x="0" y="382"/>
                      <a:pt x="43" y="423"/>
                    </a:cubicBezTo>
                    <a:cubicBezTo>
                      <a:pt x="86" y="463"/>
                      <a:pt x="155" y="463"/>
                      <a:pt x="198" y="423"/>
                    </a:cubicBezTo>
                    <a:lnTo>
                      <a:pt x="198" y="423"/>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6" name="Freeform 25"/>
              <p:cNvSpPr/>
              <p:nvPr/>
            </p:nvSpPr>
            <p:spPr bwMode="auto">
              <a:xfrm>
                <a:off x="6233" y="1468"/>
                <a:ext cx="71" cy="274"/>
              </a:xfrm>
              <a:custGeom>
                <a:avLst/>
                <a:gdLst>
                  <a:gd name="T0" fmla="*/ 172 w 197"/>
                  <a:gd name="T1" fmla="*/ 762 h 762"/>
                  <a:gd name="T2" fmla="*/ 172 w 197"/>
                  <a:gd name="T3" fmla="*/ 762 h 762"/>
                  <a:gd name="T4" fmla="*/ 147 w 197"/>
                  <a:gd name="T5" fmla="*/ 762 h 762"/>
                  <a:gd name="T6" fmla="*/ 0 w 197"/>
                  <a:gd name="T7" fmla="*/ 615 h 762"/>
                  <a:gd name="T8" fmla="*/ 197 w 197"/>
                  <a:gd name="T9" fmla="*/ 148 h 762"/>
                  <a:gd name="T10" fmla="*/ 49 w 197"/>
                  <a:gd name="T11" fmla="*/ 0 h 762"/>
                  <a:gd name="T12" fmla="*/ 47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172" y="762"/>
                    </a:moveTo>
                    <a:lnTo>
                      <a:pt x="172" y="762"/>
                    </a:lnTo>
                    <a:lnTo>
                      <a:pt x="147" y="762"/>
                    </a:lnTo>
                    <a:cubicBezTo>
                      <a:pt x="66" y="762"/>
                      <a:pt x="0" y="696"/>
                      <a:pt x="0" y="615"/>
                    </a:cubicBezTo>
                    <a:cubicBezTo>
                      <a:pt x="0" y="443"/>
                      <a:pt x="197" y="320"/>
                      <a:pt x="197" y="148"/>
                    </a:cubicBezTo>
                    <a:cubicBezTo>
                      <a:pt x="197" y="66"/>
                      <a:pt x="131" y="0"/>
                      <a:pt x="49" y="0"/>
                    </a:cubicBezTo>
                    <a:lnTo>
                      <a:pt x="47"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7" name="Freeform 26"/>
              <p:cNvSpPr/>
              <p:nvPr/>
            </p:nvSpPr>
            <p:spPr bwMode="auto">
              <a:xfrm>
                <a:off x="6445" y="1468"/>
                <a:ext cx="71" cy="274"/>
              </a:xfrm>
              <a:custGeom>
                <a:avLst/>
                <a:gdLst>
                  <a:gd name="T0" fmla="*/ 25 w 197"/>
                  <a:gd name="T1" fmla="*/ 762 h 762"/>
                  <a:gd name="T2" fmla="*/ 25 w 197"/>
                  <a:gd name="T3" fmla="*/ 762 h 762"/>
                  <a:gd name="T4" fmla="*/ 49 w 197"/>
                  <a:gd name="T5" fmla="*/ 762 h 762"/>
                  <a:gd name="T6" fmla="*/ 197 w 197"/>
                  <a:gd name="T7" fmla="*/ 615 h 762"/>
                  <a:gd name="T8" fmla="*/ 0 w 197"/>
                  <a:gd name="T9" fmla="*/ 148 h 762"/>
                  <a:gd name="T10" fmla="*/ 148 w 197"/>
                  <a:gd name="T11" fmla="*/ 0 h 762"/>
                  <a:gd name="T12" fmla="*/ 150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25" y="762"/>
                    </a:moveTo>
                    <a:lnTo>
                      <a:pt x="25" y="762"/>
                    </a:lnTo>
                    <a:lnTo>
                      <a:pt x="49" y="762"/>
                    </a:lnTo>
                    <a:cubicBezTo>
                      <a:pt x="131" y="762"/>
                      <a:pt x="197" y="696"/>
                      <a:pt x="197" y="615"/>
                    </a:cubicBezTo>
                    <a:cubicBezTo>
                      <a:pt x="197" y="443"/>
                      <a:pt x="0" y="320"/>
                      <a:pt x="0" y="148"/>
                    </a:cubicBezTo>
                    <a:cubicBezTo>
                      <a:pt x="0" y="66"/>
                      <a:pt x="66" y="0"/>
                      <a:pt x="148" y="0"/>
                    </a:cubicBezTo>
                    <a:lnTo>
                      <a:pt x="15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46" name="组合 65"/>
            <p:cNvGrpSpPr/>
            <p:nvPr/>
          </p:nvGrpSpPr>
          <p:grpSpPr>
            <a:xfrm>
              <a:off x="9162107" y="2411999"/>
              <a:ext cx="2586981" cy="432000"/>
              <a:chOff x="3356668" y="1161733"/>
              <a:chExt cx="2463107" cy="432000"/>
            </a:xfrm>
          </p:grpSpPr>
          <p:sp>
            <p:nvSpPr>
              <p:cNvPr id="67"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排 泄</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68" name="图片 67"/>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sp>
        <p:nvSpPr>
          <p:cNvPr id="78" name="等腰三角形 77"/>
          <p:cNvSpPr/>
          <p:nvPr/>
        </p:nvSpPr>
        <p:spPr>
          <a:xfrm rot="5400000">
            <a:off x="3094038"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79" name="等腰三角形 78"/>
          <p:cNvSpPr/>
          <p:nvPr/>
        </p:nvSpPr>
        <p:spPr>
          <a:xfrm rot="5400000">
            <a:off x="6000750"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80" name="等腰三角形 79"/>
          <p:cNvSpPr/>
          <p:nvPr/>
        </p:nvSpPr>
        <p:spPr>
          <a:xfrm rot="5400000">
            <a:off x="8907463"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83" name="Text Placeholder 2"/>
          <p:cNvSpPr txBox="1"/>
          <p:nvPr/>
        </p:nvSpPr>
        <p:spPr>
          <a:xfrm>
            <a:off x="452438" y="5843588"/>
            <a:ext cx="11237913" cy="23177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90204" pitchFamily="34" charset="0"/>
              <a:buNone/>
              <a:defRPr/>
            </a:pPr>
            <a:r>
              <a:rPr kumimoji="0" lang="en-US" altLang="zh-CN"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PD</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药效学；</a:t>
            </a:r>
            <a:r>
              <a:rPr kumimoji="0" lang="en-US" altLang="zh-CN"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PK</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药代动力学；</a:t>
            </a:r>
            <a:r>
              <a:rPr kumimoji="0" lang="en-US" altLang="zh-CN" sz="1100" b="0" i="0" u="none" strike="noStrike" kern="1200" cap="none" spc="0" normalizeH="0" baseline="0" noProof="0" dirty="0" err="1">
                <a:ln>
                  <a:noFill/>
                </a:ln>
                <a:solidFill>
                  <a:schemeClr val="tx1">
                    <a:lumMod val="65000"/>
                    <a:lumOff val="35000"/>
                  </a:schemeClr>
                </a:solidFill>
                <a:effectLst/>
                <a:uLnTx/>
                <a:uFillTx/>
                <a:latin typeface="Pfizer Tomorrow" charset="0"/>
                <a:ea typeface="微软雅黑" panose="020B0503020204020204" charset="-122"/>
                <a:cs typeface="+mn-ea"/>
                <a:sym typeface="+mn-lt"/>
              </a:rPr>
              <a:t>Vd</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分布体积</a:t>
            </a:r>
            <a:endPar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endParaRPr>
          </a:p>
        </p:txBody>
      </p:sp>
      <p:sp>
        <p:nvSpPr>
          <p:cNvPr id="85" name="文本框 84"/>
          <p:cNvSpPr txBox="1"/>
          <p:nvPr/>
        </p:nvSpPr>
        <p:spPr>
          <a:xfrm>
            <a:off x="452438" y="6134100"/>
            <a:ext cx="10788650" cy="337185"/>
          </a:xfrm>
          <a:prstGeom prst="rect">
            <a:avLst/>
          </a:prstGeom>
          <a:noFill/>
        </p:spPr>
        <p:txBody>
          <a:bodyPr wrap="square">
            <a:spAutoFit/>
          </a:bodyPr>
          <a:p>
            <a:pPr defTabSz="914400">
              <a:buFont typeface="宋体" pitchFamily="2" charset="-122"/>
              <a:buAutoNum type="arabicPeriod"/>
            </a:pPr>
            <a:r>
              <a:rPr lang="zh-CN" altLang="en-US" sz="800" baseline="0" dirty="0">
                <a:latin typeface="Pfizer Tomorrow" charset="0"/>
                <a:ea typeface="微软雅黑" panose="020B0503020204020204" charset="-122"/>
                <a:sym typeface="Arial" panose="020B0604020202090204" pitchFamily="34" charset="0"/>
              </a:rPr>
              <a:t> 注射用氨曲南阿维巴坦钠说明书</a:t>
            </a:r>
            <a:r>
              <a:rPr lang="en-US" altLang="zh-CN" sz="800" baseline="0" dirty="0">
                <a:latin typeface="Pfizer Tomorrow" charset="0"/>
                <a:ea typeface="微软雅黑" panose="020B0503020204020204" charset="-122"/>
                <a:sym typeface="Arial" panose="020B0604020202090204" pitchFamily="34" charset="0"/>
              </a:rPr>
              <a:t>. </a:t>
            </a:r>
            <a:r>
              <a:rPr lang="zh-CN" altLang="en-US" sz="800" baseline="0" dirty="0">
                <a:latin typeface="Pfizer Tomorrow" charset="0"/>
                <a:ea typeface="微软雅黑" panose="020B0503020204020204" charset="-122"/>
                <a:sym typeface="Arial" panose="020B0604020202090204" pitchFamily="34" charset="0"/>
              </a:rPr>
              <a:t>（核准日期：</a:t>
            </a:r>
            <a:r>
              <a:rPr lang="en-US" altLang="zh-CN" sz="800" baseline="0" dirty="0">
                <a:latin typeface="Pfizer Tomorrow" charset="0"/>
                <a:ea typeface="微软雅黑" panose="020B0503020204020204" charset="-122"/>
                <a:sym typeface="Arial" panose="020B0604020202090204" pitchFamily="34" charset="0"/>
              </a:rPr>
              <a:t>2025</a:t>
            </a:r>
            <a:r>
              <a:rPr lang="zh-CN" altLang="en-US" sz="800" baseline="0" dirty="0">
                <a:latin typeface="Pfizer Tomorrow" charset="0"/>
                <a:ea typeface="微软雅黑" panose="020B0503020204020204" charset="-122"/>
                <a:sym typeface="Arial" panose="020B0604020202090204" pitchFamily="34" charset="0"/>
              </a:rPr>
              <a:t>年</a:t>
            </a:r>
            <a:r>
              <a:rPr lang="en-US" altLang="zh-CN" sz="800" baseline="0" dirty="0">
                <a:latin typeface="Pfizer Tomorrow" charset="0"/>
                <a:ea typeface="微软雅黑" panose="020B0503020204020204" charset="-122"/>
                <a:sym typeface="Arial" panose="020B0604020202090204" pitchFamily="34" charset="0"/>
              </a:rPr>
              <a:t>7</a:t>
            </a:r>
            <a:r>
              <a:rPr lang="zh-CN" altLang="en-US" sz="800" baseline="0" dirty="0">
                <a:latin typeface="Pfizer Tomorrow" charset="0"/>
                <a:ea typeface="微软雅黑" panose="020B0503020204020204" charset="-122"/>
                <a:sym typeface="Arial" panose="020B0604020202090204" pitchFamily="34" charset="0"/>
              </a:rPr>
              <a:t>月</a:t>
            </a:r>
            <a:r>
              <a:rPr lang="en-US" altLang="zh-CN" sz="800" baseline="0" dirty="0">
                <a:latin typeface="Pfizer Tomorrow" charset="0"/>
                <a:ea typeface="微软雅黑" panose="020B0503020204020204" charset="-122"/>
                <a:sym typeface="Arial" panose="020B0604020202090204" pitchFamily="34" charset="0"/>
              </a:rPr>
              <a:t>01</a:t>
            </a:r>
            <a:r>
              <a:rPr lang="zh-CN" altLang="en-US" sz="800" baseline="0" dirty="0">
                <a:latin typeface="Pfizer Tomorrow" charset="0"/>
                <a:ea typeface="微软雅黑" panose="020B0503020204020204" charset="-122"/>
                <a:sym typeface="Arial" panose="020B0604020202090204" pitchFamily="34" charset="0"/>
              </a:rPr>
              <a:t>日）</a:t>
            </a:r>
            <a:r>
              <a:rPr lang="en-US" altLang="zh-CN" sz="800" baseline="0" dirty="0">
                <a:latin typeface="Pfizer Tomorrow" charset="0"/>
                <a:ea typeface="微软雅黑" panose="020B0503020204020204" charset="-122"/>
                <a:sym typeface="Arial" panose="020B0604020202090204" pitchFamily="34" charset="0"/>
              </a:rPr>
              <a:t>.</a:t>
            </a:r>
            <a:endParaRPr lang="en-US" altLang="zh-CN" sz="800" baseline="0" dirty="0">
              <a:latin typeface="Pfizer Tomorrow" charset="0"/>
              <a:ea typeface="微软雅黑" panose="020B0503020204020204" charset="-122"/>
              <a:sym typeface="Arial" panose="020B0604020202090204" pitchFamily="34" charset="0"/>
            </a:endParaRPr>
          </a:p>
          <a:p>
            <a:pPr defTabSz="914400">
              <a:buFont typeface="宋体" pitchFamily="2" charset="-122"/>
              <a:buAutoNum type="arabicPeriod"/>
            </a:pPr>
            <a:r>
              <a:rPr lang="fr-FR" altLang="zh-CN" sz="800" baseline="0" dirty="0">
                <a:latin typeface="Pfizer Tomorrow" charset="0"/>
                <a:ea typeface="微软雅黑" panose="020B0503020204020204" charset="-122"/>
                <a:sym typeface="Arial" panose="020B0604020202090204" pitchFamily="34" charset="0"/>
              </a:rPr>
              <a:t> van den Broek AK, et al. BMC Infect Dis 2021;21:285.</a:t>
            </a:r>
            <a:endParaRPr lang="zh-CN" altLang="fr-FR" sz="800" baseline="0" dirty="0">
              <a:latin typeface="Pfizer Tomorrow" charset="0"/>
              <a:ea typeface="微软雅黑" panose="020B0503020204020204" charset="-122"/>
              <a:sym typeface="Arial" panose="020B0604020202090204" pitchFamily="34"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7825" name="标题 1"/>
          <p:cNvSpPr>
            <a:spLocks noGrp="1"/>
          </p:cNvSpPr>
          <p:nvPr>
            <p:ph type="title"/>
          </p:nvPr>
        </p:nvSpPr>
        <p:spPr>
          <a:xfrm>
            <a:off x="638175" y="352743"/>
            <a:ext cx="1091565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PK/PD：</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氨曲南-阿维巴坦</a:t>
            </a:r>
            <a:r>
              <a:rPr lang="en-US" altLang="zh-CN" b="1" kern="1200" dirty="0">
                <a:solidFill>
                  <a:srgbClr val="000D45"/>
                </a:solidFill>
                <a:latin typeface="Pfizer Tomorrow" charset="0"/>
                <a:ea typeface="微软雅黑" panose="020B0503020204020204" charset="-122"/>
                <a:cs typeface="+mj-cs"/>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治疗cIAI及HAP/VAP患者</a:t>
            </a:r>
            <a:b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b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在首次给药间隔和稳态时的联合PTA</a:t>
            </a:r>
            <a:r>
              <a:rPr lang="zh-CN" altLang="en-US" b="1" kern="1200" dirty="0">
                <a:solidFill>
                  <a:srgbClr val="000D45"/>
                </a:solidFill>
                <a:latin typeface="Arial" panose="020B0604020202090204" pitchFamily="34" charset="0"/>
                <a:ea typeface="微软雅黑" panose="020B0503020204020204" charset="-122"/>
                <a:cs typeface="Arial" panose="020B0604020202090204" pitchFamily="34" charset="0"/>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96.7%*</a:t>
            </a:r>
            <a:endParaRPr lang="zh-CN" altLang="en-US" b="1" kern="1200" dirty="0">
              <a:solidFill>
                <a:srgbClr val="000D45"/>
              </a:solidFill>
              <a:latin typeface="Pfizer Tomorrow" charset="0"/>
              <a:ea typeface="微软雅黑" panose="020B0503020204020204" charset="-122"/>
              <a:cs typeface="+mj-cs"/>
            </a:endParaRPr>
          </a:p>
        </p:txBody>
      </p:sp>
      <p:graphicFrame>
        <p:nvGraphicFramePr>
          <p:cNvPr id="50" name="Table 5"/>
          <p:cNvGraphicFramePr>
            <a:graphicFrameLocks noGrp="1"/>
          </p:cNvGraphicFramePr>
          <p:nvPr/>
        </p:nvGraphicFramePr>
        <p:xfrm>
          <a:off x="449263" y="1843088"/>
          <a:ext cx="5543550" cy="3348038"/>
        </p:xfrm>
        <a:graphic>
          <a:graphicData uri="http://schemas.openxmlformats.org/drawingml/2006/table">
            <a:tbl>
              <a:tblPr firstRow="1" firstCol="1" bandRow="1"/>
              <a:tblGrid>
                <a:gridCol w="1192540"/>
                <a:gridCol w="893620"/>
                <a:gridCol w="883227"/>
                <a:gridCol w="935810"/>
                <a:gridCol w="687721"/>
                <a:gridCol w="949949"/>
              </a:tblGrid>
              <a:tr h="362551">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en-US" altLang="zh-CN" sz="1200" b="1" spc="-10" dirty="0">
                          <a:solidFill>
                            <a:schemeClr val="bg1"/>
                          </a:solidFill>
                          <a:effectLst/>
                          <a:latin typeface="+mn-lt"/>
                          <a:ea typeface="+mn-ea"/>
                          <a:cs typeface="+mn-ea"/>
                          <a:sym typeface="+mn-lt"/>
                        </a:rPr>
                        <a:t>cIAI</a:t>
                      </a:r>
                      <a:r>
                        <a:rPr lang="en-US" altLang="zh-CN" sz="1200" b="1" spc="-10" baseline="30000" dirty="0">
                          <a:solidFill>
                            <a:schemeClr val="bg1"/>
                          </a:solidFill>
                          <a:effectLst/>
                          <a:latin typeface="+mn-lt"/>
                          <a:ea typeface="+mn-ea"/>
                          <a:cs typeface="+mn-ea"/>
                          <a:sym typeface="+mn-lt"/>
                        </a:rPr>
                        <a:t>1</a:t>
                      </a:r>
                      <a:endParaRPr lang="en-GB" sz="1200" b="1" spc="-10" baseline="3000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cPr/>
                </a:tc>
                <a:tc hMerge="1">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cPr/>
                </a:tc>
                <a:tc hMerge="1">
                  <a:tcPr/>
                </a:tc>
              </a:tr>
              <a:tr h="362551">
                <a:tc row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r>
              <a:tr h="565386">
                <a:tc vMerge="1">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3.3</a:t>
                      </a:r>
                      <a:endParaRPr lang="en-GB"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en-GB" sz="1100" b="0" spc="-10" baseline="0" dirty="0">
                          <a:solidFill>
                            <a:schemeClr val="tx1">
                              <a:lumMod val="85000"/>
                              <a:lumOff val="15000"/>
                            </a:schemeClr>
                          </a:solidFill>
                          <a:effectLst/>
                          <a:latin typeface="+mn-lt"/>
                          <a:ea typeface="+mn-ea"/>
                          <a:cs typeface="+mn-ea"/>
                          <a:sym typeface="+mn-lt"/>
                        </a:rPr>
                        <a:t>q6h</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0.2</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7.0</a:t>
                      </a:r>
                      <a:endParaRPr lang="en-GB" altLang="zh-CN"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200" b="1" kern="1200" spc="-10" baseline="0" dirty="0">
                          <a:solidFill>
                            <a:srgbClr val="00C987"/>
                          </a:solidFill>
                          <a:effectLst/>
                          <a:latin typeface="+mn-lt"/>
                          <a:ea typeface="+mn-ea"/>
                          <a:cs typeface="+mn-ea"/>
                          <a:sym typeface="+mn-lt"/>
                        </a:rPr>
                        <a:t>96.7</a:t>
                      </a:r>
                      <a:endParaRPr lang="en-GB" sz="1200" b="1" kern="1200" spc="-10" baseline="0" dirty="0">
                        <a:solidFill>
                          <a:srgbClr val="00C987"/>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9.3</a:t>
                      </a:r>
                      <a:endParaRPr lang="en-GB" altLang="zh-CN"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9.3</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9.8</a:t>
                      </a:r>
                      <a:endParaRPr lang="en-GB"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750/25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5.0</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0" spc="-10" baseline="0" dirty="0">
                          <a:solidFill>
                            <a:schemeClr val="tx1">
                              <a:lumMod val="85000"/>
                              <a:lumOff val="15000"/>
                            </a:schemeClr>
                          </a:solidFill>
                          <a:effectLst/>
                          <a:latin typeface="+mn-lt"/>
                          <a:ea typeface="+mn-ea"/>
                          <a:cs typeface="+mn-ea"/>
                          <a:sym typeface="+mn-lt"/>
                        </a:rPr>
                        <a:t>1350/450</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7.9</a:t>
                      </a:r>
                      <a:endParaRPr lang="en-PH"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8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91.2</a:t>
                      </a:r>
                      <a:endParaRPr lang="en-US"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0" spc="-10" baseline="0" dirty="0">
                          <a:solidFill>
                            <a:schemeClr val="tx1">
                              <a:lumMod val="85000"/>
                              <a:lumOff val="15000"/>
                            </a:schemeClr>
                          </a:solidFill>
                          <a:effectLst/>
                          <a:latin typeface="+mn-lt"/>
                          <a:ea typeface="+mn-ea"/>
                          <a:cs typeface="+mn-ea"/>
                          <a:sym typeface="+mn-lt"/>
                        </a:rPr>
                        <a:t>1000/334</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1.4</a:t>
                      </a:r>
                      <a:endParaRPr lang="en-PH"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12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89.1</a:t>
                      </a:r>
                      <a:endParaRPr lang="en-US"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7891" name="Text Placeholder 2"/>
          <p:cNvSpPr txBox="1"/>
          <p:nvPr/>
        </p:nvSpPr>
        <p:spPr>
          <a:xfrm>
            <a:off x="449263" y="5511800"/>
            <a:ext cx="11236325" cy="708025"/>
          </a:xfrm>
          <a:prstGeom prst="rect">
            <a:avLst/>
          </a:prstGeom>
          <a:noFill/>
          <a:ln w="9525">
            <a:noFill/>
          </a:ln>
        </p:spPr>
        <p:txBody>
          <a:bodyPr lIns="91440" tIns="45720" rIns="91440" bIns="45720" anchor="b" anchorCtr="0"/>
          <a:p>
            <a:pPr>
              <a:spcBef>
                <a:spcPts val="400"/>
              </a:spcBef>
              <a:buFont typeface="Arial" panose="020B0604020202090204" pitchFamily="34" charset="0"/>
              <a:buNone/>
            </a:pP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数据源自肾功能正常患者</a:t>
            </a: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所有氨曲南</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阿维巴坦持续输注</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h</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血浆暴露联合</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TA</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靶值：氨曲南为</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60%f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mg/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阿维巴坦为</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f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2.5mg/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err="1">
                <a:solidFill>
                  <a:srgbClr val="595959"/>
                </a:solidFill>
                <a:latin typeface="Arial" panose="020B0604020202090204" pitchFamily="34" charset="0"/>
                <a:ea typeface="微软雅黑" panose="020B0503020204020204" charset="-122"/>
                <a:sym typeface="Arial" panose="020B0604020202090204" pitchFamily="34" charset="0"/>
              </a:rPr>
              <a:t>CrC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值：肾功能亢进＞</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正常肾功能＞</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 1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轻度肾功能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肾功能中度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重度肾功能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终末期肾病＜</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 mL/min</a:t>
            </a: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TA</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代动力学</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效学达标概率；</a:t>
            </a:r>
            <a:r>
              <a:rPr lang="en-US" altLang="zh-CN" sz="1100" dirty="0" err="1">
                <a:solidFill>
                  <a:srgbClr val="595959"/>
                </a:solidFill>
                <a:latin typeface="Arial" panose="020B0604020202090204" pitchFamily="34" charset="0"/>
                <a:ea typeface="微软雅黑" panose="020B0503020204020204" charset="-122"/>
                <a:sym typeface="Arial" panose="020B0604020202090204" pitchFamily="34" charset="0"/>
              </a:rPr>
              <a:t>cIAI</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复杂性腹腔感染；</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N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院内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HA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医院获得性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VA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呼吸机相关性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D</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效学；</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K</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代动力学；</a:t>
            </a:r>
            <a:endPar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endParaRPr>
          </a:p>
        </p:txBody>
      </p:sp>
      <p:sp>
        <p:nvSpPr>
          <p:cNvPr id="77892" name="Text Placeholder 3"/>
          <p:cNvSpPr txBox="1"/>
          <p:nvPr/>
        </p:nvSpPr>
        <p:spPr>
          <a:xfrm>
            <a:off x="330200" y="1455738"/>
            <a:ext cx="11536363" cy="1281112"/>
          </a:xfrm>
          <a:prstGeom prst="rect">
            <a:avLst/>
          </a:prstGeom>
          <a:noFill/>
          <a:ln w="9525">
            <a:noFill/>
          </a:ln>
        </p:spPr>
        <p:txBody>
          <a:bodyPr lIns="91440" tIns="45720" rIns="91440" bIns="45720" anchor="t" anchorCtr="0"/>
          <a:p>
            <a:pPr marL="342900" indent="-342900">
              <a:lnSpc>
                <a:spcPct val="110000"/>
              </a:lnSpc>
              <a:spcAft>
                <a:spcPts val="600"/>
              </a:spcAft>
              <a:buFont typeface="Times New Roman" panose="02020503050405090304" pitchFamily="18" charset="0"/>
              <a:buChar char="•"/>
            </a:pP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除终末期肾病</a:t>
            </a:r>
            <a:r>
              <a:rPr lang="en-US" altLang="zh-CN" sz="1400" dirty="0" err="1">
                <a:solidFill>
                  <a:srgbClr val="000000"/>
                </a:solidFill>
                <a:latin typeface="Arial" panose="020B0604020202090204" pitchFamily="34" charset="0"/>
                <a:ea typeface="微软雅黑" panose="020B0503020204020204" charset="-122"/>
                <a:sym typeface="Arial" panose="020B0604020202090204" pitchFamily="34" charset="0"/>
              </a:rPr>
              <a:t>cIAI</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患者在稳态时联合</a:t>
            </a:r>
            <a:r>
              <a:rPr lang="en-US" altLang="zh-CN" sz="1400" dirty="0">
                <a:solidFill>
                  <a:srgbClr val="000000"/>
                </a:solidFill>
                <a:latin typeface="Arial" panose="020B0604020202090204" pitchFamily="34" charset="0"/>
                <a:ea typeface="微软雅黑" panose="020B0503020204020204" charset="-122"/>
                <a:sym typeface="Arial" panose="020B0604020202090204" pitchFamily="34" charset="0"/>
              </a:rPr>
              <a:t>PTA</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为</a:t>
            </a:r>
            <a:r>
              <a:rPr lang="en-US" altLang="zh-CN" sz="1400" dirty="0">
                <a:solidFill>
                  <a:srgbClr val="000000"/>
                </a:solidFill>
                <a:latin typeface="Arial" panose="020B0604020202090204" pitchFamily="34" charset="0"/>
                <a:ea typeface="微软雅黑" panose="020B0503020204020204" charset="-122"/>
                <a:sym typeface="Arial" panose="020B0604020202090204" pitchFamily="34" charset="0"/>
              </a:rPr>
              <a:t>89.1%</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以外，</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不同肾功能的</a:t>
            </a:r>
            <a:r>
              <a:rPr lang="en-US" altLang="zh-CN" sz="1400" b="1" dirty="0" err="1">
                <a:solidFill>
                  <a:srgbClr val="00C987"/>
                </a:solidFill>
                <a:latin typeface="Arial" panose="020B0604020202090204" pitchFamily="34" charset="0"/>
                <a:ea typeface="微软雅黑" panose="020B0503020204020204" charset="-122"/>
                <a:sym typeface="Arial" panose="020B0604020202090204" pitchFamily="34" charset="0"/>
              </a:rPr>
              <a:t>cIAI</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及</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HAP/VAP</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患者在首次给药间隔和稳态时的联合</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PTA</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均＞</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90%</a:t>
            </a:r>
            <a:r>
              <a:rPr lang="en-US" altLang="zh-CN" sz="1400" b="1" baseline="30000" dirty="0">
                <a:solidFill>
                  <a:srgbClr val="00C987"/>
                </a:solidFill>
                <a:latin typeface="Arial" panose="020B0604020202090204" pitchFamily="34" charset="0"/>
                <a:ea typeface="微软雅黑" panose="020B0503020204020204" charset="-122"/>
                <a:sym typeface="Arial" panose="020B0604020202090204" pitchFamily="34" charset="0"/>
              </a:rPr>
              <a:t>1,2</a:t>
            </a:r>
            <a:endParaRPr lang="en-GB" altLang="en-US" sz="1400" b="1" baseline="30000" dirty="0">
              <a:solidFill>
                <a:srgbClr val="00C987"/>
              </a:solidFill>
              <a:latin typeface="Arial" panose="020B0604020202090204" pitchFamily="34" charset="0"/>
              <a:ea typeface="微软雅黑" panose="020B0503020204020204" charset="-122"/>
              <a:sym typeface="Arial" panose="020B0604020202090204" pitchFamily="34" charset="0"/>
            </a:endParaRPr>
          </a:p>
        </p:txBody>
      </p:sp>
      <p:sp>
        <p:nvSpPr>
          <p:cNvPr id="77893" name="Text Placeholder 2"/>
          <p:cNvSpPr txBox="1"/>
          <p:nvPr/>
        </p:nvSpPr>
        <p:spPr>
          <a:xfrm>
            <a:off x="512763" y="6540500"/>
            <a:ext cx="10575925" cy="349250"/>
          </a:xfrm>
          <a:prstGeom prst="rect">
            <a:avLst/>
          </a:prstGeom>
          <a:noFill/>
          <a:ln w="9525">
            <a:noFill/>
          </a:ln>
        </p:spPr>
        <p:txBody>
          <a:bodyPr lIns="91440" tIns="45720" rIns="91440" bIns="45720" anchor="b" anchorCtr="0"/>
          <a:p>
            <a:pPr>
              <a:spcBef>
                <a:spcPts val="400"/>
              </a:spcBef>
              <a:buFont typeface="Arial" panose="020B0604020202090204" pitchFamily="34" charset="0"/>
              <a:buNone/>
            </a:pPr>
            <a:r>
              <a:rPr lang="en-US" altLang="zh-CN" sz="800" dirty="0">
                <a:latin typeface="Arial" panose="020B0604020202090204" pitchFamily="34" charset="0"/>
                <a:ea typeface="微软雅黑" panose="020B0503020204020204" charset="-122"/>
                <a:sym typeface="Arial" panose="020B0604020202090204" pitchFamily="34" charset="0"/>
              </a:rPr>
              <a:t>1. Xie R, et al. </a:t>
            </a:r>
            <a:r>
              <a:rPr lang="en-US" altLang="zh-CN" sz="800" dirty="0" err="1">
                <a:latin typeface="Arial" panose="020B0604020202090204" pitchFamily="34" charset="0"/>
                <a:ea typeface="微软雅黑" panose="020B0503020204020204" charset="-122"/>
                <a:sym typeface="Arial" panose="020B0604020202090204" pitchFamily="34" charset="0"/>
              </a:rPr>
              <a:t>Antimicrob</a:t>
            </a:r>
            <a:r>
              <a:rPr lang="en-US" altLang="zh-CN" sz="800" dirty="0">
                <a:latin typeface="Arial" panose="020B0604020202090204" pitchFamily="34" charset="0"/>
                <a:ea typeface="微软雅黑" panose="020B0503020204020204" charset="-122"/>
                <a:sym typeface="Arial" panose="020B0604020202090204" pitchFamily="34" charset="0"/>
              </a:rPr>
              <a:t> Agents </a:t>
            </a:r>
            <a:r>
              <a:rPr lang="en-US" altLang="zh-CN" sz="800" dirty="0" err="1">
                <a:latin typeface="Arial" panose="020B0604020202090204" pitchFamily="34" charset="0"/>
                <a:ea typeface="微软雅黑" panose="020B0503020204020204" charset="-122"/>
                <a:sym typeface="Arial" panose="020B0604020202090204" pitchFamily="34" charset="0"/>
              </a:rPr>
              <a:t>Chemother</a:t>
            </a:r>
            <a:r>
              <a:rPr lang="en-US" altLang="zh-CN" sz="800" dirty="0">
                <a:latin typeface="Arial" panose="020B0604020202090204" pitchFamily="34" charset="0"/>
                <a:ea typeface="微软雅黑" panose="020B0503020204020204" charset="-122"/>
                <a:sym typeface="Arial" panose="020B0604020202090204" pitchFamily="34" charset="0"/>
              </a:rPr>
              <a:t>. 2025 Jun 18:e0195024.</a:t>
            </a:r>
            <a:br>
              <a:rPr lang="en-US" altLang="zh-CN" sz="800" dirty="0">
                <a:latin typeface="Arial" panose="020B0604020202090204" pitchFamily="34" charset="0"/>
                <a:ea typeface="微软雅黑" panose="020B0503020204020204" charset="-122"/>
                <a:sym typeface="Arial" panose="020B0604020202090204" pitchFamily="34" charset="0"/>
              </a:rPr>
            </a:br>
            <a:r>
              <a:rPr lang="en-US" altLang="zh-CN" sz="800" dirty="0">
                <a:latin typeface="Arial" panose="020B0604020202090204" pitchFamily="34" charset="0"/>
                <a:ea typeface="微软雅黑" panose="020B0503020204020204" charset="-122"/>
                <a:sym typeface="Arial" panose="020B0604020202090204" pitchFamily="34" charset="0"/>
              </a:rPr>
              <a:t>2. Xie R, et al. </a:t>
            </a:r>
            <a:r>
              <a:rPr lang="en-US" altLang="zh-CN" sz="800" dirty="0" err="1">
                <a:latin typeface="Arial" panose="020B0604020202090204" pitchFamily="34" charset="0"/>
                <a:ea typeface="微软雅黑" panose="020B0503020204020204" charset="-122"/>
                <a:sym typeface="Arial" panose="020B0604020202090204" pitchFamily="34" charset="0"/>
              </a:rPr>
              <a:t>Antimicrob</a:t>
            </a:r>
            <a:r>
              <a:rPr lang="en-US" altLang="zh-CN" sz="800" dirty="0">
                <a:latin typeface="Arial" panose="020B0604020202090204" pitchFamily="34" charset="0"/>
                <a:ea typeface="微软雅黑" panose="020B0503020204020204" charset="-122"/>
                <a:sym typeface="Arial" panose="020B0604020202090204" pitchFamily="34" charset="0"/>
              </a:rPr>
              <a:t> Agents </a:t>
            </a:r>
            <a:r>
              <a:rPr lang="en-US" altLang="zh-CN" sz="800" dirty="0" err="1">
                <a:latin typeface="Arial" panose="020B0604020202090204" pitchFamily="34" charset="0"/>
                <a:ea typeface="微软雅黑" panose="020B0503020204020204" charset="-122"/>
                <a:sym typeface="Arial" panose="020B0604020202090204" pitchFamily="34" charset="0"/>
              </a:rPr>
              <a:t>Chemother</a:t>
            </a:r>
            <a:r>
              <a:rPr lang="en-US" altLang="zh-CN" sz="800" dirty="0">
                <a:latin typeface="Arial" panose="020B0604020202090204" pitchFamily="34" charset="0"/>
                <a:ea typeface="微软雅黑" panose="020B0503020204020204" charset="-122"/>
                <a:sym typeface="Arial" panose="020B0604020202090204" pitchFamily="34" charset="0"/>
              </a:rPr>
              <a:t>. 2025 Jun 18:e0195024.Supplemental appendix.</a:t>
            </a:r>
            <a:endParaRPr lang="en-US" altLang="zh-CN" sz="800" dirty="0">
              <a:latin typeface="Arial" panose="020B0604020202090204" pitchFamily="34" charset="0"/>
              <a:ea typeface="微软雅黑" panose="020B0503020204020204" charset="-122"/>
              <a:sym typeface="Arial" panose="020B0604020202090204" pitchFamily="34" charset="0"/>
            </a:endParaRPr>
          </a:p>
        </p:txBody>
      </p:sp>
      <p:graphicFrame>
        <p:nvGraphicFramePr>
          <p:cNvPr id="54" name="Table 5"/>
          <p:cNvGraphicFramePr>
            <a:graphicFrameLocks noGrp="1"/>
          </p:cNvGraphicFramePr>
          <p:nvPr/>
        </p:nvGraphicFramePr>
        <p:xfrm>
          <a:off x="6143625" y="1843088"/>
          <a:ext cx="5542867" cy="3348038"/>
        </p:xfrm>
        <a:graphic>
          <a:graphicData uri="http://schemas.openxmlformats.org/drawingml/2006/table">
            <a:tbl>
              <a:tblPr firstRow="1" firstCol="1" bandRow="1"/>
              <a:tblGrid>
                <a:gridCol w="1192540"/>
                <a:gridCol w="893620"/>
                <a:gridCol w="883227"/>
                <a:gridCol w="935810"/>
                <a:gridCol w="687721"/>
                <a:gridCol w="949949"/>
              </a:tblGrid>
              <a:tr h="362551">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en-US" altLang="zh-CN" sz="1200" b="1" spc="-10" dirty="0">
                          <a:solidFill>
                            <a:schemeClr val="bg1"/>
                          </a:solidFill>
                          <a:effectLst/>
                          <a:latin typeface="+mn-lt"/>
                          <a:ea typeface="+mn-ea"/>
                          <a:cs typeface="+mn-ea"/>
                          <a:sym typeface="+mn-lt"/>
                        </a:rPr>
                        <a:t>NP</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HAP/VAP</a:t>
                      </a:r>
                      <a:r>
                        <a:rPr lang="zh-CN" altLang="en-US" sz="1200" b="1" spc="-10" dirty="0">
                          <a:solidFill>
                            <a:schemeClr val="bg1"/>
                          </a:solidFill>
                          <a:effectLst/>
                          <a:latin typeface="+mn-lt"/>
                          <a:ea typeface="+mn-ea"/>
                          <a:cs typeface="+mn-ea"/>
                          <a:sym typeface="+mn-lt"/>
                        </a:rPr>
                        <a:t>）</a:t>
                      </a:r>
                      <a:r>
                        <a:rPr lang="en-US" altLang="zh-CN" sz="1200" b="1" spc="-10" baseline="30000" dirty="0">
                          <a:solidFill>
                            <a:schemeClr val="bg1"/>
                          </a:solidFill>
                          <a:effectLst/>
                          <a:latin typeface="+mn-lt"/>
                          <a:ea typeface="+mn-ea"/>
                          <a:cs typeface="+mn-ea"/>
                          <a:sym typeface="+mn-lt"/>
                        </a:rPr>
                        <a:t>2</a:t>
                      </a:r>
                      <a:endParaRPr lang="en-GB" sz="1200" b="1" spc="-10" baseline="3000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cPr/>
                </a:tc>
                <a:tc hMerge="1">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cPr/>
                </a:tc>
                <a:tc hMerge="1">
                  <a:tcPr/>
                </a:tc>
              </a:tr>
              <a:tr h="362551">
                <a:tc row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r>
              <a:tr h="565386">
                <a:tc vMerge="1">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1</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en-GB" sz="1100" b="0" spc="-10" baseline="0" dirty="0">
                          <a:solidFill>
                            <a:schemeClr val="tx1">
                              <a:lumMod val="85000"/>
                              <a:lumOff val="15000"/>
                            </a:schemeClr>
                          </a:solidFill>
                          <a:effectLst/>
                          <a:latin typeface="+mn-lt"/>
                          <a:ea typeface="+mn-ea"/>
                          <a:cs typeface="+mn-ea"/>
                          <a:sym typeface="+mn-lt"/>
                        </a:rPr>
                        <a:t>q6h</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5.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200" b="1" kern="1200" spc="-10" baseline="0" dirty="0">
                          <a:solidFill>
                            <a:srgbClr val="00C987"/>
                          </a:solidFill>
                          <a:effectLst/>
                          <a:latin typeface="+mn-lt"/>
                          <a:ea typeface="+mn-ea"/>
                          <a:cs typeface="+mn-ea"/>
                          <a:sym typeface="+mn-lt"/>
                        </a:rPr>
                        <a:t>98.4</a:t>
                      </a:r>
                      <a:endParaRPr lang="zh-CN" altLang="en-US" sz="1200" b="1" kern="1200" spc="-10" baseline="0" dirty="0">
                        <a:solidFill>
                          <a:srgbClr val="00C987"/>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750/25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0" spc="-10" baseline="0" dirty="0">
                          <a:solidFill>
                            <a:schemeClr val="tx1">
                              <a:lumMod val="85000"/>
                              <a:lumOff val="15000"/>
                            </a:schemeClr>
                          </a:solidFill>
                          <a:effectLst/>
                          <a:latin typeface="+mn-lt"/>
                          <a:ea typeface="+mn-ea"/>
                          <a:cs typeface="+mn-ea"/>
                          <a:sym typeface="+mn-lt"/>
                        </a:rPr>
                        <a:t>1350/450</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2</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8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7.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0" spc="-10" baseline="0" dirty="0">
                          <a:solidFill>
                            <a:schemeClr val="tx1">
                              <a:lumMod val="85000"/>
                              <a:lumOff val="15000"/>
                            </a:schemeClr>
                          </a:solidFill>
                          <a:effectLst/>
                          <a:latin typeface="+mn-lt"/>
                          <a:ea typeface="+mn-ea"/>
                          <a:cs typeface="+mn-ea"/>
                          <a:sym typeface="+mn-lt"/>
                        </a:rPr>
                        <a:t>1000/334</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12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6</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Rectangle 22"/>
          <p:cNvSpPr/>
          <p:nvPr/>
        </p:nvSpPr>
        <p:spPr bwMode="gray">
          <a:xfrm>
            <a:off x="449263" y="3508375"/>
            <a:ext cx="11236325" cy="331788"/>
          </a:xfrm>
          <a:prstGeom prst="rect">
            <a:avLst/>
          </a:prstGeom>
          <a:solidFill>
            <a:schemeClr val="accent2">
              <a:alpha val="2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8" name="矩形 7"/>
          <p:cNvSpPr/>
          <p:nvPr/>
        </p:nvSpPr>
        <p:spPr>
          <a:xfrm>
            <a:off x="101600" y="1760538"/>
            <a:ext cx="660400"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7962" name="组合 8"/>
          <p:cNvGrpSpPr/>
          <p:nvPr/>
        </p:nvGrpSpPr>
        <p:grpSpPr>
          <a:xfrm rot="-642761">
            <a:off x="26988" y="1831975"/>
            <a:ext cx="1158875" cy="444500"/>
            <a:chOff x="872051" y="5055645"/>
            <a:chExt cx="1158467" cy="444696"/>
          </a:xfrm>
        </p:grpSpPr>
        <p:sp>
          <p:nvSpPr>
            <p:cNvPr id="10"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1" name="文本框 10"/>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达标</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角 9"/>
          <p:cNvSpPr/>
          <p:nvPr/>
        </p:nvSpPr>
        <p:spPr>
          <a:xfrm>
            <a:off x="1666875" y="1985963"/>
            <a:ext cx="9642475" cy="3111500"/>
          </a:xfrm>
          <a:prstGeom prst="roundRect">
            <a:avLst>
              <a:gd name="adj" fmla="val 3636"/>
            </a:avLst>
          </a:prstGeom>
          <a:solidFill>
            <a:schemeClr val="bg1">
              <a:lumMod val="95000"/>
            </a:schemeClr>
          </a:solidFill>
          <a:ln w="12700" cap="flat" cmpd="sng" algn="ctr">
            <a:no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79874"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指南共识：中国CRE感染诊治与防控专家共识</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推荐</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MBL-CRE感染</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9875" name="文本框 5"/>
          <p:cNvSpPr txBox="1"/>
          <p:nvPr/>
        </p:nvSpPr>
        <p:spPr>
          <a:xfrm>
            <a:off x="1109663" y="6427788"/>
            <a:ext cx="6951662" cy="215900"/>
          </a:xfrm>
          <a:prstGeom prst="rect">
            <a:avLst/>
          </a:prstGeom>
          <a:noFill/>
          <a:ln w="9525">
            <a:noFill/>
          </a:ln>
        </p:spPr>
        <p:txBody>
          <a:bodyPr wrap="square" anchor="t" anchorCtr="0">
            <a:spAutoFit/>
          </a:bodyPr>
          <a:p>
            <a:r>
              <a:rPr lang="zh-CN" altLang="en-US" sz="800" dirty="0">
                <a:latin typeface="Pfizer Tomorrow" charset="0"/>
                <a:ea typeface="微软雅黑" panose="020B0503020204020204" charset="-122"/>
                <a:sym typeface="Pfizer Tomorrow" charset="0"/>
              </a:rPr>
              <a:t>中国碳青霉烯耐药肠杆菌科细菌感染诊治与防控专家共识编写组</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中华医学杂志</a:t>
            </a:r>
            <a:r>
              <a:rPr lang="en-US" altLang="zh-CN" sz="800" dirty="0">
                <a:latin typeface="Pfizer Tomorrow" charset="0"/>
                <a:ea typeface="微软雅黑" panose="020B0503020204020204" charset="-122"/>
                <a:sym typeface="Pfizer Tomorrow" charset="0"/>
              </a:rPr>
              <a:t>, 2021,101(36):</a:t>
            </a:r>
            <a:r>
              <a:rPr lang="zh-CN" altLang="en-US" sz="800" dirty="0">
                <a:latin typeface="Pfizer Tomorrow" charset="0"/>
                <a:ea typeface="微软雅黑" panose="020B0503020204020204" charset="-122"/>
                <a:sym typeface="Pfizer Tomorrow" charset="0"/>
              </a:rPr>
              <a:t> </a:t>
            </a:r>
            <a:r>
              <a:rPr lang="en-US" altLang="zh-CN" sz="800" dirty="0">
                <a:latin typeface="Pfizer Tomorrow" charset="0"/>
                <a:ea typeface="微软雅黑" panose="020B0503020204020204" charset="-122"/>
                <a:sym typeface="Pfizer Tomorrow" charset="0"/>
              </a:rPr>
              <a:t>2850-2860.</a:t>
            </a:r>
            <a:endParaRPr lang="zh-CN" altLang="en-US" sz="800" dirty="0">
              <a:latin typeface="Pfizer Tomorrow" charset="0"/>
              <a:ea typeface="微软雅黑" panose="020B0503020204020204" charset="-122"/>
              <a:sym typeface="Pfizer Tomorrow" charset="0"/>
            </a:endParaRPr>
          </a:p>
        </p:txBody>
      </p:sp>
      <p:grpSp>
        <p:nvGrpSpPr>
          <p:cNvPr id="79876" name="组合 10"/>
          <p:cNvGrpSpPr/>
          <p:nvPr/>
        </p:nvGrpSpPr>
        <p:grpSpPr>
          <a:xfrm>
            <a:off x="4503738" y="4811713"/>
            <a:ext cx="2243137" cy="123825"/>
            <a:chOff x="3986398" y="5175250"/>
            <a:chExt cx="7465635" cy="127000"/>
          </a:xfrm>
        </p:grpSpPr>
        <p:cxnSp>
          <p:nvCxnSpPr>
            <p:cNvPr id="15" name="直接连接符 14"/>
            <p:cNvCxnSpPr/>
            <p:nvPr/>
          </p:nvCxnSpPr>
          <p:spPr>
            <a:xfrm>
              <a:off x="3986398" y="5302250"/>
              <a:ext cx="4258804"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3986398" y="5175250"/>
              <a:ext cx="7465635" cy="0"/>
            </a:xfrm>
            <a:prstGeom prst="line">
              <a:avLst/>
            </a:prstGeom>
            <a:ln w="9525"/>
          </p:spPr>
          <p:style>
            <a:lnRef idx="1">
              <a:schemeClr val="accent1"/>
            </a:lnRef>
            <a:fillRef idx="0">
              <a:schemeClr val="accent1"/>
            </a:fillRef>
            <a:effectRef idx="0">
              <a:schemeClr val="accent1"/>
            </a:effectRef>
            <a:fontRef idx="minor">
              <a:schemeClr val="tx1"/>
            </a:fontRef>
          </p:style>
        </p:cxnSp>
      </p:grpSp>
      <p:sp>
        <p:nvSpPr>
          <p:cNvPr id="9" name="矩形: 圆角 8"/>
          <p:cNvSpPr/>
          <p:nvPr/>
        </p:nvSpPr>
        <p:spPr>
          <a:xfrm rot="5400000">
            <a:off x="6665913" y="-1068387"/>
            <a:ext cx="468313" cy="69802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accent1"/>
              </a:solidFill>
              <a:latin typeface="Pfizer Tomorrow" charset="0"/>
              <a:ea typeface="微软雅黑" panose="020B0503020204020204" charset="-122"/>
              <a:sym typeface="Pfizer Tomorrow" charset="0"/>
            </a:endParaRPr>
          </a:p>
        </p:txBody>
      </p:sp>
      <p:grpSp>
        <p:nvGrpSpPr>
          <p:cNvPr id="79880" name="组合 15"/>
          <p:cNvGrpSpPr/>
          <p:nvPr/>
        </p:nvGrpSpPr>
        <p:grpSpPr>
          <a:xfrm>
            <a:off x="1027113" y="1577975"/>
            <a:ext cx="3022600" cy="3981450"/>
            <a:chOff x="739968" y="1281737"/>
            <a:chExt cx="3316996" cy="4368381"/>
          </a:xfrm>
        </p:grpSpPr>
        <p:sp>
          <p:nvSpPr>
            <p:cNvPr id="8" name="矩形: 圆角 7"/>
            <p:cNvSpPr/>
            <p:nvPr/>
          </p:nvSpPr>
          <p:spPr>
            <a:xfrm>
              <a:off x="739968" y="1281737"/>
              <a:ext cx="3225409" cy="4270336"/>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5" name="矩形: 圆角 4"/>
            <p:cNvSpPr/>
            <p:nvPr/>
          </p:nvSpPr>
          <p:spPr>
            <a:xfrm>
              <a:off x="831555" y="1379782"/>
              <a:ext cx="3225409" cy="4270336"/>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a:outerShdw blurRad="50800" dist="38100" dir="2700000" algn="tl" rotWithShape="0">
                <a:prstClr val="black">
                  <a:alpha val="40000"/>
                </a:prstClr>
              </a:outerShdw>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pic>
          <p:nvPicPr>
            <p:cNvPr id="79883" name="图片 6"/>
            <p:cNvPicPr>
              <a:picLocks noChangeAspect="1"/>
            </p:cNvPicPr>
            <p:nvPr/>
          </p:nvPicPr>
          <p:blipFill>
            <a:blip r:embed="rId1"/>
            <a:srcRect l="1810" t="774" b="2"/>
            <a:stretch>
              <a:fillRect/>
            </a:stretch>
          </p:blipFill>
          <p:spPr>
            <a:xfrm>
              <a:off x="944161" y="1458394"/>
              <a:ext cx="3000196" cy="4113112"/>
            </a:xfrm>
            <a:prstGeom prst="rect">
              <a:avLst/>
            </a:prstGeom>
            <a:noFill/>
            <a:ln w="9525">
              <a:noFill/>
            </a:ln>
          </p:spPr>
        </p:pic>
      </p:grpSp>
      <p:sp>
        <p:nvSpPr>
          <p:cNvPr id="79884" name="文本框 11"/>
          <p:cNvSpPr txBox="1"/>
          <p:nvPr/>
        </p:nvSpPr>
        <p:spPr>
          <a:xfrm>
            <a:off x="4211638" y="2236788"/>
            <a:ext cx="5954712" cy="368300"/>
          </a:xfrm>
          <a:prstGeom prst="rect">
            <a:avLst/>
          </a:prstGeom>
          <a:noFill/>
          <a:ln w="9525">
            <a:noFill/>
          </a:ln>
        </p:spPr>
        <p:txBody>
          <a:bodyPr wrap="none" anchor="t" anchorCtr="0">
            <a:spAutoFit/>
          </a:bodyPr>
          <a:p>
            <a:r>
              <a:rPr lang="zh-CN" altLang="en-US" b="1" dirty="0">
                <a:solidFill>
                  <a:schemeClr val="accent1"/>
                </a:solidFill>
                <a:latin typeface="Pfizer Tomorrow" charset="0"/>
                <a:ea typeface="微软雅黑" panose="020B0503020204020204" charset="-122"/>
                <a:sym typeface="Pfizer Tomorrow" charset="0"/>
              </a:rPr>
              <a:t>中国碳青霉烯耐药肠杆菌科细菌感染诊治与防控专家共识</a:t>
            </a:r>
            <a:endParaRPr lang="zh-CN" altLang="en-US" b="1" dirty="0">
              <a:solidFill>
                <a:schemeClr val="accent1"/>
              </a:solidFill>
              <a:latin typeface="Pfizer Tomorrow" charset="0"/>
              <a:ea typeface="微软雅黑" panose="020B0503020204020204" charset="-122"/>
              <a:sym typeface="Pfizer Tomorrow" charset="0"/>
            </a:endParaRPr>
          </a:p>
        </p:txBody>
      </p:sp>
      <p:sp>
        <p:nvSpPr>
          <p:cNvPr id="79885" name="文本框 13"/>
          <p:cNvSpPr txBox="1"/>
          <p:nvPr/>
        </p:nvSpPr>
        <p:spPr>
          <a:xfrm>
            <a:off x="4170363" y="2868613"/>
            <a:ext cx="6556375" cy="1662112"/>
          </a:xfrm>
          <a:prstGeom prst="rect">
            <a:avLst/>
          </a:prstGeom>
          <a:noFill/>
          <a:ln w="9525">
            <a:noFill/>
          </a:ln>
        </p:spPr>
        <p:txBody>
          <a:bodyPr wrap="square" anchor="t" anchorCtr="0">
            <a:spAutoFit/>
          </a:bodyPr>
          <a:p>
            <a:pPr marL="285750" indent="-285750">
              <a:lnSpc>
                <a:spcPct val="130000"/>
              </a:lnSpc>
              <a:buFont typeface="Arial" panose="020B0604020202090204" pitchFamily="34" charset="0"/>
              <a:buChar char="•"/>
            </a:pPr>
            <a:r>
              <a:rPr lang="zh-CN" altLang="en-US" sz="1600" dirty="0">
                <a:solidFill>
                  <a:srgbClr val="404040"/>
                </a:solidFill>
                <a:latin typeface="Pfizer Tomorrow" charset="0"/>
                <a:ea typeface="微软雅黑" panose="020B0503020204020204" charset="-122"/>
                <a:sym typeface="Pfizer Tomorrow" charset="0"/>
              </a:rPr>
              <a:t>氨曲南是治疗革兰阴性杆菌感染的单环类 </a:t>
            </a:r>
            <a:r>
              <a:rPr lang="en-US" altLang="zh-CN" sz="1600" dirty="0">
                <a:solidFill>
                  <a:srgbClr val="404040"/>
                </a:solidFill>
                <a:latin typeface="Pfizer Tomorrow" charset="0"/>
                <a:ea typeface="微软雅黑" panose="020B0503020204020204" charset="-122"/>
                <a:sym typeface="Pfizer Tomorrow" charset="0"/>
              </a:rPr>
              <a:t>β‑</a:t>
            </a:r>
            <a:r>
              <a:rPr lang="zh-CN" altLang="en-US" sz="1600" dirty="0">
                <a:solidFill>
                  <a:srgbClr val="404040"/>
                </a:solidFill>
                <a:latin typeface="Pfizer Tomorrow" charset="0"/>
                <a:ea typeface="微软雅黑" panose="020B0503020204020204" charset="-122"/>
                <a:sym typeface="Pfizer Tomorrow" charset="0"/>
              </a:rPr>
              <a:t>内酰胺类抗生素，对金属酶稳定，与阿维巴坦联合后对产 </a:t>
            </a:r>
            <a:r>
              <a:rPr lang="en-US" altLang="zh-CN" sz="1600" dirty="0">
                <a:solidFill>
                  <a:srgbClr val="404040"/>
                </a:solidFill>
                <a:latin typeface="Pfizer Tomorrow" charset="0"/>
                <a:ea typeface="微软雅黑" panose="020B0503020204020204" charset="-122"/>
                <a:sym typeface="Pfizer Tomorrow" charset="0"/>
              </a:rPr>
              <a:t>A </a:t>
            </a:r>
            <a:r>
              <a:rPr lang="zh-CN" altLang="en-US" sz="1600" dirty="0">
                <a:solidFill>
                  <a:srgbClr val="404040"/>
                </a:solidFill>
                <a:latin typeface="Pfizer Tomorrow" charset="0"/>
                <a:ea typeface="微软雅黑" panose="020B0503020204020204" charset="-122"/>
                <a:sym typeface="Pfizer Tomorrow" charset="0"/>
              </a:rPr>
              <a:t>类、</a:t>
            </a:r>
            <a:r>
              <a:rPr lang="en-US" altLang="zh-CN" sz="1600" dirty="0">
                <a:solidFill>
                  <a:srgbClr val="404040"/>
                </a:solidFill>
                <a:latin typeface="Pfizer Tomorrow" charset="0"/>
                <a:ea typeface="微软雅黑" panose="020B0503020204020204" charset="-122"/>
                <a:sym typeface="Pfizer Tomorrow" charset="0"/>
              </a:rPr>
              <a:t>B </a:t>
            </a:r>
            <a:r>
              <a:rPr lang="zh-CN" altLang="en-US" sz="1600" dirty="0">
                <a:solidFill>
                  <a:srgbClr val="404040"/>
                </a:solidFill>
                <a:latin typeface="Pfizer Tomorrow" charset="0"/>
                <a:ea typeface="微软雅黑" panose="020B0503020204020204" charset="-122"/>
                <a:sym typeface="Pfizer Tomorrow" charset="0"/>
              </a:rPr>
              <a:t>类以及 </a:t>
            </a:r>
            <a:r>
              <a:rPr lang="en-US" altLang="zh-CN" sz="1600" dirty="0">
                <a:solidFill>
                  <a:srgbClr val="404040"/>
                </a:solidFill>
                <a:latin typeface="Pfizer Tomorrow" charset="0"/>
                <a:ea typeface="微软雅黑" panose="020B0503020204020204" charset="-122"/>
                <a:sym typeface="Pfizer Tomorrow" charset="0"/>
              </a:rPr>
              <a:t>C </a:t>
            </a:r>
            <a:r>
              <a:rPr lang="zh-CN" altLang="en-US" sz="1600" dirty="0">
                <a:solidFill>
                  <a:srgbClr val="404040"/>
                </a:solidFill>
                <a:latin typeface="Pfizer Tomorrow" charset="0"/>
                <a:ea typeface="微软雅黑" panose="020B0503020204020204" charset="-122"/>
                <a:sym typeface="Pfizer Tomorrow" charset="0"/>
              </a:rPr>
              <a:t>类 </a:t>
            </a:r>
            <a:r>
              <a:rPr lang="en-US" altLang="zh-CN" sz="1600" dirty="0">
                <a:solidFill>
                  <a:srgbClr val="404040"/>
                </a:solidFill>
                <a:latin typeface="Pfizer Tomorrow" charset="0"/>
                <a:ea typeface="微软雅黑" panose="020B0503020204020204" charset="-122"/>
                <a:sym typeface="Pfizer Tomorrow" charset="0"/>
              </a:rPr>
              <a:t>β‑</a:t>
            </a:r>
            <a:r>
              <a:rPr lang="zh-CN" altLang="en-US" sz="1600" dirty="0">
                <a:solidFill>
                  <a:srgbClr val="404040"/>
                </a:solidFill>
                <a:latin typeface="Pfizer Tomorrow" charset="0"/>
                <a:ea typeface="微软雅黑" panose="020B0503020204020204" charset="-122"/>
                <a:sym typeface="Pfizer Tomorrow" charset="0"/>
              </a:rPr>
              <a:t>内酰胺酶的肠杆菌目细菌均显示一定的抗菌活性</a:t>
            </a:r>
            <a:endParaRPr lang="en-US" altLang="zh-CN" sz="1600" dirty="0">
              <a:solidFill>
                <a:srgbClr val="404040"/>
              </a:solidFill>
              <a:latin typeface="Pfizer Tomorrow" charset="0"/>
              <a:ea typeface="微软雅黑" panose="020B0503020204020204" charset="-122"/>
              <a:sym typeface="Pfizer Tomorrow" charset="0"/>
            </a:endParaRPr>
          </a:p>
          <a:p>
            <a:pPr marL="285750" indent="-285750">
              <a:lnSpc>
                <a:spcPct val="130000"/>
              </a:lnSpc>
              <a:buFont typeface="Arial" panose="020B0604020202090204" pitchFamily="34" charset="0"/>
              <a:buChar char="•"/>
            </a:pPr>
            <a:r>
              <a:rPr lang="zh-CN" altLang="en-US" sz="1600" dirty="0">
                <a:solidFill>
                  <a:srgbClr val="404040"/>
                </a:solidFill>
                <a:latin typeface="Pfizer Tomorrow" charset="0"/>
                <a:ea typeface="微软雅黑" panose="020B0503020204020204" charset="-122"/>
                <a:sym typeface="Pfizer Tomorrow" charset="0"/>
              </a:rPr>
              <a:t>根据金属酶不水解氨曲南的特点，</a:t>
            </a:r>
            <a:r>
              <a:rPr lang="zh-CN" altLang="en-US" sz="1600" b="1" dirty="0">
                <a:solidFill>
                  <a:schemeClr val="accent1"/>
                </a:solidFill>
                <a:latin typeface="Pfizer Tomorrow" charset="0"/>
                <a:ea typeface="微软雅黑" panose="020B0503020204020204" charset="-122"/>
                <a:sym typeface="Pfizer Tomorrow" charset="0"/>
              </a:rPr>
              <a:t>对产金属酶的</a:t>
            </a:r>
            <a:r>
              <a:rPr lang="en-US" altLang="zh-CN" sz="1600" b="1" dirty="0">
                <a:solidFill>
                  <a:schemeClr val="accent1"/>
                </a:solidFill>
                <a:latin typeface="Pfizer Tomorrow" charset="0"/>
                <a:ea typeface="微软雅黑" panose="020B0503020204020204" charset="-122"/>
                <a:sym typeface="Pfizer Tomorrow" charset="0"/>
              </a:rPr>
              <a:t>CRE</a:t>
            </a:r>
            <a:r>
              <a:rPr lang="zh-CN" altLang="en-US" sz="1600" b="1" dirty="0">
                <a:solidFill>
                  <a:schemeClr val="accent1"/>
                </a:solidFill>
                <a:latin typeface="Pfizer Tomorrow" charset="0"/>
                <a:ea typeface="微软雅黑" panose="020B0503020204020204" charset="-122"/>
                <a:sym typeface="Pfizer Tomorrow" charset="0"/>
              </a:rPr>
              <a:t>感染可以使用氨曲南</a:t>
            </a:r>
            <a:r>
              <a:rPr lang="en-US" altLang="zh-CN" sz="1600" b="1" dirty="0">
                <a:solidFill>
                  <a:schemeClr val="accent1"/>
                </a:solidFill>
                <a:latin typeface="Pfizer Tomorrow" charset="0"/>
                <a:ea typeface="微软雅黑" panose="020B0503020204020204" charset="-122"/>
                <a:sym typeface="Pfizer Tomorrow" charset="0"/>
              </a:rPr>
              <a:t>-</a:t>
            </a:r>
            <a:r>
              <a:rPr lang="zh-CN" altLang="en-US" sz="1600" b="1" dirty="0">
                <a:solidFill>
                  <a:schemeClr val="accent1"/>
                </a:solidFill>
                <a:latin typeface="Pfizer Tomorrow" charset="0"/>
                <a:ea typeface="微软雅黑" panose="020B0503020204020204" charset="-122"/>
                <a:sym typeface="Pfizer Tomorrow" charset="0"/>
              </a:rPr>
              <a:t>阿维巴坦等酶抑制剂复方制剂</a:t>
            </a:r>
            <a:endParaRPr lang="zh-CN" altLang="en-US" sz="1600" b="1" dirty="0">
              <a:solidFill>
                <a:schemeClr val="accent1"/>
              </a:solidFill>
              <a:latin typeface="Pfizer Tomorrow" charset="0"/>
              <a:ea typeface="微软雅黑" panose="020B0503020204020204" charset="-122"/>
              <a:sym typeface="Pfizer Tomorrow" charset="0"/>
            </a:endParaRPr>
          </a:p>
        </p:txBody>
      </p:sp>
      <p:sp>
        <p:nvSpPr>
          <p:cNvPr id="18" name="文本框 17"/>
          <p:cNvSpPr txBox="1"/>
          <p:nvPr/>
        </p:nvSpPr>
        <p:spPr>
          <a:xfrm>
            <a:off x="4216400" y="5221288"/>
            <a:ext cx="9115425" cy="261938"/>
          </a:xfrm>
          <a:prstGeom prst="rect">
            <a:avLst/>
          </a:prstGeom>
          <a:noFill/>
        </p:spPr>
        <p:txBody>
          <a:bodyPr wrap="square">
            <a:spAutoFit/>
          </a:bodyPr>
          <a:lstStyle/>
          <a:p>
            <a:pPr fontAlgn="auto"/>
            <a:r>
              <a:rPr kumimoji="0" lang="en-US" altLang="zh-CN" sz="1100" b="0" i="0" kern="1200" cap="none" spc="0" normalizeH="0" baseline="0" noProof="0" dirty="0" err="1">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MBL</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金属</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β-</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内酰胺酶；</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CRE</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碳青霉烯类耐药肠杆菌科细菌</a:t>
            </a:r>
            <a:endParaRPr lang="zh-CN" altLang="en-US" sz="1100" noProof="1" dirty="0">
              <a:solidFill>
                <a:schemeClr val="tx1">
                  <a:lumMod val="65000"/>
                  <a:lumOff val="35000"/>
                </a:schemeClr>
              </a:solidFill>
              <a:latin typeface="Pfizer Tomorrow" charset="0"/>
              <a:ea typeface="微软雅黑" panose="020B0503020204020204" charset="-122"/>
              <a:sym typeface="Pfizer Tomorrow" charset="0"/>
            </a:endParaRPr>
          </a:p>
        </p:txBody>
      </p:sp>
      <p:grpSp>
        <p:nvGrpSpPr>
          <p:cNvPr id="79887" name="组合 2"/>
          <p:cNvGrpSpPr/>
          <p:nvPr/>
        </p:nvGrpSpPr>
        <p:grpSpPr>
          <a:xfrm rot="-642761">
            <a:off x="633413" y="1471613"/>
            <a:ext cx="1158875"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7" name="文本框 16"/>
            <p:cNvSpPr txBox="1"/>
            <p:nvPr/>
          </p:nvSpPr>
          <p:spPr>
            <a:xfrm rot="21186084">
              <a:off x="872051" y="5124105"/>
              <a:ext cx="1158467" cy="307777"/>
            </a:xfrm>
            <a:prstGeom prst="rect">
              <a:avLst/>
            </a:prstGeom>
            <a:noFill/>
          </p:spPr>
          <p:txBody>
            <a:bodyPr wrap="square">
              <a:spAutoFit/>
            </a:bodyPr>
            <a:p>
              <a:pPr algn="ctr" defTabSz="914400">
                <a:buNone/>
              </a:pPr>
              <a:r>
                <a:rPr lang="zh-CN" altLang="en-US" sz="1400" b="1" dirty="0">
                  <a:solidFill>
                    <a:srgbClr val="FFFFFF"/>
                  </a:solidFill>
                  <a:latin typeface="Arial" panose="020B0604020202090204" pitchFamily="34" charset="0"/>
                  <a:ea typeface="微软雅黑" panose="020B0503020204020204" charset="-122"/>
                  <a:sym typeface="Arial" panose="020B0604020202090204" pitchFamily="34" charset="0"/>
                </a:rPr>
                <a:t>高</a:t>
              </a:r>
              <a:r>
                <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rPr>
                <a:t>推荐</a:t>
              </a:r>
              <a:endPar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21" name="标题 1"/>
          <p:cNvSpPr>
            <a:spLocks noGrp="1"/>
          </p:cNvSpPr>
          <p:nvPr>
            <p:ph type="title"/>
          </p:nvPr>
        </p:nvSpPr>
        <p:spPr>
          <a:xfrm>
            <a:off x="611505" y="324485"/>
            <a:ext cx="10742295" cy="829945"/>
          </a:xfrm>
        </p:spPr>
        <p:txBody>
          <a:bodyPr wrap="square" lIns="91440" tIns="45720" rIns="91440" bIns="45720" anchor="b" anchorCtr="0">
            <a:spAutoFit/>
          </a:bodyPr>
          <a:p>
            <a:pPr algn="ctr" defTabSz="914400">
              <a:buClrTx/>
              <a:buSzTx/>
              <a:buFontTx/>
              <a:buNone/>
            </a:pPr>
            <a:r>
              <a:rPr lang="zh-CN" altLang="en-US" sz="2400" b="1" kern="1200" dirty="0">
                <a:solidFill>
                  <a:srgbClr val="000D45"/>
                </a:solidFill>
                <a:latin typeface="Pfizer Tomorrow" charset="0"/>
                <a:ea typeface="微软雅黑" panose="020B0503020204020204" charset="-122"/>
                <a:cs typeface="+mj-cs"/>
                <a:sym typeface="Pfizer Tomorrow" charset="0"/>
              </a:rPr>
              <a:t>指南共识：2025新版《细菌药物敏感试验执行标准和典型报告解读（第三版）》</a:t>
            </a:r>
            <a:br>
              <a:rPr lang="zh-CN" altLang="en-US" sz="2400"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推荐</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是</a:t>
            </a:r>
            <a:r>
              <a:rPr lang="en-US" altLang="zh-CN" b="1" kern="1200" dirty="0">
                <a:solidFill>
                  <a:srgbClr val="000D45"/>
                </a:solidFill>
                <a:latin typeface="Pfizer Tomorrow" charset="0"/>
                <a:ea typeface="微软雅黑" panose="020B0503020204020204" charset="-122"/>
                <a:cs typeface="+mj-cs"/>
                <a:sym typeface="Pfizer Tomorrow" charset="0"/>
              </a:rPr>
              <a:t>MBL-</a:t>
            </a:r>
            <a:r>
              <a:rPr lang="zh-CN" altLang="en-US" b="1" kern="1200" dirty="0">
                <a:solidFill>
                  <a:srgbClr val="000D45"/>
                </a:solidFill>
                <a:latin typeface="Pfizer Tomorrow" charset="0"/>
                <a:ea typeface="微软雅黑" panose="020B0503020204020204" charset="-122"/>
                <a:cs typeface="+mj-cs"/>
                <a:sym typeface="Pfizer Tomorrow" charset="0"/>
              </a:rPr>
              <a:t>CRE治疗的一线首选</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81922" name="文本框 6"/>
          <p:cNvSpPr txBox="1"/>
          <p:nvPr/>
        </p:nvSpPr>
        <p:spPr>
          <a:xfrm>
            <a:off x="419100" y="1476375"/>
            <a:ext cx="11320463" cy="698500"/>
          </a:xfrm>
          <a:prstGeom prst="rect">
            <a:avLst/>
          </a:prstGeom>
          <a:solidFill>
            <a:srgbClr val="F2F2F2"/>
          </a:solidFill>
          <a:ln w="9525">
            <a:noFill/>
          </a:ln>
        </p:spPr>
        <p:txBody>
          <a:bodyPr wrap="square" anchor="t" anchorCtr="0">
            <a:spAutoFit/>
          </a:bodyPr>
          <a:p>
            <a:pPr marL="179705" indent="-179705">
              <a:lnSpc>
                <a:spcPct val="150000"/>
              </a:lnSpc>
              <a:buFont typeface="Arial" panose="020B0604020202090204" pitchFamily="34" charset="0"/>
              <a:buChar char="•"/>
            </a:pPr>
            <a:r>
              <a:rPr lang="zh-CN" altLang="en-US" sz="1400" dirty="0">
                <a:solidFill>
                  <a:srgbClr val="404040"/>
                </a:solidFill>
                <a:latin typeface="Pfizer Tomorrow" charset="0"/>
                <a:ea typeface="微软雅黑" panose="020B0503020204020204" charset="-122"/>
                <a:sym typeface="Pfizer Tomorrow" charset="0"/>
              </a:rPr>
              <a:t>推荐</a:t>
            </a:r>
            <a:r>
              <a:rPr lang="zh-CN" altLang="en-US" sz="1400" b="1" dirty="0">
                <a:solidFill>
                  <a:srgbClr val="000D45"/>
                </a:solidFill>
                <a:latin typeface="Pfizer Tomorrow" charset="0"/>
                <a:ea typeface="微软雅黑" panose="020B0503020204020204" charset="-122"/>
                <a:sym typeface="Pfizer Tomorrow" charset="0"/>
              </a:rPr>
              <a:t>氨曲南</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阿维巴坦用于产</a:t>
            </a:r>
            <a:r>
              <a:rPr lang="en-US" altLang="zh-CN" sz="1400" b="1" dirty="0" err="1">
                <a:solidFill>
                  <a:srgbClr val="000D45"/>
                </a:solidFill>
                <a:latin typeface="Pfizer Tomorrow" charset="0"/>
                <a:ea typeface="微软雅黑" panose="020B0503020204020204" charset="-122"/>
                <a:sym typeface="Pfizer Tomorrow" charset="0"/>
              </a:rPr>
              <a:t>MBL</a:t>
            </a:r>
            <a:r>
              <a:rPr lang="zh-CN" altLang="en-US" sz="1400" b="1" dirty="0">
                <a:solidFill>
                  <a:srgbClr val="000D45"/>
                </a:solidFill>
                <a:latin typeface="Pfizer Tomorrow" charset="0"/>
                <a:ea typeface="微软雅黑" panose="020B0503020204020204" charset="-122"/>
                <a:sym typeface="Pfizer Tomorrow" charset="0"/>
              </a:rPr>
              <a:t>酶的肠杆菌目细菌</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包括大肠埃希菌、克雷伯菌属等</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的一线治疗</a:t>
            </a:r>
            <a:r>
              <a:rPr lang="zh-CN" altLang="en-US" sz="1400" dirty="0">
                <a:solidFill>
                  <a:srgbClr val="404040"/>
                </a:solidFill>
                <a:latin typeface="Pfizer Tomorrow" charset="0"/>
                <a:ea typeface="微软雅黑" panose="020B0503020204020204" charset="-122"/>
                <a:sym typeface="Pfizer Tomorrow" charset="0"/>
              </a:rPr>
              <a:t>，强调其作为国内首个可单药治疗产金属酶</a:t>
            </a:r>
            <a:r>
              <a:rPr lang="en-US" altLang="zh-CN" sz="1400" dirty="0">
                <a:solidFill>
                  <a:srgbClr val="404040"/>
                </a:solidFill>
                <a:latin typeface="Pfizer Tomorrow" charset="0"/>
                <a:ea typeface="微软雅黑" panose="020B0503020204020204" charset="-122"/>
                <a:sym typeface="Pfizer Tomorrow" charset="0"/>
              </a:rPr>
              <a:t>CRE</a:t>
            </a:r>
            <a:r>
              <a:rPr lang="zh-CN" altLang="en-US" sz="1400" dirty="0">
                <a:solidFill>
                  <a:srgbClr val="404040"/>
                </a:solidFill>
                <a:latin typeface="Pfizer Tomorrow" charset="0"/>
                <a:ea typeface="微软雅黑" panose="020B0503020204020204" charset="-122"/>
                <a:sym typeface="Pfizer Tomorrow" charset="0"/>
              </a:rPr>
              <a:t>的新型</a:t>
            </a:r>
            <a:r>
              <a:rPr lang="en-US" altLang="zh-CN" sz="1400" dirty="0">
                <a:solidFill>
                  <a:srgbClr val="404040"/>
                </a:solidFill>
                <a:latin typeface="Pfizer Tomorrow" charset="0"/>
                <a:ea typeface="微软雅黑" panose="020B0503020204020204" charset="-122"/>
                <a:sym typeface="Pfizer Tomorrow" charset="0"/>
              </a:rPr>
              <a:t>β-</a:t>
            </a:r>
            <a:r>
              <a:rPr lang="zh-CN" altLang="en-US" sz="1400" dirty="0">
                <a:solidFill>
                  <a:srgbClr val="404040"/>
                </a:solidFill>
                <a:latin typeface="Pfizer Tomorrow" charset="0"/>
                <a:ea typeface="微软雅黑" panose="020B0503020204020204" charset="-122"/>
                <a:sym typeface="Pfizer Tomorrow" charset="0"/>
              </a:rPr>
              <a:t>内酰胺酶抑制剂复方制剂的临床价值</a:t>
            </a:r>
            <a:endParaRPr lang="en-US" altLang="zh-CN" sz="1400" dirty="0">
              <a:solidFill>
                <a:srgbClr val="404040"/>
              </a:solidFill>
              <a:latin typeface="Pfizer Tomorrow" charset="0"/>
              <a:ea typeface="微软雅黑" panose="020B0503020204020204" charset="-122"/>
              <a:sym typeface="Pfizer Tomorrow" charset="0"/>
            </a:endParaRPr>
          </a:p>
        </p:txBody>
      </p:sp>
      <p:sp>
        <p:nvSpPr>
          <p:cNvPr id="81923" name="文本框 9"/>
          <p:cNvSpPr txBox="1"/>
          <p:nvPr/>
        </p:nvSpPr>
        <p:spPr>
          <a:xfrm>
            <a:off x="611188" y="6542088"/>
            <a:ext cx="8105775" cy="215900"/>
          </a:xfrm>
          <a:prstGeom prst="rect">
            <a:avLst/>
          </a:prstGeom>
          <a:noFill/>
          <a:ln w="9525">
            <a:noFill/>
          </a:ln>
        </p:spPr>
        <p:txBody>
          <a:bodyPr wrap="square" anchor="t" anchorCtr="0">
            <a:spAutoFit/>
          </a:bodyPr>
          <a:p>
            <a:r>
              <a:rPr lang="zh-CN" altLang="en-US" sz="800" dirty="0">
                <a:latin typeface="Pfizer Tomorrow" charset="0"/>
                <a:ea typeface="微软雅黑" panose="020B0503020204020204" charset="-122"/>
                <a:sym typeface="Pfizer Tomorrow" charset="0"/>
              </a:rPr>
              <a:t>胡付品</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细菌药物敏感试验执行标准和典型报告解读（第三版）</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上海：上海科学技术出版社</a:t>
            </a:r>
            <a:r>
              <a:rPr lang="en-US" altLang="zh-CN" sz="800" dirty="0">
                <a:latin typeface="Pfizer Tomorrow" charset="0"/>
                <a:ea typeface="微软雅黑" panose="020B0503020204020204" charset="-122"/>
                <a:sym typeface="Pfizer Tomorrow" charset="0"/>
              </a:rPr>
              <a:t>[M], 2025.</a:t>
            </a:r>
            <a:endParaRPr lang="zh-CN" altLang="en-US" sz="800" dirty="0">
              <a:latin typeface="Pfizer Tomorrow" charset="0"/>
              <a:ea typeface="微软雅黑" panose="020B0503020204020204" charset="-122"/>
              <a:sym typeface="Pfizer Tomorrow" charset="0"/>
            </a:endParaRPr>
          </a:p>
        </p:txBody>
      </p:sp>
      <p:sp>
        <p:nvSpPr>
          <p:cNvPr id="81924" name="文本框 13"/>
          <p:cNvSpPr txBox="1"/>
          <p:nvPr/>
        </p:nvSpPr>
        <p:spPr>
          <a:xfrm>
            <a:off x="2503488" y="5941060"/>
            <a:ext cx="6140450" cy="431800"/>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Iv</a:t>
            </a:r>
            <a:r>
              <a:rPr lang="zh-CN" altLang="en-US" sz="1100" dirty="0">
                <a:solidFill>
                  <a:srgbClr val="595959"/>
                </a:solidFill>
                <a:latin typeface="Pfizer Tomorrow" charset="0"/>
                <a:ea typeface="微软雅黑" panose="020B0503020204020204" charset="-122"/>
                <a:sym typeface="Pfizer Tomorrow" charset="0"/>
              </a:rPr>
              <a:t>：静脉注射；</a:t>
            </a:r>
            <a:r>
              <a:rPr lang="en-US" altLang="zh-CN" sz="1100" dirty="0">
                <a:solidFill>
                  <a:srgbClr val="595959"/>
                </a:solidFill>
                <a:latin typeface="Pfizer Tomorrow" charset="0"/>
                <a:ea typeface="微软雅黑" panose="020B0503020204020204" charset="-122"/>
                <a:sym typeface="Pfizer Tomorrow" charset="0"/>
              </a:rPr>
              <a:t>po</a:t>
            </a:r>
            <a:r>
              <a:rPr lang="zh-CN" altLang="en-US" sz="1100" dirty="0">
                <a:solidFill>
                  <a:srgbClr val="595959"/>
                </a:solidFill>
                <a:latin typeface="Pfizer Tomorrow" charset="0"/>
                <a:ea typeface="微软雅黑" panose="020B0503020204020204" charset="-122"/>
                <a:sym typeface="Pfizer Tomorrow" charset="0"/>
              </a:rPr>
              <a:t>：口服</a:t>
            </a:r>
            <a:endParaRPr lang="en-US" altLang="zh-CN" sz="1100" dirty="0">
              <a:solidFill>
                <a:srgbClr val="595959"/>
              </a:solidFill>
              <a:latin typeface="Pfizer Tomorrow" charset="0"/>
              <a:ea typeface="微软雅黑" panose="020B0503020204020204" charset="-122"/>
              <a:sym typeface="Pfizer Tomorrow" charset="0"/>
            </a:endParaRPr>
          </a:p>
          <a:p>
            <a:r>
              <a:rPr lang="zh-CN" altLang="en-US" sz="1100" dirty="0">
                <a:solidFill>
                  <a:srgbClr val="595959"/>
                </a:solidFill>
                <a:latin typeface="Pfizer Tomorrow" charset="0"/>
                <a:ea typeface="微软雅黑" panose="020B0503020204020204" charset="-122"/>
                <a:sym typeface="Pfizer Tomorrow" charset="0"/>
              </a:rPr>
              <a:t>*该产品尚未在中国⼤陆上市，相关信息来源于科学⽂献，仅供学术探讨</a:t>
            </a:r>
            <a:endParaRPr lang="en-US" altLang="zh-CN" sz="1100" dirty="0">
              <a:solidFill>
                <a:srgbClr val="595959"/>
              </a:solidFill>
              <a:latin typeface="Pfizer Tomorrow" charset="0"/>
              <a:ea typeface="微软雅黑" panose="020B0503020204020204" charset="-122"/>
              <a:sym typeface="Pfizer Tomorrow" charset="0"/>
            </a:endParaRPr>
          </a:p>
        </p:txBody>
      </p:sp>
      <p:pic>
        <p:nvPicPr>
          <p:cNvPr id="81925" name="图片 5"/>
          <p:cNvPicPr>
            <a:picLocks noChangeAspect="1"/>
          </p:cNvPicPr>
          <p:nvPr/>
        </p:nvPicPr>
        <p:blipFill>
          <a:blip r:embed="rId1"/>
          <a:stretch>
            <a:fillRect/>
          </a:stretch>
        </p:blipFill>
        <p:spPr>
          <a:xfrm>
            <a:off x="533400" y="2808288"/>
            <a:ext cx="1887538" cy="2606675"/>
          </a:xfrm>
          <a:prstGeom prst="rect">
            <a:avLst/>
          </a:prstGeom>
          <a:noFill/>
          <a:ln w="9525">
            <a:noFill/>
          </a:ln>
        </p:spPr>
      </p:pic>
      <p:graphicFrame>
        <p:nvGraphicFramePr>
          <p:cNvPr id="8" name="表格 7"/>
          <p:cNvGraphicFramePr>
            <a:graphicFrameLocks noGrp="1"/>
          </p:cNvGraphicFramePr>
          <p:nvPr/>
        </p:nvGraphicFramePr>
        <p:xfrm>
          <a:off x="2503488" y="2365375"/>
          <a:ext cx="9236075" cy="3503115"/>
        </p:xfrm>
        <a:graphic>
          <a:graphicData uri="http://schemas.openxmlformats.org/drawingml/2006/table">
            <a:tbl>
              <a:tblPr firstRow="1" bandRow="1"/>
              <a:tblGrid>
                <a:gridCol w="2589894"/>
                <a:gridCol w="6646026"/>
              </a:tblGrid>
              <a:tr h="408933">
                <a:tc grid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r>
                        <a:rPr lang="zh-CN" altLang="en-US" sz="1400" dirty="0">
                          <a:solidFill>
                            <a:schemeClr val="bg1"/>
                          </a:solidFill>
                          <a:latin typeface="+mn-lt"/>
                          <a:ea typeface="+mn-ea"/>
                          <a:cs typeface="+mn-ea"/>
                          <a:sym typeface="+mn-lt"/>
                        </a:rPr>
                        <a:t>肠杆菌目和嗜麦芽窄食单胞菌感染治疗方案推荐</a:t>
                      </a:r>
                      <a:endParaRPr lang="zh-CN" altLang="en-US" sz="1400" dirty="0">
                        <a:solidFill>
                          <a:schemeClr val="bg1"/>
                        </a:solidFill>
                        <a:latin typeface="+mn-lt"/>
                        <a:ea typeface="+mn-ea"/>
                        <a:cs typeface="+mn-ea"/>
                        <a:sym typeface="+mn-lt"/>
                      </a:endParaRPr>
                    </a:p>
                  </a:txBody>
                  <a:tcPr marL="0" marR="0" marT="0" marB="0" anchor="ctr">
                    <a:lnL w="3175" cap="flat" cmpd="sng" algn="ctr">
                      <a:solidFill>
                        <a:srgbClr val="000D45"/>
                      </a:solidFill>
                      <a:prstDash val="sysDash"/>
                      <a:round/>
                      <a:headEnd type="none" w="med" len="med"/>
                      <a:tailEnd type="none" w="med" len="med"/>
                    </a:lnL>
                    <a:lnR w="12700" cmpd="sng">
                      <a:noFill/>
                    </a:lnR>
                    <a:lnT w="12700" cmpd="sng">
                      <a:noFill/>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marL="121920" marR="121920" marT="60960" marB="6096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12700" cmpd="sng">
                      <a:noFill/>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r>
              <a:tr h="294835">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感染类别</a:t>
                      </a:r>
                      <a:endParaRPr lang="zh-CN" altLang="en-US" sz="1200" b="1" dirty="0">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a:solidFill>
                            <a:srgbClr val="000D45"/>
                          </a:solidFill>
                          <a:latin typeface="+mn-lt"/>
                          <a:ea typeface="+mn-ea"/>
                          <a:cs typeface="+mn-ea"/>
                          <a:sym typeface="+mn-lt"/>
                        </a:rPr>
                        <a:t>治疗方案及疗程</a:t>
                      </a:r>
                      <a:endParaRPr lang="zh-CN" altLang="en-US" sz="1200" b="1">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r>
              <a:tr h="1266111">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有药敏结果的产金属酶肠杆菌目细菌</a:t>
                      </a:r>
                      <a:br>
                        <a:rPr lang="en-US" altLang="zh-CN" sz="1200" b="1" dirty="0">
                          <a:solidFill>
                            <a:srgbClr val="000D45"/>
                          </a:solidFill>
                          <a:latin typeface="+mn-lt"/>
                          <a:ea typeface="+mn-ea"/>
                          <a:cs typeface="+mn-ea"/>
                          <a:sym typeface="+mn-lt"/>
                        </a:rPr>
                      </a:br>
                      <a:r>
                        <a:rPr lang="en-US" altLang="zh-CN" sz="1100" kern="1200" dirty="0">
                          <a:solidFill>
                            <a:schemeClr val="tx1">
                              <a:lumMod val="75000"/>
                              <a:lumOff val="25000"/>
                            </a:schemeClr>
                          </a:solidFill>
                          <a:latin typeface="+mn-lt"/>
                          <a:ea typeface="+mn-ea"/>
                          <a:cs typeface="+mn-ea"/>
                          <a:sym typeface="+mn-lt"/>
                        </a:rPr>
                        <a:t>(</a:t>
                      </a:r>
                      <a:r>
                        <a:rPr lang="zh-CN" altLang="en-US" sz="1100" kern="1200" dirty="0">
                          <a:solidFill>
                            <a:schemeClr val="tx1">
                              <a:lumMod val="75000"/>
                              <a:lumOff val="25000"/>
                            </a:schemeClr>
                          </a:solidFill>
                          <a:latin typeface="+mn-lt"/>
                          <a:ea typeface="+mn-ea"/>
                          <a:cs typeface="+mn-ea"/>
                          <a:sym typeface="+mn-lt"/>
                        </a:rPr>
                        <a:t>大肠埃希菌、克雷伯菌属、摩根摩根菌、弗劳地柠檬酸杆菌、阴沟肠杆菌复合群、变形杆菌属、黏质沙雷菌</a:t>
                      </a:r>
                      <a:r>
                        <a:rPr lang="en-US" altLang="zh-CN" sz="1100" kern="1200" dirty="0">
                          <a:solidFill>
                            <a:schemeClr val="tx1">
                              <a:lumMod val="75000"/>
                              <a:lumOff val="25000"/>
                            </a:schemeClr>
                          </a:solidFill>
                          <a:latin typeface="+mn-lt"/>
                          <a:ea typeface="+mn-ea"/>
                          <a:cs typeface="+mn-ea"/>
                          <a:sym typeface="+mn-lt"/>
                        </a:rPr>
                        <a:t>)</a:t>
                      </a:r>
                      <a:endParaRPr lang="zh-CN" altLang="en-US" sz="1200" kern="12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sz="1400" b="1" dirty="0">
                          <a:solidFill>
                            <a:srgbClr val="000D45"/>
                          </a:solidFill>
                          <a:latin typeface="+mn-lt"/>
                          <a:ea typeface="+mn-ea"/>
                          <a:cs typeface="+mn-ea"/>
                          <a:sym typeface="+mn-lt"/>
                        </a:rPr>
                        <a:t>首选治疗</a:t>
                      </a:r>
                      <a:r>
                        <a:rPr lang="en-US" altLang="zh-CN" sz="1400" b="1" dirty="0">
                          <a:solidFill>
                            <a:srgbClr val="000D45"/>
                          </a:solidFill>
                          <a:latin typeface="+mn-lt"/>
                          <a:ea typeface="+mn-ea"/>
                          <a:cs typeface="+mn-ea"/>
                          <a:sym typeface="+mn-lt"/>
                        </a:rPr>
                        <a:t>:</a:t>
                      </a:r>
                      <a:br>
                        <a:rPr lang="en-US" altLang="zh-CN" sz="1400" b="1" dirty="0">
                          <a:solidFill>
                            <a:srgbClr val="000D45"/>
                          </a:solidFill>
                          <a:latin typeface="+mn-lt"/>
                          <a:ea typeface="+mn-ea"/>
                          <a:cs typeface="+mn-ea"/>
                          <a:sym typeface="+mn-lt"/>
                        </a:rPr>
                      </a:br>
                      <a:r>
                        <a:rPr lang="en-US" altLang="zh-CN" sz="1400" kern="1200" dirty="0">
                          <a:solidFill>
                            <a:schemeClr val="tx1">
                              <a:lumMod val="75000"/>
                              <a:lumOff val="25000"/>
                            </a:schemeClr>
                          </a:solidFill>
                          <a:latin typeface="+mn-lt"/>
                          <a:ea typeface="+mn-ea"/>
                          <a:cs typeface="+mn-ea"/>
                          <a:sym typeface="+mn-lt"/>
                        </a:rPr>
                        <a:t>1.</a:t>
                      </a:r>
                      <a:r>
                        <a:rPr lang="zh-CN" altLang="en-US" sz="1400" b="1" dirty="0">
                          <a:solidFill>
                            <a:srgbClr val="00C987"/>
                          </a:solidFill>
                          <a:latin typeface="+mn-lt"/>
                          <a:ea typeface="+mn-ea"/>
                          <a:cs typeface="+mn-ea"/>
                          <a:sym typeface="+mn-lt"/>
                        </a:rPr>
                        <a:t>氨曲南</a:t>
                      </a:r>
                      <a:r>
                        <a:rPr lang="en-US" altLang="zh-CN" sz="1400" b="1" dirty="0">
                          <a:solidFill>
                            <a:srgbClr val="00C987"/>
                          </a:solidFill>
                          <a:latin typeface="+mn-lt"/>
                          <a:ea typeface="+mn-ea"/>
                          <a:cs typeface="+mn-ea"/>
                          <a:sym typeface="+mn-lt"/>
                        </a:rPr>
                        <a:t>-</a:t>
                      </a:r>
                      <a:r>
                        <a:rPr lang="zh-CN" altLang="en-US" sz="1400" b="1" dirty="0">
                          <a:solidFill>
                            <a:srgbClr val="00C987"/>
                          </a:solidFill>
                          <a:latin typeface="+mn-lt"/>
                          <a:ea typeface="+mn-ea"/>
                          <a:cs typeface="+mn-ea"/>
                          <a:sym typeface="+mn-lt"/>
                        </a:rPr>
                        <a:t>阿维巴坦</a:t>
                      </a:r>
                      <a:r>
                        <a:rPr lang="zh-CN" altLang="en-US" sz="1400" b="0" dirty="0">
                          <a:solidFill>
                            <a:srgbClr val="000D45"/>
                          </a:solidFill>
                          <a:latin typeface="+mn-lt"/>
                          <a:ea typeface="+mn-ea"/>
                          <a:cs typeface="+mn-ea"/>
                          <a:sym typeface="+mn-lt"/>
                        </a:rPr>
                        <a:t>负荷剂量</a:t>
                      </a:r>
                      <a:r>
                        <a:rPr lang="en-US" altLang="zh-CN" sz="1400" b="0" dirty="0">
                          <a:solidFill>
                            <a:srgbClr val="000D45"/>
                          </a:solidFill>
                          <a:latin typeface="+mn-lt"/>
                          <a:ea typeface="+mn-ea"/>
                          <a:cs typeface="+mn-ea"/>
                          <a:sym typeface="+mn-lt"/>
                        </a:rPr>
                        <a:t>2g/0.67g iv q6h </a:t>
                      </a:r>
                      <a:r>
                        <a:rPr lang="zh-CN" altLang="en-US" sz="1400" b="0" dirty="0">
                          <a:solidFill>
                            <a:srgbClr val="000D45"/>
                          </a:solidFill>
                          <a:latin typeface="+mn-lt"/>
                          <a:ea typeface="+mn-ea"/>
                          <a:cs typeface="+mn-ea"/>
                          <a:sym typeface="+mn-lt"/>
                        </a:rPr>
                        <a:t>维持</a:t>
                      </a:r>
                      <a:r>
                        <a:rPr lang="en-US" altLang="zh-CN" sz="1400" b="0" dirty="0">
                          <a:solidFill>
                            <a:srgbClr val="000D45"/>
                          </a:solidFill>
                          <a:latin typeface="+mn-lt"/>
                          <a:ea typeface="+mn-ea"/>
                          <a:cs typeface="+mn-ea"/>
                          <a:sym typeface="+mn-lt"/>
                        </a:rPr>
                        <a:t>3h</a:t>
                      </a:r>
                      <a:r>
                        <a:rPr lang="zh-CN" altLang="en-US" sz="1400" b="0" dirty="0">
                          <a:solidFill>
                            <a:srgbClr val="000D45"/>
                          </a:solidFill>
                          <a:latin typeface="+mn-lt"/>
                          <a:ea typeface="+mn-ea"/>
                          <a:cs typeface="+mn-ea"/>
                          <a:sym typeface="+mn-lt"/>
                        </a:rPr>
                        <a:t>维持剂量</a:t>
                      </a:r>
                      <a:r>
                        <a:rPr lang="en-US" altLang="zh-CN" sz="1400" b="0" dirty="0">
                          <a:solidFill>
                            <a:srgbClr val="000D45"/>
                          </a:solidFill>
                          <a:latin typeface="+mn-lt"/>
                          <a:ea typeface="+mn-ea"/>
                          <a:cs typeface="+mn-ea"/>
                          <a:sym typeface="+mn-lt"/>
                        </a:rPr>
                        <a:t>1.5g/0.5g iv q6h</a:t>
                      </a:r>
                      <a:r>
                        <a:rPr lang="zh-CN" altLang="en-US" sz="1400" b="0" dirty="0">
                          <a:solidFill>
                            <a:srgbClr val="000D45"/>
                          </a:solidFill>
                          <a:latin typeface="+mn-lt"/>
                          <a:ea typeface="+mn-ea"/>
                          <a:cs typeface="+mn-ea"/>
                          <a:sym typeface="+mn-lt"/>
                        </a:rPr>
                        <a:t>维持</a:t>
                      </a:r>
                      <a:r>
                        <a:rPr lang="en-US" altLang="zh-CN" sz="1400" b="0" dirty="0">
                          <a:solidFill>
                            <a:srgbClr val="000D45"/>
                          </a:solidFill>
                          <a:latin typeface="+mn-lt"/>
                          <a:ea typeface="+mn-ea"/>
                          <a:cs typeface="+mn-ea"/>
                          <a:sym typeface="+mn-lt"/>
                        </a:rPr>
                        <a:t>3h</a:t>
                      </a:r>
                      <a:br>
                        <a:rPr lang="en-US" altLang="zh-CN" sz="1400" dirty="0">
                          <a:solidFill>
                            <a:schemeClr val="tx1">
                              <a:lumMod val="75000"/>
                              <a:lumOff val="25000"/>
                            </a:schemeClr>
                          </a:solidFill>
                          <a:latin typeface="+mn-lt"/>
                          <a:ea typeface="+mn-ea"/>
                          <a:cs typeface="+mn-ea"/>
                          <a:sym typeface="+mn-lt"/>
                        </a:rPr>
                      </a:br>
                      <a:r>
                        <a:rPr lang="en-US" altLang="zh-CN" sz="1400" dirty="0">
                          <a:solidFill>
                            <a:schemeClr val="tx1">
                              <a:lumMod val="75000"/>
                              <a:lumOff val="25000"/>
                            </a:schemeClr>
                          </a:solidFill>
                          <a:latin typeface="+mn-lt"/>
                          <a:ea typeface="+mn-ea"/>
                          <a:cs typeface="+mn-ea"/>
                          <a:sym typeface="+mn-lt"/>
                        </a:rPr>
                        <a:t>2.</a:t>
                      </a:r>
                      <a:r>
                        <a:rPr lang="zh-CN" altLang="en-US" sz="1400" dirty="0">
                          <a:solidFill>
                            <a:schemeClr val="tx1">
                              <a:lumMod val="75000"/>
                              <a:lumOff val="25000"/>
                            </a:schemeClr>
                          </a:solidFill>
                          <a:latin typeface="+mn-lt"/>
                          <a:ea typeface="+mn-ea"/>
                          <a:cs typeface="+mn-ea"/>
                          <a:sym typeface="+mn-lt"/>
                        </a:rPr>
                        <a:t>头孢德罗</a:t>
                      </a:r>
                      <a:r>
                        <a:rPr lang="en-US" altLang="zh-CN" sz="1400" dirty="0">
                          <a:solidFill>
                            <a:schemeClr val="tx1">
                              <a:lumMod val="75000"/>
                              <a:lumOff val="25000"/>
                            </a:schemeClr>
                          </a:solidFill>
                          <a:latin typeface="+mn-lt"/>
                          <a:ea typeface="+mn-ea"/>
                          <a:cs typeface="+mn-ea"/>
                          <a:sym typeface="+mn-lt"/>
                        </a:rPr>
                        <a:t>*2g iv q8h </a:t>
                      </a:r>
                      <a:r>
                        <a:rPr lang="zh-CN" altLang="en-US" sz="1400" dirty="0">
                          <a:solidFill>
                            <a:schemeClr val="tx1">
                              <a:lumMod val="75000"/>
                              <a:lumOff val="25000"/>
                            </a:schemeClr>
                          </a:solidFill>
                          <a:latin typeface="+mn-lt"/>
                          <a:ea typeface="+mn-ea"/>
                          <a:cs typeface="+mn-ea"/>
                          <a:sym typeface="+mn-lt"/>
                        </a:rPr>
                        <a:t>维持</a:t>
                      </a:r>
                      <a:r>
                        <a:rPr lang="en-US" altLang="zh-CN" sz="1400" dirty="0">
                          <a:solidFill>
                            <a:schemeClr val="tx1">
                              <a:lumMod val="75000"/>
                              <a:lumOff val="25000"/>
                            </a:schemeClr>
                          </a:solidFill>
                          <a:latin typeface="+mn-lt"/>
                          <a:ea typeface="+mn-ea"/>
                          <a:cs typeface="+mn-ea"/>
                          <a:sym typeface="+mn-lt"/>
                        </a:rPr>
                        <a:t>3h</a:t>
                      </a:r>
                      <a:endParaRPr lang="zh-CN" altLang="en-US" sz="14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r>
              <a:tr h="1533236">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嗜麦芽窄食单胞菌</a:t>
                      </a:r>
                      <a:br>
                        <a:rPr lang="en-US" altLang="zh-CN" sz="1200" b="1" dirty="0">
                          <a:solidFill>
                            <a:srgbClr val="000D45"/>
                          </a:solidFill>
                          <a:latin typeface="+mn-lt"/>
                          <a:ea typeface="+mn-ea"/>
                          <a:cs typeface="+mn-ea"/>
                          <a:sym typeface="+mn-lt"/>
                        </a:rPr>
                      </a:br>
                      <a:r>
                        <a:rPr lang="zh-CN" altLang="en-US" sz="1200" b="1" dirty="0">
                          <a:solidFill>
                            <a:srgbClr val="000D45"/>
                          </a:solidFill>
                          <a:latin typeface="+mn-lt"/>
                          <a:ea typeface="+mn-ea"/>
                          <a:cs typeface="+mn-ea"/>
                          <a:sym typeface="+mn-lt"/>
                        </a:rPr>
                        <a:t>中重度感染</a:t>
                      </a:r>
                      <a:endParaRPr lang="zh-CN" altLang="en-US" sz="1200" b="1" dirty="0">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9525"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sz="1200" dirty="0">
                          <a:solidFill>
                            <a:schemeClr val="tx1">
                              <a:lumMod val="75000"/>
                              <a:lumOff val="25000"/>
                            </a:schemeClr>
                          </a:solidFill>
                          <a:latin typeface="+mn-lt"/>
                          <a:ea typeface="+mn-ea"/>
                          <a:cs typeface="+mn-ea"/>
                          <a:sym typeface="+mn-lt"/>
                        </a:rPr>
                        <a:t>首选治疗</a:t>
                      </a:r>
                      <a:r>
                        <a:rPr lang="en-US" altLang="zh-CN" sz="1200" dirty="0">
                          <a:solidFill>
                            <a:schemeClr val="tx1">
                              <a:lumMod val="75000"/>
                              <a:lumOff val="25000"/>
                            </a:schemeClr>
                          </a:solidFill>
                          <a:latin typeface="+mn-lt"/>
                          <a:ea typeface="+mn-ea"/>
                          <a:cs typeface="+mn-ea"/>
                          <a:sym typeface="+mn-lt"/>
                        </a:rPr>
                        <a:t>:</a:t>
                      </a:r>
                      <a:br>
                        <a:rPr lang="en-US" altLang="zh-CN" sz="1200" dirty="0">
                          <a:solidFill>
                            <a:schemeClr val="tx1">
                              <a:lumMod val="75000"/>
                              <a:lumOff val="25000"/>
                            </a:schemeClr>
                          </a:solidFill>
                          <a:latin typeface="+mn-lt"/>
                          <a:ea typeface="+mn-ea"/>
                          <a:cs typeface="+mn-ea"/>
                          <a:sym typeface="+mn-lt"/>
                        </a:rPr>
                      </a:br>
                      <a:r>
                        <a:rPr lang="zh-CN" altLang="en-US" sz="1200" dirty="0">
                          <a:solidFill>
                            <a:schemeClr val="tx1">
                              <a:lumMod val="75000"/>
                              <a:lumOff val="25000"/>
                            </a:schemeClr>
                          </a:solidFill>
                          <a:latin typeface="+mn-lt"/>
                          <a:ea typeface="+mn-ea"/>
                          <a:cs typeface="+mn-ea"/>
                          <a:sym typeface="+mn-lt"/>
                        </a:rPr>
                        <a:t>肺部感染</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甲氧苄啶</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磺胺甲噁唑</a:t>
                      </a:r>
                      <a:r>
                        <a:rPr lang="en-US" altLang="zh-CN" sz="1200" dirty="0">
                          <a:solidFill>
                            <a:schemeClr val="tx1">
                              <a:lumMod val="75000"/>
                              <a:lumOff val="25000"/>
                            </a:schemeClr>
                          </a:solidFill>
                          <a:latin typeface="+mn-lt"/>
                          <a:ea typeface="+mn-ea"/>
                          <a:cs typeface="+mn-ea"/>
                          <a:sym typeface="+mn-lt"/>
                        </a:rPr>
                        <a:t>8~12mg/(</a:t>
                      </a:r>
                      <a:r>
                        <a:rPr lang="en-US" altLang="zh-CN" sz="1200" dirty="0" err="1">
                          <a:solidFill>
                            <a:schemeClr val="tx1">
                              <a:lumMod val="75000"/>
                              <a:lumOff val="25000"/>
                            </a:schemeClr>
                          </a:solidFill>
                          <a:latin typeface="+mn-lt"/>
                          <a:ea typeface="+mn-ea"/>
                          <a:cs typeface="+mn-ea"/>
                          <a:sym typeface="+mn-lt"/>
                        </a:rPr>
                        <a:t>kg·d</a:t>
                      </a:r>
                      <a:r>
                        <a:rPr lang="en-US" altLang="zh-CN" sz="1200" dirty="0">
                          <a:solidFill>
                            <a:schemeClr val="tx1">
                              <a:lumMod val="75000"/>
                              <a:lumOff val="25000"/>
                            </a:schemeClr>
                          </a:solidFill>
                          <a:latin typeface="+mn-lt"/>
                          <a:ea typeface="+mn-ea"/>
                          <a:cs typeface="+mn-ea"/>
                          <a:sym typeface="+mn-lt"/>
                        </a:rPr>
                        <a:t>)iv/po</a:t>
                      </a:r>
                      <a:r>
                        <a:rPr lang="zh-CN" altLang="en-US" sz="1200" dirty="0">
                          <a:solidFill>
                            <a:schemeClr val="tx1">
                              <a:lumMod val="75000"/>
                              <a:lumOff val="25000"/>
                            </a:schemeClr>
                          </a:solidFill>
                          <a:latin typeface="+mn-lt"/>
                          <a:ea typeface="+mn-ea"/>
                          <a:cs typeface="+mn-ea"/>
                          <a:sym typeface="+mn-lt"/>
                        </a:rPr>
                        <a:t>分</a:t>
                      </a:r>
                      <a:r>
                        <a:rPr lang="en-US" altLang="zh-CN" sz="1200" dirty="0">
                          <a:solidFill>
                            <a:schemeClr val="tx1">
                              <a:lumMod val="75000"/>
                              <a:lumOff val="25000"/>
                            </a:schemeClr>
                          </a:solidFill>
                          <a:latin typeface="+mn-lt"/>
                          <a:ea typeface="+mn-ea"/>
                          <a:cs typeface="+mn-ea"/>
                          <a:sym typeface="+mn-lt"/>
                        </a:rPr>
                        <a:t>2~3</a:t>
                      </a:r>
                      <a:r>
                        <a:rPr lang="zh-CN" altLang="en-US" sz="1200" dirty="0">
                          <a:solidFill>
                            <a:schemeClr val="tx1">
                              <a:lumMod val="75000"/>
                              <a:lumOff val="25000"/>
                            </a:schemeClr>
                          </a:solidFill>
                          <a:latin typeface="+mn-lt"/>
                          <a:ea typeface="+mn-ea"/>
                          <a:cs typeface="+mn-ea"/>
                          <a:sym typeface="+mn-lt"/>
                        </a:rPr>
                        <a:t>次给药</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米诺环素</a:t>
                      </a:r>
                      <a:r>
                        <a:rPr lang="en-US" altLang="zh-CN" sz="1200" dirty="0">
                          <a:solidFill>
                            <a:schemeClr val="tx1">
                              <a:lumMod val="75000"/>
                              <a:lumOff val="25000"/>
                            </a:schemeClr>
                          </a:solidFill>
                          <a:latin typeface="+mn-lt"/>
                          <a:ea typeface="+mn-ea"/>
                          <a:cs typeface="+mn-ea"/>
                          <a:sym typeface="+mn-lt"/>
                        </a:rPr>
                        <a:t>200mg iv/po q12h</a:t>
                      </a:r>
                      <a:br>
                        <a:rPr lang="en-US" altLang="zh-CN" sz="1200" dirty="0">
                          <a:solidFill>
                            <a:schemeClr val="tx1">
                              <a:lumMod val="75000"/>
                              <a:lumOff val="25000"/>
                            </a:schemeClr>
                          </a:solidFill>
                          <a:latin typeface="+mn-lt"/>
                          <a:ea typeface="+mn-ea"/>
                          <a:cs typeface="+mn-ea"/>
                          <a:sym typeface="+mn-lt"/>
                        </a:rPr>
                      </a:br>
                      <a:r>
                        <a:rPr lang="zh-CN" altLang="en-US" sz="1200" dirty="0">
                          <a:solidFill>
                            <a:schemeClr val="tx1">
                              <a:lumMod val="75000"/>
                              <a:lumOff val="25000"/>
                            </a:schemeClr>
                          </a:solidFill>
                          <a:latin typeface="+mn-lt"/>
                          <a:ea typeface="+mn-ea"/>
                          <a:cs typeface="+mn-ea"/>
                          <a:sym typeface="+mn-lt"/>
                        </a:rPr>
                        <a:t>备选治疗</a:t>
                      </a:r>
                      <a:r>
                        <a:rPr lang="en-US" altLang="zh-CN" sz="1200" dirty="0">
                          <a:solidFill>
                            <a:schemeClr val="tx1">
                              <a:lumMod val="75000"/>
                              <a:lumOff val="25000"/>
                            </a:schemeClr>
                          </a:solidFill>
                          <a:latin typeface="+mn-lt"/>
                          <a:ea typeface="+mn-ea"/>
                          <a:cs typeface="+mn-ea"/>
                          <a:sym typeface="+mn-lt"/>
                        </a:rPr>
                        <a:t>:</a:t>
                      </a:r>
                      <a:br>
                        <a:rPr lang="en-US" altLang="zh-CN" sz="1200" dirty="0">
                          <a:solidFill>
                            <a:schemeClr val="tx1">
                              <a:lumMod val="75000"/>
                              <a:lumOff val="25000"/>
                            </a:schemeClr>
                          </a:solidFill>
                          <a:latin typeface="+mn-lt"/>
                          <a:ea typeface="+mn-ea"/>
                          <a:cs typeface="+mn-ea"/>
                          <a:sym typeface="+mn-lt"/>
                        </a:rPr>
                      </a:br>
                      <a:r>
                        <a:rPr lang="en-US" altLang="zh-CN" sz="1200" dirty="0">
                          <a:solidFill>
                            <a:schemeClr val="tx1">
                              <a:lumMod val="75000"/>
                              <a:lumOff val="25000"/>
                            </a:schemeClr>
                          </a:solidFill>
                          <a:latin typeface="+mn-lt"/>
                          <a:ea typeface="+mn-ea"/>
                          <a:cs typeface="+mn-ea"/>
                          <a:sym typeface="+mn-lt"/>
                        </a:rPr>
                        <a:t>1.</a:t>
                      </a:r>
                      <a:r>
                        <a:rPr lang="zh-CN" altLang="en-US" sz="1200" dirty="0">
                          <a:solidFill>
                            <a:schemeClr val="tx1">
                              <a:lumMod val="75000"/>
                              <a:lumOff val="25000"/>
                            </a:schemeClr>
                          </a:solidFill>
                          <a:latin typeface="+mn-lt"/>
                          <a:ea typeface="+mn-ea"/>
                          <a:cs typeface="+mn-ea"/>
                          <a:sym typeface="+mn-lt"/>
                        </a:rPr>
                        <a:t>选用以下两种药物的联合方案</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甲氧苄啶</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磺胺甲噁唑</a:t>
                      </a:r>
                      <a:r>
                        <a:rPr lang="en-US" altLang="zh-CN" sz="1200" dirty="0">
                          <a:solidFill>
                            <a:schemeClr val="tx1">
                              <a:lumMod val="75000"/>
                              <a:lumOff val="25000"/>
                            </a:schemeClr>
                          </a:solidFill>
                          <a:latin typeface="+mn-lt"/>
                          <a:ea typeface="+mn-ea"/>
                          <a:cs typeface="+mn-ea"/>
                          <a:sym typeface="+mn-lt"/>
                        </a:rPr>
                        <a:t>[8~12 mg/(</a:t>
                      </a:r>
                      <a:r>
                        <a:rPr lang="en-US" altLang="zh-CN" sz="1200" dirty="0" err="1">
                          <a:solidFill>
                            <a:schemeClr val="tx1">
                              <a:lumMod val="75000"/>
                              <a:lumOff val="25000"/>
                            </a:schemeClr>
                          </a:solidFill>
                          <a:latin typeface="+mn-lt"/>
                          <a:ea typeface="+mn-ea"/>
                          <a:cs typeface="+mn-ea"/>
                          <a:sym typeface="+mn-lt"/>
                        </a:rPr>
                        <a:t>kg·d</a:t>
                      </a:r>
                      <a:r>
                        <a:rPr lang="en-US" altLang="zh-CN" sz="1200" dirty="0">
                          <a:solidFill>
                            <a:schemeClr val="tx1">
                              <a:lumMod val="75000"/>
                              <a:lumOff val="25000"/>
                            </a:schemeClr>
                          </a:solidFill>
                          <a:latin typeface="+mn-lt"/>
                          <a:ea typeface="+mn-ea"/>
                          <a:cs typeface="+mn-ea"/>
                          <a:sym typeface="+mn-lt"/>
                        </a:rPr>
                        <a:t>)iv/po</a:t>
                      </a:r>
                      <a:r>
                        <a:rPr lang="zh-CN" altLang="en-US" sz="1200" dirty="0">
                          <a:solidFill>
                            <a:schemeClr val="tx1">
                              <a:lumMod val="75000"/>
                              <a:lumOff val="25000"/>
                            </a:schemeClr>
                          </a:solidFill>
                          <a:latin typeface="+mn-lt"/>
                          <a:ea typeface="+mn-ea"/>
                          <a:cs typeface="+mn-ea"/>
                          <a:sym typeface="+mn-lt"/>
                        </a:rPr>
                        <a:t>分</a:t>
                      </a:r>
                      <a:r>
                        <a:rPr lang="en-US" altLang="zh-CN" sz="1200" dirty="0">
                          <a:solidFill>
                            <a:schemeClr val="tx1">
                              <a:lumMod val="75000"/>
                              <a:lumOff val="25000"/>
                            </a:schemeClr>
                          </a:solidFill>
                          <a:latin typeface="+mn-lt"/>
                          <a:ea typeface="+mn-ea"/>
                          <a:cs typeface="+mn-ea"/>
                          <a:sym typeface="+mn-lt"/>
                        </a:rPr>
                        <a:t>2~3</a:t>
                      </a:r>
                      <a:r>
                        <a:rPr lang="zh-CN" altLang="en-US" sz="1200" dirty="0">
                          <a:solidFill>
                            <a:schemeClr val="tx1">
                              <a:lumMod val="75000"/>
                              <a:lumOff val="25000"/>
                            </a:schemeClr>
                          </a:solidFill>
                          <a:latin typeface="+mn-lt"/>
                          <a:ea typeface="+mn-ea"/>
                          <a:cs typeface="+mn-ea"/>
                          <a:sym typeface="+mn-lt"/>
                        </a:rPr>
                        <a:t>次给药</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左氧氟沙星</a:t>
                      </a:r>
                      <a:r>
                        <a:rPr lang="en-US" altLang="zh-CN" sz="1200" dirty="0">
                          <a:solidFill>
                            <a:schemeClr val="tx1">
                              <a:lumMod val="75000"/>
                              <a:lumOff val="25000"/>
                            </a:schemeClr>
                          </a:solidFill>
                          <a:latin typeface="+mn-lt"/>
                          <a:ea typeface="+mn-ea"/>
                          <a:cs typeface="+mn-ea"/>
                          <a:sym typeface="+mn-lt"/>
                        </a:rPr>
                        <a:t>(750mg iv/po q24h)</a:t>
                      </a:r>
                      <a:r>
                        <a:rPr lang="zh-CN" altLang="en-US" sz="1200" dirty="0">
                          <a:solidFill>
                            <a:schemeClr val="tx1">
                              <a:lumMod val="75000"/>
                              <a:lumOff val="25000"/>
                            </a:schemeClr>
                          </a:solidFill>
                          <a:latin typeface="+mn-lt"/>
                          <a:ea typeface="+mn-ea"/>
                          <a:cs typeface="+mn-ea"/>
                          <a:sym typeface="+mn-lt"/>
                        </a:rPr>
                        <a:t>、米诺环素</a:t>
                      </a:r>
                      <a:r>
                        <a:rPr lang="en-US" altLang="zh-CN" sz="1200" dirty="0">
                          <a:solidFill>
                            <a:schemeClr val="tx1">
                              <a:lumMod val="75000"/>
                              <a:lumOff val="25000"/>
                            </a:schemeClr>
                          </a:solidFill>
                          <a:latin typeface="+mn-lt"/>
                          <a:ea typeface="+mn-ea"/>
                          <a:cs typeface="+mn-ea"/>
                          <a:sym typeface="+mn-lt"/>
                        </a:rPr>
                        <a:t>(750mg iv/po q24h)</a:t>
                      </a:r>
                      <a:r>
                        <a:rPr lang="zh-CN" altLang="en-US" sz="1200" dirty="0">
                          <a:solidFill>
                            <a:schemeClr val="tx1">
                              <a:lumMod val="75000"/>
                              <a:lumOff val="25000"/>
                            </a:schemeClr>
                          </a:solidFill>
                          <a:latin typeface="+mn-lt"/>
                          <a:ea typeface="+mn-ea"/>
                          <a:cs typeface="+mn-ea"/>
                          <a:sym typeface="+mn-lt"/>
                        </a:rPr>
                        <a:t>或头孢德罗</a:t>
                      </a:r>
                      <a:r>
                        <a:rPr lang="en-US" altLang="zh-CN" sz="1200" dirty="0">
                          <a:solidFill>
                            <a:schemeClr val="tx1">
                              <a:lumMod val="75000"/>
                              <a:lumOff val="25000"/>
                            </a:schemeClr>
                          </a:solidFill>
                          <a:latin typeface="+mn-lt"/>
                          <a:ea typeface="+mn-ea"/>
                          <a:cs typeface="+mn-ea"/>
                          <a:sym typeface="+mn-lt"/>
                        </a:rPr>
                        <a:t>*2 g iv q8h</a:t>
                      </a:r>
                      <a:r>
                        <a:rPr lang="zh-CN" altLang="en-US" sz="1200" dirty="0">
                          <a:solidFill>
                            <a:schemeClr val="tx1">
                              <a:lumMod val="75000"/>
                              <a:lumOff val="25000"/>
                            </a:schemeClr>
                          </a:solidFill>
                          <a:latin typeface="+mn-lt"/>
                          <a:ea typeface="+mn-ea"/>
                          <a:cs typeface="+mn-ea"/>
                          <a:sym typeface="+mn-lt"/>
                        </a:rPr>
                        <a:t>维持</a:t>
                      </a:r>
                      <a:r>
                        <a:rPr lang="en-US" altLang="zh-CN" sz="1200" dirty="0">
                          <a:solidFill>
                            <a:schemeClr val="tx1">
                              <a:lumMod val="75000"/>
                              <a:lumOff val="25000"/>
                            </a:schemeClr>
                          </a:solidFill>
                          <a:latin typeface="+mn-lt"/>
                          <a:ea typeface="+mn-ea"/>
                          <a:cs typeface="+mn-ea"/>
                          <a:sym typeface="+mn-lt"/>
                        </a:rPr>
                        <a:t>3h</a:t>
                      </a:r>
                      <a:br>
                        <a:rPr lang="en-US" altLang="zh-CN" sz="1200" dirty="0">
                          <a:solidFill>
                            <a:schemeClr val="tx1">
                              <a:lumMod val="75000"/>
                              <a:lumOff val="25000"/>
                            </a:schemeClr>
                          </a:solidFill>
                          <a:latin typeface="+mn-lt"/>
                          <a:ea typeface="+mn-ea"/>
                          <a:cs typeface="+mn-ea"/>
                          <a:sym typeface="+mn-lt"/>
                        </a:rPr>
                      </a:br>
                      <a:r>
                        <a:rPr lang="en-US" altLang="zh-CN" sz="1200" kern="1200" dirty="0">
                          <a:solidFill>
                            <a:schemeClr val="tx1">
                              <a:lumMod val="75000"/>
                              <a:lumOff val="25000"/>
                            </a:schemeClr>
                          </a:solidFill>
                          <a:latin typeface="+mn-lt"/>
                          <a:ea typeface="+mn-ea"/>
                          <a:cs typeface="+mn-ea"/>
                          <a:sym typeface="+mn-lt"/>
                        </a:rPr>
                        <a:t>2.</a:t>
                      </a:r>
                      <a:r>
                        <a:rPr lang="zh-CN" altLang="en-US" sz="1200" b="1" dirty="0">
                          <a:solidFill>
                            <a:srgbClr val="00C987"/>
                          </a:solidFill>
                          <a:latin typeface="+mn-lt"/>
                          <a:ea typeface="+mn-ea"/>
                          <a:cs typeface="+mn-ea"/>
                          <a:sym typeface="+mn-lt"/>
                        </a:rPr>
                        <a:t>氨曲南</a:t>
                      </a:r>
                      <a:r>
                        <a:rPr lang="en-US" altLang="zh-CN" sz="1200" b="1" dirty="0">
                          <a:solidFill>
                            <a:srgbClr val="00C987"/>
                          </a:solidFill>
                          <a:latin typeface="+mn-lt"/>
                          <a:ea typeface="+mn-ea"/>
                          <a:cs typeface="+mn-ea"/>
                          <a:sym typeface="+mn-lt"/>
                        </a:rPr>
                        <a:t>-</a:t>
                      </a:r>
                      <a:r>
                        <a:rPr lang="zh-CN" altLang="en-US" sz="1200" b="1" dirty="0">
                          <a:solidFill>
                            <a:srgbClr val="00C987"/>
                          </a:solidFill>
                          <a:latin typeface="+mn-lt"/>
                          <a:ea typeface="+mn-ea"/>
                          <a:cs typeface="+mn-ea"/>
                          <a:sym typeface="+mn-lt"/>
                        </a:rPr>
                        <a:t>阿维巴坦</a:t>
                      </a:r>
                      <a:r>
                        <a:rPr lang="zh-CN" altLang="en-US" sz="1200" kern="1200" dirty="0">
                          <a:solidFill>
                            <a:schemeClr val="tx1">
                              <a:lumMod val="75000"/>
                              <a:lumOff val="25000"/>
                            </a:schemeClr>
                          </a:solidFill>
                          <a:latin typeface="+mn-lt"/>
                          <a:ea typeface="+mn-ea"/>
                          <a:cs typeface="+mn-ea"/>
                          <a:sym typeface="+mn-lt"/>
                        </a:rPr>
                        <a:t>负荷剂量</a:t>
                      </a:r>
                      <a:r>
                        <a:rPr lang="en-US" altLang="zh-CN" sz="1200" kern="1200" dirty="0">
                          <a:solidFill>
                            <a:schemeClr val="tx1">
                              <a:lumMod val="75000"/>
                              <a:lumOff val="25000"/>
                            </a:schemeClr>
                          </a:solidFill>
                          <a:latin typeface="+mn-lt"/>
                          <a:ea typeface="+mn-ea"/>
                          <a:cs typeface="+mn-ea"/>
                          <a:sym typeface="+mn-lt"/>
                        </a:rPr>
                        <a:t>2g/0.67g</a:t>
                      </a:r>
                      <a:r>
                        <a:rPr lang="zh-CN" altLang="en-US" sz="1200" kern="1200" dirty="0">
                          <a:solidFill>
                            <a:schemeClr val="tx1">
                              <a:lumMod val="75000"/>
                              <a:lumOff val="25000"/>
                            </a:schemeClr>
                          </a:solidFill>
                          <a:latin typeface="+mn-lt"/>
                          <a:ea typeface="+mn-ea"/>
                          <a:cs typeface="+mn-ea"/>
                          <a:sym typeface="+mn-lt"/>
                        </a:rPr>
                        <a:t>，维持剂量</a:t>
                      </a:r>
                      <a:r>
                        <a:rPr lang="en-US" altLang="zh-CN" sz="1200" kern="1200" dirty="0">
                          <a:solidFill>
                            <a:schemeClr val="tx1">
                              <a:lumMod val="75000"/>
                              <a:lumOff val="25000"/>
                            </a:schemeClr>
                          </a:solidFill>
                          <a:latin typeface="+mn-lt"/>
                          <a:ea typeface="+mn-ea"/>
                          <a:cs typeface="+mn-ea"/>
                          <a:sym typeface="+mn-lt"/>
                        </a:rPr>
                        <a:t>1.5g/0.5g q6h </a:t>
                      </a:r>
                      <a:r>
                        <a:rPr lang="zh-CN" altLang="en-US" sz="1200" kern="1200" dirty="0">
                          <a:solidFill>
                            <a:schemeClr val="tx1">
                              <a:lumMod val="75000"/>
                              <a:lumOff val="25000"/>
                            </a:schemeClr>
                          </a:solidFill>
                          <a:latin typeface="+mn-lt"/>
                          <a:ea typeface="+mn-ea"/>
                          <a:cs typeface="+mn-ea"/>
                          <a:sym typeface="+mn-lt"/>
                        </a:rPr>
                        <a:t>维持</a:t>
                      </a:r>
                      <a:r>
                        <a:rPr lang="en-US" altLang="zh-CN" sz="1200" kern="1200" dirty="0">
                          <a:solidFill>
                            <a:schemeClr val="tx1">
                              <a:lumMod val="75000"/>
                              <a:lumOff val="25000"/>
                            </a:schemeClr>
                          </a:solidFill>
                          <a:latin typeface="+mn-lt"/>
                          <a:ea typeface="+mn-ea"/>
                          <a:cs typeface="+mn-ea"/>
                          <a:sym typeface="+mn-lt"/>
                        </a:rPr>
                        <a:t>3h</a:t>
                      </a:r>
                      <a:endParaRPr lang="zh-CN" altLang="en-US" sz="12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9525"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1944" name="组合 2"/>
          <p:cNvGrpSpPr/>
          <p:nvPr/>
        </p:nvGrpSpPr>
        <p:grpSpPr>
          <a:xfrm rot="-642761">
            <a:off x="287338" y="2627313"/>
            <a:ext cx="1158875"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5" name="文本框 4"/>
            <p:cNvSpPr txBox="1"/>
            <p:nvPr/>
          </p:nvSpPr>
          <p:spPr>
            <a:xfrm rot="21186084">
              <a:off x="872051" y="5124105"/>
              <a:ext cx="1158467" cy="307777"/>
            </a:xfrm>
            <a:prstGeom prst="rect">
              <a:avLst/>
            </a:prstGeom>
            <a:noFill/>
          </p:spPr>
          <p:txBody>
            <a:bodyPr wrap="square">
              <a:spAutoFit/>
            </a:bodyPr>
            <a:p>
              <a:pPr algn="ctr" defTabSz="914400">
                <a:buNone/>
              </a:pPr>
              <a:r>
                <a:rPr lang="zh-CN" altLang="en-US" sz="1400" b="1" dirty="0">
                  <a:solidFill>
                    <a:srgbClr val="FFFFFF"/>
                  </a:solidFill>
                  <a:latin typeface="Arial" panose="020B0604020202090204" pitchFamily="34" charset="0"/>
                  <a:ea typeface="微软雅黑" panose="020B0503020204020204" charset="-122"/>
                  <a:sym typeface="Arial" panose="020B0604020202090204" pitchFamily="34" charset="0"/>
                </a:rPr>
                <a:t>高</a:t>
              </a:r>
              <a:r>
                <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rPr>
                <a:t>推荐</a:t>
              </a:r>
              <a:endPar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圆角 2"/>
          <p:cNvSpPr/>
          <p:nvPr/>
        </p:nvSpPr>
        <p:spPr>
          <a:xfrm>
            <a:off x="822325" y="1379538"/>
            <a:ext cx="10547350" cy="1371600"/>
          </a:xfrm>
          <a:prstGeom prst="roundRect">
            <a:avLst>
              <a:gd name="adj" fmla="val 2105"/>
            </a:avLst>
          </a:prstGeom>
          <a:solidFill>
            <a:schemeClr val="accent1"/>
          </a:solidFill>
          <a:ln w="12700" cap="flat" cmpd="sng" algn="ctr">
            <a:no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2" name="矩形: 圆角 1"/>
          <p:cNvSpPr/>
          <p:nvPr/>
        </p:nvSpPr>
        <p:spPr>
          <a:xfrm>
            <a:off x="587375" y="1452563"/>
            <a:ext cx="11017250" cy="42052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83971" name="标题 16"/>
          <p:cNvSpPr>
            <a:spLocks noGrp="1"/>
          </p:cNvSpPr>
          <p:nvPr>
            <p:ph type="title"/>
          </p:nvPr>
        </p:nvSpPr>
        <p:spPr>
          <a:xfrm>
            <a:off x="727075" y="20859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氨曲南</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阿维巴坦</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有效针对MBL耐药问题，</a:t>
            </a:r>
            <a:br>
              <a:rPr lang="zh-CN" altLang="en-US" b="1" dirty="0">
                <a:solidFill>
                  <a:srgbClr val="000D45"/>
                </a:solidFill>
                <a:latin typeface="Pfizer Tomorrow" charset="0"/>
                <a:ea typeface="微软雅黑" panose="020B0503020204020204" charset="-122"/>
                <a:sym typeface="Arial" panose="020B0604020202090204" pitchFamily="34" charset="0"/>
              </a:rPr>
            </a:br>
            <a:r>
              <a:rPr lang="zh-CN" altLang="en-US" b="1" dirty="0">
                <a:solidFill>
                  <a:srgbClr val="000D45"/>
                </a:solidFill>
                <a:latin typeface="Pfizer Tomorrow" charset="0"/>
                <a:ea typeface="微软雅黑" panose="020B0503020204020204" charset="-122"/>
                <a:sym typeface="Pfizer Tomorrow" charset="0"/>
              </a:rPr>
              <a:t>全面覆盖CRE全酶型，是CRE治疗的一线首选</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 name="文本框 2"/>
          <p:cNvSpPr txBox="1"/>
          <p:nvPr/>
        </p:nvSpPr>
        <p:spPr>
          <a:xfrm>
            <a:off x="889000" y="1558925"/>
            <a:ext cx="10353675" cy="176720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horz" wrap="square" lIns="45718" tIns="45718" rIns="45718" bIns="45718"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indent="-285750" algn="l" defTabSz="914400" rtl="0" fontAlgn="auto" hangingPunct="0">
              <a:lnSpc>
                <a:spcPct val="100000"/>
              </a:lnSpc>
              <a:spcAft>
                <a:spcPts val="600"/>
              </a:spcAft>
              <a:buClrTx/>
              <a:buSzTx/>
              <a:buFont typeface="Wingdings" panose="05000000000000000000" pitchFamily="2" charset="2"/>
              <a:buChar char="l"/>
            </a:pP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我国</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感染检出率呈逐年升高趋势，其主要耐药机制之一的</a:t>
            </a:r>
            <a:r>
              <a:rPr lang="zh-CN" altLang="en-US" sz="1600" strike="noStrike" noProof="0" dirty="0">
                <a:ln>
                  <a:noFill/>
                </a:ln>
                <a:effectLst/>
                <a:uLnTx/>
                <a:uFillTx/>
                <a:latin typeface="微软雅黑" panose="020B0503020204020204" charset="-122"/>
                <a:ea typeface="微软雅黑" panose="020B0503020204020204" charset="-122"/>
                <a:sym typeface="+mn-ea"/>
              </a:rPr>
              <a:t>金属</a:t>
            </a:r>
            <a:r>
              <a:rPr lang="en-US" altLang="zh-CN" sz="1600" strike="noStrike" noProof="0" dirty="0">
                <a:ln>
                  <a:noFill/>
                </a:ln>
                <a:effectLst/>
                <a:uLnTx/>
                <a:uFillTx/>
                <a:latin typeface="微软雅黑" panose="020B0503020204020204" charset="-122"/>
                <a:ea typeface="微软雅黑" panose="020B0503020204020204" charset="-122"/>
                <a:sym typeface="+mn-ea"/>
              </a:rPr>
              <a:t>β-</a:t>
            </a:r>
            <a:r>
              <a:rPr lang="zh-CN" altLang="en-US" sz="1600" strike="noStrike" noProof="0" dirty="0">
                <a:ln>
                  <a:noFill/>
                </a:ln>
                <a:effectLst/>
                <a:uLnTx/>
                <a:uFillTx/>
                <a:latin typeface="微软雅黑" panose="020B0503020204020204" charset="-122"/>
                <a:ea typeface="微软雅黑" panose="020B0503020204020204" charset="-122"/>
                <a:sym typeface="+mn-ea"/>
              </a:rPr>
              <a:t>内酰胺酶（</a:t>
            </a:r>
            <a:r>
              <a:rPr lang="en-US" altLang="zh-CN" sz="1600" strike="noStrike" noProof="0" dirty="0">
                <a:ln>
                  <a:noFill/>
                </a:ln>
                <a:effectLst/>
                <a:uLnTx/>
                <a:uFillTx/>
                <a:latin typeface="微软雅黑" panose="020B0503020204020204" charset="-122"/>
                <a:ea typeface="微软雅黑" panose="020B0503020204020204" charset="-122"/>
                <a:sym typeface="+mn-ea"/>
              </a:rPr>
              <a:t>MBLs</a:t>
            </a:r>
            <a:r>
              <a:rPr lang="zh-CN" altLang="en-US" sz="1600" strike="noStrike" noProof="0" dirty="0">
                <a:ln>
                  <a:noFill/>
                </a:ln>
                <a:effectLst/>
                <a:uLnTx/>
                <a:uFillTx/>
                <a:latin typeface="微软雅黑" panose="020B0503020204020204" charset="-122"/>
                <a:ea typeface="微软雅黑" panose="020B0503020204020204" charset="-122"/>
                <a:sym typeface="+mn-ea"/>
              </a:rPr>
              <a:t>）</a:t>
            </a:r>
            <a:r>
              <a:rPr lang="zh-CN" altLang="en-US" sz="1600" b="1" strike="noStrike" noProof="1" dirty="0">
                <a:solidFill>
                  <a:schemeClr val="accent1"/>
                </a:solidFill>
                <a:latin typeface="Pfizer Tomorrow" charset="0"/>
                <a:ea typeface="微软雅黑" panose="020B0503020204020204" charset="-122"/>
                <a:cs typeface="+mj-cs"/>
                <a:sym typeface="Pfizer Tomorrow" charset="0"/>
              </a:rPr>
              <a:t>在临床却缺乏有效治疗药物</a:t>
            </a:r>
            <a:r>
              <a:rPr lang="zh-CN" altLang="en-US" sz="1600" strike="noStrike" noProof="0" dirty="0">
                <a:ln>
                  <a:noFill/>
                </a:ln>
                <a:effectLst/>
                <a:uLnTx/>
                <a:uFillTx/>
                <a:latin typeface="微软雅黑" panose="020B0503020204020204" charset="-122"/>
                <a:ea typeface="微软雅黑" panose="020B0503020204020204" charset="-122"/>
                <a:sym typeface="+mn-ea"/>
              </a:rPr>
              <a:t>，这使得能够产生</a:t>
            </a:r>
            <a:r>
              <a:rPr lang="en-US" altLang="zh-CN" sz="1600" strike="noStrike" noProof="0" dirty="0">
                <a:ln>
                  <a:noFill/>
                </a:ln>
                <a:effectLst/>
                <a:uLnTx/>
                <a:uFillTx/>
                <a:latin typeface="微软雅黑" panose="020B0503020204020204" charset="-122"/>
                <a:ea typeface="微软雅黑" panose="020B0503020204020204" charset="-122"/>
                <a:sym typeface="+mn-ea"/>
              </a:rPr>
              <a:t>MBLs</a:t>
            </a:r>
            <a:r>
              <a:rPr lang="zh-CN" altLang="en-US" sz="1600" strike="noStrike" noProof="0" dirty="0">
                <a:ln>
                  <a:noFill/>
                </a:ln>
                <a:effectLst/>
                <a:uLnTx/>
                <a:uFillTx/>
                <a:latin typeface="微软雅黑" panose="020B0503020204020204" charset="-122"/>
                <a:ea typeface="微软雅黑" panose="020B0503020204020204" charset="-122"/>
                <a:sym typeface="+mn-ea"/>
              </a:rPr>
              <a:t>的革兰氏阴性菌，如肠杆菌目和嗜麦芽窄食单胞菌，成为公共卫生领域的一大威胁</a:t>
            </a:r>
            <a:endPar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endParaRPr>
          </a:p>
          <a:p>
            <a:pPr marL="285750" indent="-285750" fontAlgn="auto" hangingPunct="0">
              <a:lnSpc>
                <a:spcPct val="100000"/>
              </a:lnSpc>
              <a:spcAft>
                <a:spcPts val="600"/>
              </a:spcAft>
              <a:buFont typeface="Wingdings" panose="05000000000000000000" pitchFamily="2" charset="2"/>
              <a:buChar char="l"/>
            </a:pP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流调研究显示</a:t>
            </a:r>
            <a:r>
              <a:rPr lang="en-US" altLang="zh-CN" sz="1600" b="1" strike="noStrike" noProof="1" dirty="0">
                <a:solidFill>
                  <a:schemeClr val="accent1"/>
                </a:solidFill>
                <a:latin typeface="Pfizer Tomorrow" charset="0"/>
                <a:ea typeface="微软雅黑" panose="020B0503020204020204" charset="-122"/>
                <a:cs typeface="+mj-cs"/>
                <a:sym typeface="Pfizer Tomorrow" charset="0"/>
              </a:rPr>
              <a:t>MBL-CRE</a:t>
            </a:r>
            <a:r>
              <a:rPr lang="zh-CN" altLang="en-US" sz="1600" b="1" strike="noStrike" noProof="1" dirty="0">
                <a:solidFill>
                  <a:schemeClr val="accent1"/>
                </a:solidFill>
                <a:latin typeface="Pfizer Tomorrow" charset="0"/>
                <a:ea typeface="微软雅黑" panose="020B0503020204020204" charset="-122"/>
                <a:cs typeface="+mj-cs"/>
                <a:sym typeface="Pfizer Tomorrow" charset="0"/>
              </a:rPr>
              <a:t>比例高</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且</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中</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7.4%</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的酶型为共产</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KPC+MBL</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进一步加大了临床应对难度。</a:t>
            </a:r>
            <a:r>
              <a:rPr lang="en-US" altLang="zh-CN" sz="1600" strike="noStrike" noProof="1" dirty="0">
                <a:solidFill>
                  <a:schemeClr val="tx1">
                    <a:lumMod val="75000"/>
                    <a:lumOff val="25000"/>
                  </a:schemeClr>
                </a:solidFill>
                <a:latin typeface="Pfizer Tomorrow" charset="0"/>
                <a:ea typeface="微软雅黑" panose="020B0503020204020204" charset="-122"/>
                <a:sym typeface="Pfizer Tomorrow" charset="0"/>
              </a:rPr>
              <a:t>MBL-CRE</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感染病情重，</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死亡率高，应及早治疗。但</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临床</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常用的“三剑客”在</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治疗中均存在较大挑战</a:t>
            </a:r>
            <a:br>
              <a:rPr lang="en-US" altLang="zh-CN" sz="1600" dirty="0">
                <a:solidFill>
                  <a:schemeClr val="tx1">
                    <a:lumMod val="85000"/>
                    <a:lumOff val="15000"/>
                  </a:schemeClr>
                </a:solidFill>
                <a:latin typeface="Pfizer Tomorrow" charset="0"/>
                <a:ea typeface="微软雅黑" panose="020B0503020204020204" charset="-122"/>
                <a:cs typeface="+mj-cs"/>
                <a:sym typeface="Pfizer Tomorrow" charset="0"/>
              </a:rPr>
            </a:br>
            <a:endParaRPr lang="en-US" altLang="zh-CN" sz="500" strike="noStrike" noProof="1" dirty="0">
              <a:solidFill>
                <a:schemeClr val="tx1">
                  <a:lumMod val="85000"/>
                  <a:lumOff val="15000"/>
                </a:schemeClr>
              </a:solidFill>
              <a:latin typeface="Pfizer Tomorrow" charset="0"/>
              <a:ea typeface="微软雅黑" panose="020B0503020204020204" charset="-122"/>
              <a:cs typeface="+mj-cs"/>
              <a:sym typeface="Pfizer Tomorrow" charset="0"/>
            </a:endParaRPr>
          </a:p>
          <a:p>
            <a:pPr marL="285750" indent="-285750" fontAlgn="auto" hangingPunct="0">
              <a:lnSpc>
                <a:spcPct val="100000"/>
              </a:lnSpc>
              <a:spcAft>
                <a:spcPts val="600"/>
              </a:spcAft>
              <a:buFont typeface="Wingdings" panose="05000000000000000000" pitchFamily="2" charset="2"/>
              <a:buChar char="l"/>
            </a:pPr>
            <a:r>
              <a:rPr lang="zh-CN" altLang="en-US" sz="1600" b="1" dirty="0">
                <a:solidFill>
                  <a:srgbClr val="000D45"/>
                </a:solidFill>
                <a:latin typeface="Pfizer Tomorrow" charset="0"/>
                <a:ea typeface="微软雅黑" panose="020B0503020204020204" charset="-122"/>
                <a:sym typeface="Arial" panose="020B0604020202090204" pitchFamily="34" charset="0"/>
              </a:rPr>
              <a:t>思福诺®</a:t>
            </a:r>
            <a:r>
              <a:rPr lang="zh-CN" altLang="en-US" sz="1600" b="1" strike="noStrike" noProof="1" dirty="0">
                <a:solidFill>
                  <a:srgbClr val="000D45"/>
                </a:solidFill>
                <a:latin typeface="Pfizer Tomorrow" charset="0"/>
                <a:ea typeface="微软雅黑" panose="020B0503020204020204" charset="-122"/>
                <a:sym typeface="Pfizer Tomorrow" charset="0"/>
              </a:rPr>
              <a:t>覆盖</a:t>
            </a:r>
            <a:r>
              <a:rPr lang="en-US" altLang="zh-CN" sz="1600" b="1" strike="noStrike" noProof="1" dirty="0">
                <a:solidFill>
                  <a:srgbClr val="000D45"/>
                </a:solidFill>
                <a:latin typeface="Pfizer Tomorrow" charset="0"/>
                <a:ea typeface="微软雅黑" panose="020B0503020204020204" charset="-122"/>
                <a:sym typeface="Pfizer Tomorrow" charset="0"/>
              </a:rPr>
              <a:t>CRE</a:t>
            </a:r>
            <a:r>
              <a:rPr lang="zh-CN" altLang="en-US" sz="1600" b="1" strike="noStrike" noProof="1" dirty="0">
                <a:solidFill>
                  <a:srgbClr val="000D45"/>
                </a:solidFill>
                <a:latin typeface="Pfizer Tomorrow" charset="0"/>
                <a:ea typeface="微软雅黑" panose="020B0503020204020204" charset="-122"/>
                <a:sym typeface="Pfizer Tomorrow" charset="0"/>
              </a:rPr>
              <a:t>全酶型，多重优势，是</a:t>
            </a:r>
            <a:r>
              <a:rPr lang="en-US" altLang="zh-CN" sz="1600" b="1" strike="noStrike" noProof="1" dirty="0">
                <a:solidFill>
                  <a:srgbClr val="000D45"/>
                </a:solidFill>
                <a:latin typeface="Pfizer Tomorrow" charset="0"/>
                <a:ea typeface="微软雅黑" panose="020B0503020204020204" charset="-122"/>
                <a:sym typeface="Pfizer Tomorrow" charset="0"/>
              </a:rPr>
              <a:t>CRE</a:t>
            </a:r>
            <a:r>
              <a:rPr lang="zh-CN" altLang="en-US" sz="1600" b="1" strike="noStrike" noProof="1" dirty="0">
                <a:solidFill>
                  <a:srgbClr val="000D45"/>
                </a:solidFill>
                <a:latin typeface="Pfizer Tomorrow" charset="0"/>
                <a:ea typeface="微软雅黑" panose="020B0503020204020204" charset="-122"/>
                <a:sym typeface="Pfizer Tomorrow" charset="0"/>
              </a:rPr>
              <a:t>的治疗一线首选，</a:t>
            </a:r>
            <a:r>
              <a:rPr lang="zh-CN" altLang="en-US" sz="1600" b="1" strike="noStrike" noProof="1" dirty="0">
                <a:solidFill>
                  <a:srgbClr val="000D45"/>
                </a:solidFill>
                <a:latin typeface="Pfizer Tomorrow" charset="0"/>
                <a:ea typeface="微软雅黑" panose="020B0503020204020204" charset="-122"/>
                <a:cs typeface="+mj-cs"/>
                <a:sym typeface="Pfizer Tomorrow" charset="0"/>
              </a:rPr>
              <a:t>开创抗感染新格局：</a:t>
            </a:r>
            <a:br>
              <a:rPr lang="zh-CN" altLang="en-US" sz="1600" b="1" dirty="0">
                <a:solidFill>
                  <a:srgbClr val="000D45"/>
                </a:solidFill>
                <a:latin typeface="Pfizer Tomorrow" charset="0"/>
                <a:ea typeface="微软雅黑" panose="020B0503020204020204" charset="-122"/>
                <a:cs typeface="+mj-cs"/>
                <a:sym typeface="Pfizer Tomorrow" charset="0"/>
              </a:rPr>
            </a:br>
            <a:endParaRPr lang="zh-CN" altLang="en-US" sz="1400" strike="noStrike" noProof="1" dirty="0">
              <a:solidFill>
                <a:srgbClr val="000D45"/>
              </a:solidFill>
              <a:latin typeface="Pfizer Tomorrow" charset="0"/>
              <a:ea typeface="微软雅黑" panose="020B0503020204020204" charset="-122"/>
              <a:cs typeface="+mj-cs"/>
              <a:sym typeface="Pfizer Tomorrow" charset="0"/>
            </a:endParaRPr>
          </a:p>
        </p:txBody>
      </p:sp>
      <p:sp>
        <p:nvSpPr>
          <p:cNvPr id="83973" name="文本框 5"/>
          <p:cNvSpPr txBox="1"/>
          <p:nvPr/>
        </p:nvSpPr>
        <p:spPr>
          <a:xfrm>
            <a:off x="587375" y="5843270"/>
            <a:ext cx="10896600" cy="600075"/>
          </a:xfrm>
          <a:prstGeom prst="rect">
            <a:avLst/>
          </a:prstGeom>
          <a:noFill/>
          <a:ln w="9525">
            <a:noFill/>
          </a:ln>
        </p:spPr>
        <p:txBody>
          <a:bodyPr wrap="square" anchor="t" anchorCtr="0">
            <a:spAutoFit/>
          </a:bodyPr>
          <a:p>
            <a:r>
              <a:rPr lang="zh-CN" altLang="en-US" sz="1100" dirty="0">
                <a:solidFill>
                  <a:srgbClr val="595959"/>
                </a:solidFill>
                <a:latin typeface="Pfizer Tomorrow" charset="0"/>
                <a:ea typeface="微软雅黑" panose="020B0503020204020204" charset="-122"/>
                <a:sym typeface="Pfizer Tomorrow" charset="0"/>
              </a:rPr>
              <a:t>*数据源自肾功能正常患者</a:t>
            </a:r>
            <a:br>
              <a:rPr lang="en-US" altLang="zh-CN" sz="1100" dirty="0">
                <a:solidFill>
                  <a:srgbClr val="595959"/>
                </a:solidFill>
                <a:latin typeface="Pfizer Tomorrow" charset="0"/>
                <a:ea typeface="微软雅黑" panose="020B0503020204020204" charset="-122"/>
                <a:sym typeface="Pfizer Tomorrow" charset="0"/>
              </a:rPr>
            </a:br>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 KPC</a:t>
            </a:r>
            <a:r>
              <a:rPr lang="zh-CN" altLang="en-US" sz="1100" dirty="0">
                <a:solidFill>
                  <a:srgbClr val="595959"/>
                </a:solidFill>
                <a:latin typeface="Pfizer Tomorrow" charset="0"/>
                <a:ea typeface="微软雅黑" panose="020B0503020204020204" charset="-122"/>
                <a:sym typeface="Pfizer Tomorrow" charset="0"/>
              </a:rPr>
              <a:t>：肺炎克雷伯菌碳青霉烯酶； </a:t>
            </a: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PTA</a:t>
            </a:r>
            <a:r>
              <a:rPr lang="zh-CN" altLang="en-US" sz="1100" dirty="0">
                <a:solidFill>
                  <a:srgbClr val="595959"/>
                </a:solidFill>
                <a:latin typeface="Pfizer Tomorrow" charset="0"/>
                <a:ea typeface="微软雅黑" panose="020B0503020204020204" charset="-122"/>
                <a:sym typeface="Pfizer Tomorrow" charset="0"/>
              </a:rPr>
              <a:t>：达标概率；</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感染；</a:t>
            </a:r>
            <a:r>
              <a:rPr lang="en-US" altLang="zh-CN" sz="1100" dirty="0">
                <a:solidFill>
                  <a:srgbClr val="595959"/>
                </a:solidFill>
                <a:latin typeface="Pfizer Tomorrow" charset="0"/>
                <a:ea typeface="微软雅黑" panose="020B0503020204020204" charset="-122"/>
                <a:sym typeface="Pfizer Tomorrow" charset="0"/>
              </a:rPr>
              <a:t>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9" name="文本框 2"/>
          <p:cNvSpPr txBox="1"/>
          <p:nvPr/>
        </p:nvSpPr>
        <p:spPr>
          <a:xfrm>
            <a:off x="981075" y="3221038"/>
            <a:ext cx="10261600" cy="2398713"/>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horz" wrap="square" lIns="45718" tIns="45718" rIns="45718" bIns="45718" numCol="1" spcCol="38100" rtlCol="0" anchor="t" forceAA="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fontAlgn="auto" hangingPunct="0">
              <a:lnSpc>
                <a:spcPct val="100000"/>
              </a:lnSpc>
              <a:spcAft>
                <a:spcPts val="600"/>
              </a:spcAft>
              <a:buClrTx/>
              <a:buSzTx/>
              <a:buFont typeface="Wingdings" panose="05000000000000000000" pitchFamily="2" charset="2"/>
              <a:buChar char="l"/>
            </a:pPr>
            <a:r>
              <a:rPr lang="en-US" altLang="zh-CN" sz="1500" b="1" strike="noStrike" noProof="1" dirty="0">
                <a:solidFill>
                  <a:srgbClr val="000D45"/>
                </a:solidFill>
                <a:latin typeface="Pfizer Tomorrow" charset="0"/>
                <a:ea typeface="微软雅黑" panose="020B0503020204020204" charset="-122"/>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氨曲南-阿维巴坦抑酶谱广，全面覆盖CRE全酶型；抗菌活性强，高敏感，产KPC、MBL及共产酶KPC+MBL的CRE分离株对思福诺®️的耐药率均为0%，对不同酶型CRE及“三剑客”耐药CRE的敏感率近100%；疗效良好，高治愈，REVISIT、ASSEMBLE研究中治疗MBL-CRE的临床治愈率分别高达68.4%和41.7%，全因死亡率低，耐受性良好；高达标，治疗cIAI及HAP/VAP患者在首次给药间隔和稳态时的联合PTA</a:t>
            </a:r>
            <a:r>
              <a:rPr lang="zh-CN" altLang="en-US" sz="1600" b="1" strike="noStrike" noProof="1" dirty="0">
                <a:solidFill>
                  <a:srgbClr val="000D45"/>
                </a:solidFill>
                <a:latin typeface="Arial" panose="020B0604020202090204" pitchFamily="34" charset="0"/>
                <a:ea typeface="微软雅黑" panose="020B0503020204020204" charset="-122"/>
                <a:cs typeface="Arial" panose="020B0604020202090204" pitchFamily="34" charset="0"/>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96.7%*</a:t>
            </a:r>
            <a:br>
              <a:rPr lang="zh-CN" altLang="en-US" sz="1600" b="1" dirty="0">
                <a:solidFill>
                  <a:srgbClr val="000D45"/>
                </a:solidFill>
                <a:latin typeface="Pfizer Tomorrow" charset="0"/>
                <a:ea typeface="微软雅黑" panose="020B0503020204020204" charset="-122"/>
                <a:sym typeface="Pfizer Tomorrow" charset="0"/>
              </a:rPr>
            </a:br>
            <a:endParaRPr lang="zh-CN" altLang="en-US" sz="1600" b="1" strike="noStrike" noProof="1" dirty="0">
              <a:solidFill>
                <a:srgbClr val="000D45"/>
              </a:solidFill>
              <a:latin typeface="Pfizer Tomorrow" charset="0"/>
              <a:ea typeface="微软雅黑" panose="020B0503020204020204" charset="-122"/>
              <a:sym typeface="Pfizer Tomorrow" charset="0"/>
            </a:endParaRPr>
          </a:p>
          <a:p>
            <a:pPr marL="285750" indent="-285750" algn="l" fontAlgn="auto" hangingPunct="0">
              <a:lnSpc>
                <a:spcPct val="100000"/>
              </a:lnSpc>
              <a:spcAft>
                <a:spcPts val="600"/>
              </a:spcAft>
              <a:buClrTx/>
              <a:buSzTx/>
              <a:buFont typeface="Wingdings" panose="05000000000000000000" pitchFamily="2" charset="2"/>
              <a:buChar char="l"/>
            </a:pPr>
            <a:r>
              <a:rPr lang="zh-CN" altLang="en-US" sz="1600" b="1" strike="noStrike" noProof="1" dirty="0">
                <a:solidFill>
                  <a:srgbClr val="000D45"/>
                </a:solidFill>
                <a:latin typeface="Pfizer Tomorrow" charset="0"/>
                <a:ea typeface="微软雅黑" panose="020B0503020204020204" charset="-122"/>
                <a:sym typeface="Pfizer Tomorrow" charset="0"/>
              </a:rPr>
              <a:t>——高推荐，中国CRE感染诊治与防控专家共识推荐氨曲南-阿维巴坦治疗MBL-CRE感染；细菌药物敏感试验执行标准和典型报告解读（第三版）推荐</a:t>
            </a:r>
            <a:r>
              <a:rPr lang="zh-CN" altLang="en-US" sz="1600" b="1" dirty="0">
                <a:solidFill>
                  <a:srgbClr val="000D45"/>
                </a:solidFill>
                <a:latin typeface="Pfizer Tomorrow" charset="0"/>
                <a:ea typeface="微软雅黑" panose="020B0503020204020204" charset="-122"/>
                <a:sym typeface="Pfizer Tomorrow" charset="0"/>
              </a:rPr>
              <a:t>氨曲南</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阿维巴坦用于产</a:t>
            </a:r>
            <a:r>
              <a:rPr lang="en-US" altLang="zh-CN" sz="1600" b="1" dirty="0" err="1">
                <a:solidFill>
                  <a:srgbClr val="000D45"/>
                </a:solidFill>
                <a:latin typeface="Pfizer Tomorrow" charset="0"/>
                <a:ea typeface="微软雅黑" panose="020B0503020204020204" charset="-122"/>
                <a:sym typeface="Pfizer Tomorrow" charset="0"/>
              </a:rPr>
              <a:t>MBL</a:t>
            </a:r>
            <a:r>
              <a:rPr lang="zh-CN" altLang="en-US" sz="1600" b="1" dirty="0">
                <a:solidFill>
                  <a:srgbClr val="000D45"/>
                </a:solidFill>
                <a:latin typeface="Pfizer Tomorrow" charset="0"/>
                <a:ea typeface="微软雅黑" panose="020B0503020204020204" charset="-122"/>
                <a:sym typeface="Pfizer Tomorrow" charset="0"/>
              </a:rPr>
              <a:t>酶的肠杆菌目细菌</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包括大肠埃希菌、克雷伯菌属等</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的一线治疗</a:t>
            </a:r>
            <a:r>
              <a:rPr lang="en-US" altLang="zh-CN" sz="1600" b="1" strike="noStrike" noProof="1" dirty="0">
                <a:solidFill>
                  <a:srgbClr val="000D45"/>
                </a:solidFill>
                <a:latin typeface="Pfizer Tomorrow" charset="0"/>
                <a:ea typeface="微软雅黑" panose="020B0503020204020204" charset="-122"/>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可作为中重度嗜麦芽感染的选择</a:t>
            </a:r>
            <a:r>
              <a:rPr lang="en-US" altLang="zh-CN" sz="1600" b="1" strike="noStrike" noProof="1" dirty="0">
                <a:solidFill>
                  <a:srgbClr val="000D45"/>
                </a:solidFill>
                <a:latin typeface="Pfizer Tomorrow" charset="0"/>
                <a:ea typeface="微软雅黑" panose="020B0503020204020204" charset="-122"/>
                <a:sym typeface="Pfizer Tomorrow" charset="0"/>
              </a:rPr>
              <a:t>。</a:t>
            </a:r>
            <a:endParaRPr lang="en-US" altLang="zh-CN" sz="1600" b="1" strike="noStrike" noProof="1" dirty="0">
              <a:solidFill>
                <a:srgbClr val="000D45"/>
              </a:solidFill>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p:nvPr>
            <p:ph type="title"/>
          </p:nvPr>
        </p:nvSpPr>
        <p:spPr>
          <a:xfrm>
            <a:off x="2866390" y="1682433"/>
            <a:ext cx="6597650" cy="1438275"/>
          </a:xfrm>
        </p:spPr>
        <p:txBody>
          <a:bodyPr vert="horz" lIns="91440" tIns="45720" rIns="91440" bIns="45720" rtlCol="0" anchor="ctr">
            <a:normAutofit/>
          </a:bodyPr>
          <a:lstStyle/>
          <a:p>
            <a:pPr marL="0" marR="0" algn="ctr" defTabSz="914400" rtl="0" eaLnBrk="1" fontAlgn="auto" latinLnBrk="0" hangingPunct="1">
              <a:lnSpc>
                <a:spcPct val="90000"/>
              </a:lnSpc>
              <a:buNone/>
            </a:pPr>
            <a:r>
              <a:rPr kumimoji="0" lang="zh-CN" altLang="en-US" sz="6000" b="1" i="0" u="none" strike="noStrike" kern="1200" cap="none" spc="600" normalizeH="0" baseline="0" noProof="1" dirty="0">
                <a:solidFill>
                  <a:schemeClr val="tx1"/>
                </a:solidFill>
                <a:effectLst>
                  <a:outerShdw blurRad="50800" dist="38100" dir="2700000" algn="tl" rotWithShape="0">
                    <a:prstClr val="black">
                      <a:alpha val="40000"/>
                    </a:prstClr>
                  </a:outerShdw>
                </a:effectLst>
                <a:latin typeface="华文行楷" panose="02010800040101010101" charset="-122"/>
                <a:ea typeface="华文行楷" panose="02010800040101010101" charset="-122"/>
                <a:cs typeface="华文行楷" panose="02010800040101010101" charset="-122"/>
                <a:sym typeface="+mn-ea"/>
              </a:rPr>
              <a:t>谢 谢！</a:t>
            </a:r>
            <a:endParaRPr kumimoji="0" lang="zh-CN" altLang="en-US" sz="6000" b="1" i="0" u="none" strike="noStrike" kern="1200" cap="none" spc="600" normalizeH="0" baseline="0" noProof="1" dirty="0">
              <a:solidFill>
                <a:schemeClr val="tx1"/>
              </a:solidFill>
              <a:effectLst>
                <a:outerShdw blurRad="50800" dist="38100" dir="2700000" algn="tl" rotWithShape="0">
                  <a:prstClr val="black">
                    <a:alpha val="40000"/>
                  </a:prstClr>
                </a:outerShdw>
              </a:effectLst>
              <a:latin typeface="华文行楷" panose="02010800040101010101" charset="-122"/>
              <a:ea typeface="华文行楷" panose="02010800040101010101" charset="-122"/>
              <a:cs typeface="华文行楷" panose="02010800040101010101" charset="-122"/>
              <a:sym typeface="+mn-ea"/>
            </a:endParaRPr>
          </a:p>
        </p:txBody>
      </p:sp>
      <p:sp>
        <p:nvSpPr>
          <p:cNvPr id="5" name="矩形 4"/>
          <p:cNvSpPr/>
          <p:nvPr/>
        </p:nvSpPr>
        <p:spPr>
          <a:xfrm>
            <a:off x="1611313" y="6205894"/>
            <a:ext cx="8969375" cy="481094"/>
          </a:xfrm>
          <a:prstGeom prst="rect">
            <a:avLst/>
          </a:prstGeom>
        </p:spPr>
        <p:txBody>
          <a:bodyPr wrap="square">
            <a:spAutoFit/>
          </a:bodyPr>
          <a:p>
            <a:pPr algn="ctr">
              <a:lnSpc>
                <a:spcPct val="120000"/>
              </a:lnSpc>
            </a:pPr>
            <a:r>
              <a:rPr lang="zh-CN" altLang="zh-CN" sz="1100">
                <a:solidFill>
                  <a:srgbClr val="00033E"/>
                </a:solidFill>
                <a:latin typeface="Arial" panose="020B0604020202090204"/>
                <a:cs typeface="+mn-ea"/>
                <a:sym typeface="+mn-lt"/>
              </a:rPr>
              <a:t>免责声明：</a:t>
            </a:r>
            <a:endParaRPr lang="en-US" altLang="zh-CN" sz="1100">
              <a:solidFill>
                <a:srgbClr val="00033E"/>
              </a:solidFill>
              <a:latin typeface="Arial" panose="020B0604020202090204"/>
              <a:cs typeface="+mn-ea"/>
              <a:sym typeface="+mn-lt"/>
            </a:endParaRPr>
          </a:p>
          <a:p>
            <a:pPr algn="ctr">
              <a:lnSpc>
                <a:spcPct val="120000"/>
              </a:lnSpc>
            </a:pPr>
            <a:r>
              <a:rPr lang="zh-CN" altLang="en-US" sz="1100">
                <a:solidFill>
                  <a:srgbClr val="00033E"/>
                </a:solidFill>
                <a:latin typeface="Arial" panose="020B0604020202090204"/>
                <a:cs typeface="+mn-ea"/>
                <a:sym typeface="+mn-lt"/>
              </a:rPr>
              <a:t>此资料应仅在其原始链接位置观看。对于经其他途径查看到的内容，辉瑞不承担责任。请扫描文档旁边的二维码，以获得说明书信息。</a:t>
            </a:r>
            <a:endParaRPr lang="zh-CN" altLang="en-US" sz="1100">
              <a:solidFill>
                <a:srgbClr val="00033E"/>
              </a:solidFill>
              <a:latin typeface="Arial" panose="020B0604020202090204"/>
              <a:cs typeface="+mn-ea"/>
              <a:sym typeface="+mn-lt"/>
            </a:endParaRPr>
          </a:p>
        </p:txBody>
      </p:sp>
      <p:grpSp>
        <p:nvGrpSpPr>
          <p:cNvPr id="4" name="组合 3"/>
          <p:cNvGrpSpPr/>
          <p:nvPr/>
        </p:nvGrpSpPr>
        <p:grpSpPr>
          <a:xfrm>
            <a:off x="4153976" y="4943733"/>
            <a:ext cx="3758318" cy="994855"/>
            <a:chOff x="3619756" y="8313313"/>
            <a:chExt cx="3758318" cy="994855"/>
          </a:xfrm>
        </p:grpSpPr>
        <p:pic>
          <p:nvPicPr>
            <p:cNvPr id="20" name="图片 19"/>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flipV="1">
              <a:off x="4123401" y="8599233"/>
              <a:ext cx="638180" cy="638180"/>
            </a:xfrm>
            <a:prstGeom prst="rect">
              <a:avLst/>
            </a:prstGeom>
          </p:spPr>
        </p:pic>
        <p:sp>
          <p:nvSpPr>
            <p:cNvPr id="21" name="文本框 20"/>
            <p:cNvSpPr txBox="1"/>
            <p:nvPr/>
          </p:nvSpPr>
          <p:spPr>
            <a:xfrm>
              <a:off x="3619756" y="8313313"/>
              <a:ext cx="169175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zh-CN" sz="1100" b="1" i="0" u="none" strike="noStrike" kern="0" cap="none" spc="0" normalizeH="0" baseline="0" noProof="0">
                  <a:ln>
                    <a:noFill/>
                  </a:ln>
                  <a:solidFill>
                    <a:schemeClr val="bg1"/>
                  </a:solidFill>
                  <a:effectLst/>
                  <a:uLnTx/>
                  <a:uFillTx/>
                  <a:cs typeface="Times New Roman" panose="02020503050405090304" pitchFamily="18" charset="0"/>
                </a:rPr>
                <a:t>思福诺</a:t>
              </a:r>
              <a:r>
                <a:rPr kumimoji="0" lang="en-US" altLang="zh-CN" sz="1100" b="1" i="0" u="none" strike="noStrike" kern="0" cap="none" spc="0" normalizeH="0" baseline="30000" noProof="0">
                  <a:ln>
                    <a:noFill/>
                  </a:ln>
                  <a:solidFill>
                    <a:schemeClr val="bg1"/>
                  </a:solidFill>
                  <a:effectLst/>
                  <a:uLnTx/>
                  <a:uFillTx/>
                </a:rPr>
                <a:t>®</a:t>
              </a:r>
              <a:r>
                <a:rPr kumimoji="0" lang="en-US" altLang="zh-CN" sz="1100" b="1" i="0" u="none" strike="noStrike" kern="0" cap="none" spc="0" normalizeH="0" baseline="0" noProof="0">
                  <a:ln>
                    <a:noFill/>
                  </a:ln>
                  <a:solidFill>
                    <a:schemeClr val="bg1"/>
                  </a:solidFill>
                  <a:effectLst/>
                  <a:uLnTx/>
                  <a:uFillTx/>
                </a:rPr>
                <a:t>/</a:t>
              </a:r>
              <a:r>
                <a:rPr kumimoji="0" lang="en-US" altLang="zh-CN" sz="1100" b="1" i="0" u="none" strike="noStrike" kern="0" cap="none" spc="0" normalizeH="0" baseline="0" noProof="0" err="1">
                  <a:ln>
                    <a:noFill/>
                  </a:ln>
                  <a:solidFill>
                    <a:schemeClr val="bg1"/>
                  </a:solidFill>
                  <a:effectLst/>
                  <a:uLnTx/>
                  <a:uFillTx/>
                </a:rPr>
                <a:t>Emblaveo</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pic>
          <p:nvPicPr>
            <p:cNvPr id="22" name="图片 21"/>
            <p:cNvPicPr>
              <a:picLocks noChangeAspect="1"/>
            </p:cNvPicPr>
            <p:nvPr/>
          </p:nvPicPr>
          <p:blipFill>
            <a:blip r:embed="rId2"/>
            <a:stretch>
              <a:fillRect/>
            </a:stretch>
          </p:blipFill>
          <p:spPr>
            <a:xfrm>
              <a:off x="5333755" y="8572096"/>
              <a:ext cx="692454" cy="692454"/>
            </a:xfrm>
            <a:prstGeom prst="rect">
              <a:avLst/>
            </a:prstGeom>
          </p:spPr>
        </p:pic>
        <p:pic>
          <p:nvPicPr>
            <p:cNvPr id="23" name="图片 22"/>
            <p:cNvPicPr>
              <a:picLocks noChangeAspect="1"/>
            </p:cNvPicPr>
            <p:nvPr/>
          </p:nvPicPr>
          <p:blipFill>
            <a:blip r:embed="rId3"/>
            <a:stretch>
              <a:fillRect/>
            </a:stretch>
          </p:blipFill>
          <p:spPr>
            <a:xfrm>
              <a:off x="6598384" y="8528478"/>
              <a:ext cx="779690" cy="779690"/>
            </a:xfrm>
            <a:prstGeom prst="rect">
              <a:avLst/>
            </a:prstGeom>
          </p:spPr>
        </p:pic>
        <p:sp>
          <p:nvSpPr>
            <p:cNvPr id="24" name="文本框 23"/>
            <p:cNvSpPr txBox="1"/>
            <p:nvPr/>
          </p:nvSpPr>
          <p:spPr>
            <a:xfrm>
              <a:off x="6646913" y="8313313"/>
              <a:ext cx="66939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chemeClr val="bg1"/>
                  </a:solidFill>
                  <a:effectLst/>
                  <a:uLnTx/>
                  <a:uFillTx/>
                </a:rPr>
                <a:t>泰阁</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sp>
          <p:nvSpPr>
            <p:cNvPr id="25" name="文本框 24"/>
            <p:cNvSpPr txBox="1"/>
            <p:nvPr/>
          </p:nvSpPr>
          <p:spPr>
            <a:xfrm>
              <a:off x="5311510" y="8313313"/>
              <a:ext cx="834550"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chemeClr val="bg1"/>
                  </a:solidFill>
                  <a:effectLst/>
                  <a:uLnTx/>
                  <a:uFillTx/>
                </a:rPr>
                <a:t>思福妥</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grpSp>
      <p:sp>
        <p:nvSpPr>
          <p:cNvPr id="3" name="文本框 2"/>
          <p:cNvSpPr txBox="1"/>
          <p:nvPr/>
        </p:nvSpPr>
        <p:spPr>
          <a:xfrm>
            <a:off x="4154611" y="4897378"/>
            <a:ext cx="169175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zh-CN" sz="1100" b="1" i="0" u="none" strike="noStrike" kern="0" cap="none" spc="0" normalizeH="0" baseline="0" noProof="0">
                <a:ln>
                  <a:noFill/>
                </a:ln>
                <a:solidFill>
                  <a:srgbClr val="00033E"/>
                </a:solidFill>
                <a:effectLst/>
                <a:uLnTx/>
                <a:uFillTx/>
                <a:cs typeface="Times New Roman" panose="02020503050405090304" pitchFamily="18" charset="0"/>
              </a:rPr>
              <a:t>思福诺</a:t>
            </a:r>
            <a:r>
              <a:rPr kumimoji="0" lang="en-US" altLang="zh-CN" sz="1100" b="1" i="0" u="none" strike="noStrike" kern="0" cap="none" spc="0" normalizeH="0" baseline="30000" noProof="0">
                <a:ln>
                  <a:noFill/>
                </a:ln>
                <a:solidFill>
                  <a:srgbClr val="00033E"/>
                </a:solidFill>
                <a:effectLst/>
                <a:uLnTx/>
                <a:uFillTx/>
              </a:rPr>
              <a:t>®</a:t>
            </a:r>
            <a:r>
              <a:rPr kumimoji="0" lang="en-US" altLang="zh-CN" sz="1100" b="1" i="0" u="none" strike="noStrike" kern="0" cap="none" spc="0" normalizeH="0" baseline="0" noProof="0">
                <a:ln>
                  <a:noFill/>
                </a:ln>
                <a:solidFill>
                  <a:srgbClr val="00033E"/>
                </a:solidFill>
                <a:effectLst/>
                <a:uLnTx/>
                <a:uFillTx/>
              </a:rPr>
              <a:t>/</a:t>
            </a:r>
            <a:r>
              <a:rPr kumimoji="0" lang="en-US" altLang="zh-CN" sz="1100" b="1" i="0" u="none" strike="noStrike" kern="0" cap="none" spc="0" normalizeH="0" baseline="0" noProof="0" err="1">
                <a:ln>
                  <a:noFill/>
                </a:ln>
                <a:solidFill>
                  <a:srgbClr val="00033E"/>
                </a:solidFill>
                <a:effectLst/>
                <a:uLnTx/>
                <a:uFillTx/>
              </a:rPr>
              <a:t>Emblaveo</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6" name="文本框 5"/>
          <p:cNvSpPr txBox="1"/>
          <p:nvPr/>
        </p:nvSpPr>
        <p:spPr>
          <a:xfrm>
            <a:off x="7181768" y="4897378"/>
            <a:ext cx="66939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rgbClr val="00033E"/>
                </a:solidFill>
                <a:effectLst/>
                <a:uLnTx/>
                <a:uFillTx/>
              </a:rPr>
              <a:t>泰阁</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7" name="文本框 6"/>
          <p:cNvSpPr txBox="1"/>
          <p:nvPr/>
        </p:nvSpPr>
        <p:spPr>
          <a:xfrm>
            <a:off x="5846365" y="4897378"/>
            <a:ext cx="834550"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rgbClr val="00033E"/>
                </a:solidFill>
                <a:effectLst/>
                <a:uLnTx/>
                <a:uFillTx/>
              </a:rPr>
              <a:t>思福妥</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8" name="文本框 7"/>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479425" y="1798329"/>
            <a:ext cx="1123315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5" name="组合 24"/>
          <p:cNvGrpSpPr/>
          <p:nvPr/>
        </p:nvGrpSpPr>
        <p:grpSpPr>
          <a:xfrm>
            <a:off x="3084286" y="5757863"/>
            <a:ext cx="6023428" cy="298515"/>
            <a:chOff x="3084286" y="5786438"/>
            <a:chExt cx="6023428" cy="298515"/>
          </a:xfrm>
        </p:grpSpPr>
        <p:sp>
          <p:nvSpPr>
            <p:cNvPr id="24" name="矩形 23"/>
            <p:cNvSpPr/>
            <p:nvPr/>
          </p:nvSpPr>
          <p:spPr>
            <a:xfrm>
              <a:off x="3084286" y="5786438"/>
              <a:ext cx="6023428" cy="298515"/>
            </a:xfrm>
            <a:prstGeom prst="rect">
              <a:avLst/>
            </a:prstGeom>
            <a:gradFill>
              <a:gsLst>
                <a:gs pos="50000">
                  <a:schemeClr val="accent1">
                    <a:alpha val="10000"/>
                  </a:schemeClr>
                </a:gs>
                <a:gs pos="0">
                  <a:schemeClr val="accent1">
                    <a:alpha val="0"/>
                  </a:schemeClr>
                </a:gs>
                <a:gs pos="100000">
                  <a:schemeClr val="accent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3" name="组合 22"/>
            <p:cNvGrpSpPr/>
            <p:nvPr/>
          </p:nvGrpSpPr>
          <p:grpSpPr>
            <a:xfrm>
              <a:off x="4741518" y="5858751"/>
              <a:ext cx="2708965" cy="153888"/>
              <a:chOff x="4460072" y="5663147"/>
              <a:chExt cx="2708965" cy="153888"/>
            </a:xfrm>
          </p:grpSpPr>
          <p:sp>
            <p:nvSpPr>
              <p:cNvPr id="32" name="TextBox 2052"/>
              <p:cNvSpPr txBox="1"/>
              <p:nvPr/>
            </p:nvSpPr>
            <p:spPr>
              <a:xfrm>
                <a:off x="4656328" y="5663147"/>
                <a:ext cx="1025922" cy="153888"/>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rPr>
                  <a:t>抗生素获批或发布</a:t>
                </a:r>
                <a:endPar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endParaRPr>
              </a:p>
            </p:txBody>
          </p:sp>
          <p:sp>
            <p:nvSpPr>
              <p:cNvPr id="34" name="TextBox 2059"/>
              <p:cNvSpPr txBox="1"/>
              <p:nvPr/>
            </p:nvSpPr>
            <p:spPr>
              <a:xfrm>
                <a:off x="6399596" y="5663147"/>
                <a:ext cx="769441" cy="153888"/>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000" b="0" i="0" u="none" strike="noStrike" kern="0" cap="none" spc="0" normalizeH="0" baseline="0" noProof="0" err="1">
                    <a:ln>
                      <a:noFill/>
                    </a:ln>
                    <a:solidFill>
                      <a:srgbClr val="000000"/>
                    </a:solidFill>
                    <a:effectLst/>
                    <a:uLnTx/>
                    <a:uFillTx/>
                    <a:latin typeface="+mj-ea"/>
                    <a:ea typeface="+mj-ea"/>
                    <a:sym typeface="Arial Narrow" panose="020B0606020202030204" pitchFamily="34" charset="0"/>
                  </a:rPr>
                  <a:t>发现耐药细菌</a:t>
                </a:r>
                <a:endPar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endParaRPr>
              </a:p>
            </p:txBody>
          </p:sp>
          <p:sp>
            <p:nvSpPr>
              <p:cNvPr id="98" name="椭圆 97"/>
              <p:cNvSpPr/>
              <p:nvPr/>
            </p:nvSpPr>
            <p:spPr>
              <a:xfrm>
                <a:off x="4460072" y="5681561"/>
                <a:ext cx="117060" cy="117060"/>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椭圆 98"/>
              <p:cNvSpPr/>
              <p:nvPr/>
            </p:nvSpPr>
            <p:spPr>
              <a:xfrm>
                <a:off x="6203340" y="5681561"/>
                <a:ext cx="117060" cy="117060"/>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cxnSp>
        <p:nvCxnSpPr>
          <p:cNvPr id="71" name="Straight Connector 123"/>
          <p:cNvCxnSpPr/>
          <p:nvPr/>
        </p:nvCxnSpPr>
        <p:spPr bwMode="gray">
          <a:xfrm>
            <a:off x="1068382" y="2423125"/>
            <a:ext cx="0" cy="3271287"/>
          </a:xfrm>
          <a:prstGeom prst="line">
            <a:avLst/>
          </a:prstGeom>
          <a:noFill/>
          <a:ln w="6350" cap="rnd">
            <a:solidFill>
              <a:schemeClr val="bg1">
                <a:lumMod val="75000"/>
              </a:schemeClr>
            </a:solidFill>
            <a:prstDash val="solid"/>
            <a:round/>
          </a:ln>
          <a:effectLst/>
        </p:spPr>
      </p:cxnSp>
      <p:cxnSp>
        <p:nvCxnSpPr>
          <p:cNvPr id="72" name="Straight Connector 124"/>
          <p:cNvCxnSpPr/>
          <p:nvPr/>
        </p:nvCxnSpPr>
        <p:spPr bwMode="gray">
          <a:xfrm>
            <a:off x="2325287" y="2423125"/>
            <a:ext cx="0" cy="3271287"/>
          </a:xfrm>
          <a:prstGeom prst="line">
            <a:avLst/>
          </a:prstGeom>
          <a:noFill/>
          <a:ln w="6350" cap="rnd">
            <a:solidFill>
              <a:schemeClr val="bg1">
                <a:lumMod val="75000"/>
              </a:schemeClr>
            </a:solidFill>
            <a:prstDash val="solid"/>
            <a:round/>
          </a:ln>
          <a:effectLst/>
        </p:spPr>
      </p:cxnSp>
      <p:cxnSp>
        <p:nvCxnSpPr>
          <p:cNvPr id="73" name="Straight Connector 125"/>
          <p:cNvCxnSpPr/>
          <p:nvPr/>
        </p:nvCxnSpPr>
        <p:spPr bwMode="gray">
          <a:xfrm>
            <a:off x="3582192" y="2423125"/>
            <a:ext cx="0" cy="3271287"/>
          </a:xfrm>
          <a:prstGeom prst="line">
            <a:avLst/>
          </a:prstGeom>
          <a:noFill/>
          <a:ln w="6350" cap="rnd">
            <a:solidFill>
              <a:schemeClr val="bg1">
                <a:lumMod val="75000"/>
              </a:schemeClr>
            </a:solidFill>
            <a:prstDash val="solid"/>
            <a:round/>
          </a:ln>
          <a:effectLst/>
        </p:spPr>
      </p:cxnSp>
      <p:cxnSp>
        <p:nvCxnSpPr>
          <p:cNvPr id="74" name="Straight Connector 126"/>
          <p:cNvCxnSpPr/>
          <p:nvPr/>
        </p:nvCxnSpPr>
        <p:spPr bwMode="gray">
          <a:xfrm>
            <a:off x="4839097" y="2423125"/>
            <a:ext cx="0" cy="3271287"/>
          </a:xfrm>
          <a:prstGeom prst="line">
            <a:avLst/>
          </a:prstGeom>
          <a:noFill/>
          <a:ln w="6350" cap="rnd">
            <a:solidFill>
              <a:schemeClr val="bg1">
                <a:lumMod val="75000"/>
              </a:schemeClr>
            </a:solidFill>
            <a:prstDash val="solid"/>
            <a:round/>
          </a:ln>
          <a:effectLst/>
        </p:spPr>
      </p:cxnSp>
      <p:cxnSp>
        <p:nvCxnSpPr>
          <p:cNvPr id="75" name="Straight Connector 1023"/>
          <p:cNvCxnSpPr/>
          <p:nvPr/>
        </p:nvCxnSpPr>
        <p:spPr bwMode="gray">
          <a:xfrm>
            <a:off x="6096002" y="2423125"/>
            <a:ext cx="0" cy="3271287"/>
          </a:xfrm>
          <a:prstGeom prst="line">
            <a:avLst/>
          </a:prstGeom>
          <a:noFill/>
          <a:ln w="6350" cap="rnd">
            <a:solidFill>
              <a:schemeClr val="bg1">
                <a:lumMod val="75000"/>
              </a:schemeClr>
            </a:solidFill>
            <a:prstDash val="solid"/>
            <a:round/>
          </a:ln>
          <a:effectLst/>
        </p:spPr>
      </p:cxnSp>
      <p:cxnSp>
        <p:nvCxnSpPr>
          <p:cNvPr id="76" name="Straight Connector 1024"/>
          <p:cNvCxnSpPr/>
          <p:nvPr/>
        </p:nvCxnSpPr>
        <p:spPr bwMode="gray">
          <a:xfrm>
            <a:off x="7352907" y="2423125"/>
            <a:ext cx="0" cy="3271287"/>
          </a:xfrm>
          <a:prstGeom prst="line">
            <a:avLst/>
          </a:prstGeom>
          <a:noFill/>
          <a:ln w="6350" cap="rnd">
            <a:solidFill>
              <a:schemeClr val="bg1">
                <a:lumMod val="75000"/>
              </a:schemeClr>
            </a:solidFill>
            <a:prstDash val="solid"/>
            <a:round/>
          </a:ln>
          <a:effectLst/>
        </p:spPr>
      </p:cxnSp>
      <p:cxnSp>
        <p:nvCxnSpPr>
          <p:cNvPr id="77" name="Straight Connector 1026"/>
          <p:cNvCxnSpPr/>
          <p:nvPr/>
        </p:nvCxnSpPr>
        <p:spPr bwMode="gray">
          <a:xfrm>
            <a:off x="8609812" y="2423125"/>
            <a:ext cx="0" cy="3271287"/>
          </a:xfrm>
          <a:prstGeom prst="line">
            <a:avLst/>
          </a:prstGeom>
          <a:noFill/>
          <a:ln w="6350" cap="rnd">
            <a:solidFill>
              <a:schemeClr val="bg1">
                <a:lumMod val="75000"/>
              </a:schemeClr>
            </a:solidFill>
            <a:prstDash val="solid"/>
            <a:round/>
          </a:ln>
          <a:effectLst/>
        </p:spPr>
      </p:cxnSp>
      <p:cxnSp>
        <p:nvCxnSpPr>
          <p:cNvPr id="78" name="Straight Connector 1028"/>
          <p:cNvCxnSpPr/>
          <p:nvPr/>
        </p:nvCxnSpPr>
        <p:spPr bwMode="gray">
          <a:xfrm>
            <a:off x="9866717" y="2423125"/>
            <a:ext cx="0" cy="3271287"/>
          </a:xfrm>
          <a:prstGeom prst="line">
            <a:avLst/>
          </a:prstGeom>
          <a:noFill/>
          <a:ln w="6350" cap="rnd">
            <a:solidFill>
              <a:schemeClr val="bg1">
                <a:lumMod val="75000"/>
              </a:schemeClr>
            </a:solidFill>
            <a:prstDash val="solid"/>
            <a:round/>
          </a:ln>
          <a:effectLst/>
        </p:spPr>
      </p:cxnSp>
      <p:cxnSp>
        <p:nvCxnSpPr>
          <p:cNvPr id="79" name="Straight Connector 1029"/>
          <p:cNvCxnSpPr/>
          <p:nvPr/>
        </p:nvCxnSpPr>
        <p:spPr bwMode="gray">
          <a:xfrm>
            <a:off x="11123618" y="2423125"/>
            <a:ext cx="0" cy="3271287"/>
          </a:xfrm>
          <a:prstGeom prst="line">
            <a:avLst/>
          </a:prstGeom>
          <a:noFill/>
          <a:ln w="6350" cap="rnd">
            <a:solidFill>
              <a:schemeClr val="bg1">
                <a:lumMod val="75000"/>
              </a:schemeClr>
            </a:solidFill>
            <a:prstDash val="solid"/>
            <a:round/>
          </a:ln>
          <a:effectLst/>
        </p:spPr>
      </p:cxnSp>
      <p:sp>
        <p:nvSpPr>
          <p:cNvPr id="9" name="TextBox 1032"/>
          <p:cNvSpPr txBox="1"/>
          <p:nvPr/>
        </p:nvSpPr>
        <p:spPr>
          <a:xfrm>
            <a:off x="64974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8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0" name="TextBox 1033"/>
          <p:cNvSpPr txBox="1"/>
          <p:nvPr/>
        </p:nvSpPr>
        <p:spPr>
          <a:xfrm>
            <a:off x="190664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8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1" name="TextBox 1034"/>
          <p:cNvSpPr txBox="1"/>
          <p:nvPr/>
        </p:nvSpPr>
        <p:spPr>
          <a:xfrm>
            <a:off x="316355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9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2" name="TextBox 1035"/>
          <p:cNvSpPr txBox="1"/>
          <p:nvPr/>
        </p:nvSpPr>
        <p:spPr>
          <a:xfrm>
            <a:off x="442045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9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3" name="TextBox 1036"/>
          <p:cNvSpPr txBox="1"/>
          <p:nvPr/>
        </p:nvSpPr>
        <p:spPr>
          <a:xfrm>
            <a:off x="567736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0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4" name="TextBox 1038"/>
          <p:cNvSpPr txBox="1"/>
          <p:nvPr/>
        </p:nvSpPr>
        <p:spPr>
          <a:xfrm>
            <a:off x="693426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0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5" name="TextBox 1039"/>
          <p:cNvSpPr txBox="1"/>
          <p:nvPr/>
        </p:nvSpPr>
        <p:spPr>
          <a:xfrm>
            <a:off x="819117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1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6" name="TextBox 1040"/>
          <p:cNvSpPr txBox="1"/>
          <p:nvPr/>
        </p:nvSpPr>
        <p:spPr>
          <a:xfrm>
            <a:off x="9448077" y="1907930"/>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1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7" name="TextBox 1041"/>
          <p:cNvSpPr txBox="1"/>
          <p:nvPr/>
        </p:nvSpPr>
        <p:spPr>
          <a:xfrm>
            <a:off x="10704978" y="1907930"/>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2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cxnSp>
        <p:nvCxnSpPr>
          <p:cNvPr id="37" name="Straight Connector 1045"/>
          <p:cNvCxnSpPr/>
          <p:nvPr/>
        </p:nvCxnSpPr>
        <p:spPr bwMode="gray">
          <a:xfrm>
            <a:off x="1157039" y="3139325"/>
            <a:ext cx="671482" cy="0"/>
          </a:xfrm>
          <a:prstGeom prst="line">
            <a:avLst/>
          </a:prstGeom>
          <a:noFill/>
          <a:ln w="6350" cap="rnd">
            <a:solidFill>
              <a:srgbClr val="FFFFFF">
                <a:lumMod val="75000"/>
              </a:srgbClr>
            </a:solidFill>
            <a:prstDash val="solid"/>
            <a:round/>
          </a:ln>
          <a:effectLst/>
        </p:spPr>
      </p:cxnSp>
      <p:cxnSp>
        <p:nvCxnSpPr>
          <p:cNvPr id="42" name="Straight Connector 1050"/>
          <p:cNvCxnSpPr/>
          <p:nvPr/>
        </p:nvCxnSpPr>
        <p:spPr bwMode="gray">
          <a:xfrm>
            <a:off x="2388963" y="4032149"/>
            <a:ext cx="5935888" cy="0"/>
          </a:xfrm>
          <a:prstGeom prst="line">
            <a:avLst/>
          </a:prstGeom>
          <a:noFill/>
          <a:ln w="6350" cap="rnd">
            <a:solidFill>
              <a:srgbClr val="FFFFFF">
                <a:lumMod val="75000"/>
              </a:srgbClr>
            </a:solidFill>
            <a:prstDash val="solid"/>
            <a:round/>
          </a:ln>
          <a:effectLst/>
        </p:spPr>
      </p:cxnSp>
      <p:sp>
        <p:nvSpPr>
          <p:cNvPr id="43" name="TextBox 1051"/>
          <p:cNvSpPr txBox="1"/>
          <p:nvPr/>
        </p:nvSpPr>
        <p:spPr>
          <a:xfrm>
            <a:off x="2357945" y="3434928"/>
            <a:ext cx="1450661" cy="33855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100" b="1" i="0" u="none" strike="noStrike" kern="0" cap="none" spc="0" normalizeH="0" baseline="0" noProof="0" err="1">
                <a:ln>
                  <a:noFill/>
                </a:ln>
                <a:solidFill>
                  <a:srgbClr val="0095FF"/>
                </a:solidFill>
                <a:effectLst/>
                <a:uLnTx/>
                <a:uFillTx/>
                <a:latin typeface="+mj-ea"/>
                <a:ea typeface="+mj-ea"/>
                <a:sym typeface="Arial Narrow" panose="020B0606020202030204" pitchFamily="34" charset="0"/>
              </a:rPr>
              <a:t>第一个碳青霉烯类</a:t>
            </a:r>
            <a:r>
              <a:rPr kumimoji="0" lang="zh-CN" altLang="en-US"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药物</a:t>
            </a:r>
            <a: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 </a:t>
            </a:r>
            <a:b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br>
            <a: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亚胺培南</a:t>
            </a:r>
            <a:r>
              <a:rPr kumimoji="0" lang="en-GB" sz="1100" b="1" i="0" u="none" strike="noStrike" kern="0" cap="none" spc="0" normalizeH="0" baseline="30000" noProof="0">
                <a:ln>
                  <a:noFill/>
                </a:ln>
                <a:solidFill>
                  <a:srgbClr val="0095FF"/>
                </a:solidFill>
                <a:effectLst/>
                <a:uLnTx/>
                <a:uFillTx/>
                <a:latin typeface="+mj-ea"/>
                <a:ea typeface="+mj-ea"/>
                <a:sym typeface="Arial Narrow" panose="020B0606020202030204" pitchFamily="34" charset="0"/>
              </a:rPr>
              <a:t>3</a:t>
            </a:r>
            <a:endPar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pic>
        <p:nvPicPr>
          <p:cNvPr id="47" name="Picture 2" descr="Image result for japanese flag "/>
          <p:cNvPicPr>
            <a:picLocks noChangeAspect="1" noChangeArrowheads="1"/>
          </p:cNvPicPr>
          <p:nvPr/>
        </p:nvPicPr>
        <p:blipFill>
          <a:blip r:embed="rId1"/>
          <a:srcRect/>
          <a:stretch>
            <a:fillRect/>
          </a:stretch>
        </p:blipFill>
        <p:spPr bwMode="auto">
          <a:xfrm>
            <a:off x="3600491" y="4697893"/>
            <a:ext cx="352143" cy="24273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52" name="Picture 4" descr="The Your Web: Usa Flag Pictures - Usa Flag - Usa National Flag - Usa ..."/>
          <p:cNvPicPr>
            <a:picLocks noChangeAspect="1" noChangeArrowheads="1"/>
          </p:cNvPicPr>
          <p:nvPr/>
        </p:nvPicPr>
        <p:blipFill rotWithShape="1">
          <a:blip r:embed="rId2"/>
          <a:srcRect l="-1" r="12753"/>
          <a:stretch>
            <a:fillRect/>
          </a:stretch>
        </p:blipFill>
        <p:spPr bwMode="auto">
          <a:xfrm>
            <a:off x="4867584" y="3004669"/>
            <a:ext cx="460986" cy="25291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56" name="Picture 14" descr="Lv Prices In Italy Flag | Paul Smith"/>
          <p:cNvPicPr>
            <a:picLocks noChangeAspect="1" noChangeArrowheads="1"/>
          </p:cNvPicPr>
          <p:nvPr/>
        </p:nvPicPr>
        <p:blipFill>
          <a:blip r:embed="rId3"/>
          <a:srcRect/>
          <a:stretch>
            <a:fillRect/>
          </a:stretch>
        </p:blipFill>
        <p:spPr bwMode="auto">
          <a:xfrm>
            <a:off x="5211296" y="4785898"/>
            <a:ext cx="467366" cy="26161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61" name="Picture 8" descr="Image result for turkey flag"/>
          <p:cNvPicPr>
            <a:picLocks noChangeAspect="1" noChangeArrowheads="1"/>
          </p:cNvPicPr>
          <p:nvPr/>
        </p:nvPicPr>
        <p:blipFill>
          <a:blip r:embed="rId4"/>
          <a:srcRect/>
          <a:stretch>
            <a:fillRect/>
          </a:stretch>
        </p:blipFill>
        <p:spPr bwMode="auto">
          <a:xfrm>
            <a:off x="6542885" y="3054272"/>
            <a:ext cx="468970" cy="272646"/>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67" name="Picture 6" descr="Fine HD Wallpapers - Download Free HD wallpapers: indian flag high ..."/>
          <p:cNvPicPr>
            <a:picLocks noChangeAspect="1" noChangeArrowheads="1"/>
          </p:cNvPicPr>
          <p:nvPr/>
        </p:nvPicPr>
        <p:blipFill>
          <a:blip r:embed="rId5"/>
          <a:srcRect/>
          <a:stretch>
            <a:fillRect/>
          </a:stretch>
        </p:blipFill>
        <p:spPr bwMode="auto">
          <a:xfrm>
            <a:off x="7984431" y="4706797"/>
            <a:ext cx="485058" cy="271639"/>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sp>
        <p:nvSpPr>
          <p:cNvPr id="89" name="菱形 88"/>
          <p:cNvSpPr/>
          <p:nvPr/>
        </p:nvSpPr>
        <p:spPr>
          <a:xfrm>
            <a:off x="99017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0" name="菱形 89"/>
          <p:cNvSpPr/>
          <p:nvPr/>
        </p:nvSpPr>
        <p:spPr>
          <a:xfrm>
            <a:off x="224708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1" name="菱形 90"/>
          <p:cNvSpPr/>
          <p:nvPr/>
        </p:nvSpPr>
        <p:spPr>
          <a:xfrm>
            <a:off x="350398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2" name="菱形 91"/>
          <p:cNvSpPr/>
          <p:nvPr/>
        </p:nvSpPr>
        <p:spPr>
          <a:xfrm>
            <a:off x="476089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3" name="菱形 92"/>
          <p:cNvSpPr/>
          <p:nvPr/>
        </p:nvSpPr>
        <p:spPr>
          <a:xfrm>
            <a:off x="601779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4" name="菱形 93"/>
          <p:cNvSpPr/>
          <p:nvPr/>
        </p:nvSpPr>
        <p:spPr>
          <a:xfrm>
            <a:off x="727470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5" name="菱形 94"/>
          <p:cNvSpPr/>
          <p:nvPr/>
        </p:nvSpPr>
        <p:spPr>
          <a:xfrm>
            <a:off x="853160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6" name="菱形 95"/>
          <p:cNvSpPr/>
          <p:nvPr/>
        </p:nvSpPr>
        <p:spPr>
          <a:xfrm>
            <a:off x="978851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7" name="菱形 96"/>
          <p:cNvSpPr/>
          <p:nvPr/>
        </p:nvSpPr>
        <p:spPr>
          <a:xfrm>
            <a:off x="11045413"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102" name="椭圆 101"/>
          <p:cNvSpPr/>
          <p:nvPr/>
        </p:nvSpPr>
        <p:spPr>
          <a:xfrm>
            <a:off x="989106" y="3060049"/>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6" name="组合 105"/>
          <p:cNvGrpSpPr/>
          <p:nvPr/>
        </p:nvGrpSpPr>
        <p:grpSpPr>
          <a:xfrm>
            <a:off x="1016145" y="2632835"/>
            <a:ext cx="1038913" cy="491698"/>
            <a:chOff x="1024357" y="2493888"/>
            <a:chExt cx="1038913" cy="491698"/>
          </a:xfrm>
        </p:grpSpPr>
        <p:sp>
          <p:nvSpPr>
            <p:cNvPr id="104" name="文本框 103"/>
            <p:cNvSpPr txBox="1"/>
            <p:nvPr/>
          </p:nvSpPr>
          <p:spPr>
            <a:xfrm>
              <a:off x="1024357" y="272397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1980</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105" name="文本框 104"/>
            <p:cNvSpPr txBox="1"/>
            <p:nvPr/>
          </p:nvSpPr>
          <p:spPr>
            <a:xfrm>
              <a:off x="1024357" y="2493888"/>
              <a:ext cx="1038913"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t>广谱 </a:t>
              </a:r>
              <a:b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t>头孢菌素</a:t>
              </a:r>
              <a:r>
                <a:rPr kumimoji="0" lang="en-US" altLang="zh-CN" sz="7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700" b="1" i="0" u="none" strike="noStrike" kern="0" cap="none" spc="0" normalizeH="0" baseline="30000" noProof="0">
                <a:ln>
                  <a:noFill/>
                </a:ln>
                <a:effectLst/>
                <a:uLnTx/>
                <a:uFillTx/>
                <a:latin typeface="+mj-ea"/>
                <a:ea typeface="+mj-ea"/>
                <a:sym typeface="Arial Narrow" panose="020B0606020202030204" pitchFamily="34" charset="0"/>
              </a:endParaRPr>
            </a:p>
          </p:txBody>
        </p:sp>
      </p:grpSp>
      <p:sp>
        <p:nvSpPr>
          <p:cNvPr id="107" name="椭圆 106"/>
          <p:cNvSpPr/>
          <p:nvPr/>
        </p:nvSpPr>
        <p:spPr>
          <a:xfrm>
            <a:off x="1840685" y="3054272"/>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文本框 109"/>
          <p:cNvSpPr txBox="1"/>
          <p:nvPr/>
        </p:nvSpPr>
        <p:spPr>
          <a:xfrm>
            <a:off x="1661093" y="3188087"/>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83</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11" name="文本框 110"/>
          <p:cNvSpPr txBox="1"/>
          <p:nvPr/>
        </p:nvSpPr>
        <p:spPr>
          <a:xfrm>
            <a:off x="1682335" y="3357107"/>
            <a:ext cx="103891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ESBL </a:t>
            </a:r>
            <a:b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大肠杆菌</a:t>
            </a:r>
            <a:r>
              <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12" name="椭圆 111"/>
          <p:cNvSpPr/>
          <p:nvPr/>
        </p:nvSpPr>
        <p:spPr>
          <a:xfrm>
            <a:off x="2246011" y="3947217"/>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3735723" y="3947217"/>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文本框 114"/>
          <p:cNvSpPr txBox="1"/>
          <p:nvPr/>
        </p:nvSpPr>
        <p:spPr>
          <a:xfrm>
            <a:off x="3471893" y="4096873"/>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a:t>
            </a:r>
            <a:r>
              <a:rPr lang="en-GB" altLang="zh-CN" sz="1100" b="1" kern="0">
                <a:solidFill>
                  <a:srgbClr val="0000C9"/>
                </a:solidFill>
                <a:latin typeface="+mj-ea"/>
                <a:ea typeface="+mj-ea"/>
                <a:sym typeface="Arial Narrow" panose="020B0606020202030204" pitchFamily="34" charset="0"/>
              </a:rPr>
              <a:t>1</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16" name="文本框 115"/>
          <p:cNvSpPr txBox="1"/>
          <p:nvPr/>
        </p:nvSpPr>
        <p:spPr>
          <a:xfrm>
            <a:off x="3493135" y="4291293"/>
            <a:ext cx="1406795" cy="36830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首次在粘质沙雷氏菌中</a:t>
            </a:r>
            <a:endParaRPr kumimoji="0" lang="zh-CN" altLang="en-US" sz="900" i="0" u="none" strike="noStrike" kern="0" cap="none" spc="0" normalizeH="0" baseline="0" noProof="0">
              <a:ln>
                <a:noFill/>
              </a:ln>
              <a:effectLst/>
              <a:uLnTx/>
              <a:uFillTx/>
              <a:latin typeface="+mj-ea"/>
              <a:ea typeface="+mj-ea"/>
              <a:sym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发现</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MBL（</a:t>
            </a: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金属酶</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a:t>
            </a:r>
            <a:endParaRPr kumimoji="0" lang="en-US" altLang="zh-CN" sz="900"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17" name="文本框 116"/>
          <p:cNvSpPr txBox="1"/>
          <p:nvPr/>
        </p:nvSpPr>
        <p:spPr>
          <a:xfrm>
            <a:off x="3493135" y="4978436"/>
            <a:ext cx="1108015" cy="2308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日本首例 </a:t>
            </a:r>
            <a:r>
              <a:rPr lang="en-US" altLang="zh-CN" sz="900" kern="0" baseline="30000">
                <a:latin typeface="+mj-ea"/>
                <a:ea typeface="+mj-ea"/>
                <a:sym typeface="Arial Narrow" panose="020B0606020202030204" pitchFamily="34" charset="0"/>
              </a:rPr>
              <a:t>4</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18" name="椭圆 117"/>
          <p:cNvSpPr/>
          <p:nvPr/>
        </p:nvSpPr>
        <p:spPr>
          <a:xfrm>
            <a:off x="4926504" y="3946939"/>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文本框 118"/>
          <p:cNvSpPr txBox="1"/>
          <p:nvPr/>
        </p:nvSpPr>
        <p:spPr>
          <a:xfrm>
            <a:off x="4757530" y="367692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6</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0" name="文本框 119"/>
          <p:cNvSpPr txBox="1"/>
          <p:nvPr/>
        </p:nvSpPr>
        <p:spPr>
          <a:xfrm>
            <a:off x="4770651" y="3292876"/>
            <a:ext cx="1108015" cy="43088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1100" b="1" i="0" u="none" strike="noStrike" kern="0" cap="none" spc="0" normalizeH="0" baseline="0" noProof="0">
                <a:ln>
                  <a:noFill/>
                </a:ln>
                <a:effectLst/>
                <a:uLnTx/>
                <a:uFillTx/>
                <a:latin typeface="+mj-ea"/>
                <a:ea typeface="+mj-ea"/>
                <a:sym typeface="Arial Narrow" panose="020B0606020202030204" pitchFamily="34" charset="0"/>
              </a:rPr>
              <a:t>KPC </a:t>
            </a:r>
            <a:br>
              <a:rPr kumimoji="0" lang="en-US" altLang="zh-CN" sz="11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1100" b="1" i="0" u="none" strike="noStrike" kern="0" cap="none" spc="0" normalizeH="0" baseline="0" noProof="0">
                <a:ln>
                  <a:noFill/>
                </a:ln>
                <a:effectLst/>
                <a:uLnTx/>
                <a:uFillTx/>
                <a:latin typeface="+mj-ea"/>
                <a:ea typeface="+mj-ea"/>
                <a:sym typeface="Arial Narrow" panose="020B0606020202030204" pitchFamily="34" charset="0"/>
              </a:rPr>
              <a:t>肺炎克雷伯菌</a:t>
            </a:r>
            <a:endParaRPr kumimoji="0" lang="zh-CN" altLang="en-US" sz="1100" b="1"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21" name="文本框 120"/>
          <p:cNvSpPr txBox="1"/>
          <p:nvPr/>
        </p:nvSpPr>
        <p:spPr>
          <a:xfrm>
            <a:off x="4770650" y="2620978"/>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美国首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美国</a:t>
            </a:r>
            <a:r>
              <a:rPr lang="en-US" altLang="zh-CN" sz="900" kern="0" baseline="30000">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2" name="椭圆 121"/>
          <p:cNvSpPr/>
          <p:nvPr/>
        </p:nvSpPr>
        <p:spPr>
          <a:xfrm>
            <a:off x="5399413" y="3946939"/>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文本框 122"/>
          <p:cNvSpPr txBox="1"/>
          <p:nvPr/>
        </p:nvSpPr>
        <p:spPr>
          <a:xfrm>
            <a:off x="5107006" y="4096317"/>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a:t>
            </a:r>
            <a:r>
              <a:rPr kumimoji="0" lang="en-US"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7</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4" name="文本框 123"/>
          <p:cNvSpPr txBox="1"/>
          <p:nvPr/>
        </p:nvSpPr>
        <p:spPr>
          <a:xfrm>
            <a:off x="5107846" y="4291293"/>
            <a:ext cx="1406795" cy="5078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VIM-1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铜绿假单胞菌中发现的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VIM-1</a:t>
            </a:r>
            <a:endParaRPr kumimoji="0" lang="en-US" altLang="zh-CN" sz="900"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25" name="文本框 124"/>
          <p:cNvSpPr txBox="1"/>
          <p:nvPr/>
        </p:nvSpPr>
        <p:spPr>
          <a:xfrm>
            <a:off x="5107846" y="5068476"/>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第一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意大利</a:t>
            </a:r>
            <a:r>
              <a:rPr kumimoji="0" lang="en-US" altLang="zh-CN" sz="900" i="0" u="none" strike="noStrike" kern="0" cap="none" spc="0" normalizeH="0" baseline="30000" noProof="0">
                <a:ln>
                  <a:noFill/>
                </a:ln>
                <a:effectLst/>
                <a:uLnTx/>
                <a:uFillTx/>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6" name="椭圆 125"/>
          <p:cNvSpPr/>
          <p:nvPr/>
        </p:nvSpPr>
        <p:spPr>
          <a:xfrm>
            <a:off x="6792255" y="3956043"/>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文本框 126"/>
          <p:cNvSpPr txBox="1"/>
          <p:nvPr/>
        </p:nvSpPr>
        <p:spPr>
          <a:xfrm>
            <a:off x="6441285" y="367692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2003</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8" name="文本框 127"/>
          <p:cNvSpPr txBox="1"/>
          <p:nvPr/>
        </p:nvSpPr>
        <p:spPr>
          <a:xfrm>
            <a:off x="6441285" y="3344425"/>
            <a:ext cx="140679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OXA-48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肺炎克雷伯菌</a:t>
            </a:r>
            <a:r>
              <a:rPr kumimoji="0" lang="en-US" altLang="zh-CN" sz="900" i="0" u="none" strike="noStrike" kern="0" cap="none" spc="0" normalizeH="0" baseline="30000" noProof="0">
                <a:ln>
                  <a:noFill/>
                </a:ln>
                <a:effectLst/>
                <a:uLnTx/>
                <a:uFillTx/>
                <a:latin typeface="+mj-ea"/>
                <a:ea typeface="+mj-ea"/>
                <a:sym typeface="Arial Narrow" panose="020B0606020202030204" pitchFamily="34" charset="0"/>
              </a:rPr>
              <a:t>4</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9" name="文本框 128"/>
          <p:cNvSpPr txBox="1"/>
          <p:nvPr/>
        </p:nvSpPr>
        <p:spPr>
          <a:xfrm>
            <a:off x="6441285" y="2672684"/>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土耳其首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土耳其</a:t>
            </a:r>
            <a:r>
              <a:rPr lang="en-US" altLang="zh-CN" sz="900" kern="0" baseline="30000">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0" name="椭圆 129"/>
          <p:cNvSpPr/>
          <p:nvPr/>
        </p:nvSpPr>
        <p:spPr>
          <a:xfrm>
            <a:off x="8245091" y="3956043"/>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文本框 131"/>
          <p:cNvSpPr txBox="1"/>
          <p:nvPr/>
        </p:nvSpPr>
        <p:spPr>
          <a:xfrm>
            <a:off x="7889830" y="4134325"/>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2008</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33" name="文本框 132"/>
          <p:cNvSpPr txBox="1"/>
          <p:nvPr/>
        </p:nvSpPr>
        <p:spPr>
          <a:xfrm>
            <a:off x="7890669" y="4329301"/>
            <a:ext cx="1704427"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NDM-1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肺炎克雷伯菌和大肠杆菌</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4" name="文本框 133"/>
          <p:cNvSpPr txBox="1"/>
          <p:nvPr/>
        </p:nvSpPr>
        <p:spPr>
          <a:xfrm>
            <a:off x="7890670" y="5017584"/>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首例分离株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新德里</a:t>
            </a:r>
            <a:r>
              <a:rPr lang="en-US" altLang="zh-CN" sz="900" kern="0" baseline="30000">
                <a:latin typeface="+mj-ea"/>
                <a:ea typeface="+mj-ea"/>
                <a:sym typeface="Arial Narrow" panose="020B0606020202030204" pitchFamily="34" charset="0"/>
              </a:rPr>
              <a:t>5</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5" name="椭圆 134"/>
          <p:cNvSpPr/>
          <p:nvPr/>
        </p:nvSpPr>
        <p:spPr>
          <a:xfrm>
            <a:off x="9785119" y="3051848"/>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文本框 135"/>
          <p:cNvSpPr txBox="1"/>
          <p:nvPr/>
        </p:nvSpPr>
        <p:spPr>
          <a:xfrm>
            <a:off x="9951244" y="2734544"/>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2015</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137" name="文本框 136"/>
          <p:cNvSpPr txBox="1"/>
          <p:nvPr/>
        </p:nvSpPr>
        <p:spPr>
          <a:xfrm>
            <a:off x="9972486" y="2903564"/>
            <a:ext cx="1167249" cy="576825"/>
          </a:xfrm>
          <a:prstGeom prst="rect">
            <a:avLst/>
          </a:prstGeom>
          <a:noFill/>
        </p:spPr>
        <p:txBody>
          <a:bodyPr wrap="square">
            <a:spAutoFit/>
          </a:bodyPr>
          <a:lstStyle/>
          <a:p>
            <a:pPr marL="0" marR="0" lvl="0" indent="0" defTabSz="914400" eaLnBrk="1" fontAlgn="auto" latinLnBrk="0" hangingPunct="1">
              <a:lnSpc>
                <a:spcPct val="120000"/>
              </a:lnSpc>
              <a:spcBef>
                <a:spcPts val="0"/>
              </a:spcBef>
              <a:spcAft>
                <a:spcPts val="0"/>
              </a:spcAft>
              <a:buClrTx/>
              <a:buSzTx/>
              <a:buFontTx/>
              <a:buNone/>
              <a:defRPr/>
            </a:pP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β-</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内酰胺</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β-</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内酰胺酶抑制剂（</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BL/BLI </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a:t>
            </a:r>
            <a:r>
              <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2" name="文本框 1"/>
          <p:cNvSpPr txBox="1"/>
          <p:nvPr/>
        </p:nvSpPr>
        <p:spPr>
          <a:xfrm>
            <a:off x="2280517" y="3753798"/>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1985</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3" name="标题 2"/>
          <p:cNvSpPr>
            <a:spLocks noGrp="1"/>
          </p:cNvSpPr>
          <p:nvPr>
            <p:ph type="title"/>
          </p:nvPr>
        </p:nvSpPr>
        <p:spPr/>
        <p:txBody>
          <a:bodyPr/>
          <a:lstStyle/>
          <a:p>
            <a:r>
              <a:rPr lang="zh-CN" altLang="en-US"/>
              <a:t>碳青霉烯类抗生素作为多重耐药革兰氏阴性菌的一线经验疗法，却同样难以避免耐药的出现</a:t>
            </a:r>
            <a:endParaRPr lang="zh-CN" altLang="en-US"/>
          </a:p>
        </p:txBody>
      </p:sp>
      <p:sp>
        <p:nvSpPr>
          <p:cNvPr id="4" name="文本占位符 3"/>
          <p:cNvSpPr>
            <a:spLocks noGrp="1"/>
          </p:cNvSpPr>
          <p:nvPr>
            <p:ph type="body" sz="quarter" idx="10"/>
          </p:nvPr>
        </p:nvSpPr>
        <p:spPr/>
        <p:txBody>
          <a:bodyPr numCol="2"/>
          <a:lstStyle/>
          <a:p>
            <a:r>
              <a:rPr lang="zh-CN" altLang="en-US"/>
              <a:t>肖婷婷</a:t>
            </a:r>
            <a:r>
              <a:rPr lang="en-US" altLang="zh-CN"/>
              <a:t>,</a:t>
            </a:r>
            <a:r>
              <a:rPr lang="zh-CN" altLang="en-US"/>
              <a:t>等</a:t>
            </a:r>
            <a:r>
              <a:rPr lang="en-US" altLang="zh-CN"/>
              <a:t>.</a:t>
            </a:r>
            <a:r>
              <a:rPr lang="zh-CN" altLang="en-US"/>
              <a:t>医药导报</a:t>
            </a:r>
            <a:r>
              <a:rPr lang="en-US" altLang="zh-CN"/>
              <a:t>,2018,37(1):1-5.</a:t>
            </a:r>
            <a:endParaRPr lang="en-US" altLang="zh-CN"/>
          </a:p>
          <a:p>
            <a:r>
              <a:rPr lang="en-US" altLang="zh-CN"/>
              <a:t>CDC.www.cdc.gov/</a:t>
            </a:r>
            <a:r>
              <a:rPr lang="en-US" altLang="zh-CN" err="1"/>
              <a:t>drugresistance</a:t>
            </a:r>
            <a:r>
              <a:rPr lang="en-US" altLang="zh-CN"/>
              <a:t>/pdf/threats-report/2019-ar-threats-report-508.pdf </a:t>
            </a:r>
            <a:endParaRPr lang="en-US" altLang="zh-CN"/>
          </a:p>
          <a:p>
            <a:r>
              <a:rPr lang="en-US" altLang="zh-CN" err="1"/>
              <a:t>Suay</a:t>
            </a:r>
            <a:r>
              <a:rPr lang="en-US" altLang="zh-CN"/>
              <a:t>-García B</a:t>
            </a:r>
            <a:r>
              <a:rPr lang="zh-CN" altLang="en-US"/>
              <a:t>，</a:t>
            </a:r>
            <a:r>
              <a:rPr lang="en-US" altLang="zh-CN"/>
              <a:t>et </a:t>
            </a:r>
            <a:r>
              <a:rPr lang="en-US" altLang="zh-CN" err="1"/>
              <a:t>al.Antibiotics</a:t>
            </a:r>
            <a:r>
              <a:rPr lang="zh-CN" altLang="en-US"/>
              <a:t>（</a:t>
            </a:r>
            <a:r>
              <a:rPr lang="en-US" altLang="zh-CN"/>
              <a:t>Basel</a:t>
            </a:r>
            <a:r>
              <a:rPr lang="zh-CN" altLang="en-US"/>
              <a:t>）</a:t>
            </a:r>
            <a:r>
              <a:rPr lang="en-US" altLang="zh-CN"/>
              <a:t>.2019;8(3):122.</a:t>
            </a:r>
            <a:endParaRPr lang="en-US" altLang="zh-CN"/>
          </a:p>
          <a:p>
            <a:r>
              <a:rPr lang="en-US" altLang="zh-CN"/>
              <a:t>Nordmann P, et </a:t>
            </a:r>
            <a:r>
              <a:rPr lang="en-US" altLang="zh-CN" err="1"/>
              <a:t>al.Emerg</a:t>
            </a:r>
            <a:r>
              <a:rPr lang="en-US" altLang="zh-CN"/>
              <a:t> Infect Dis.2011;17(10):1791-1798.</a:t>
            </a:r>
            <a:endParaRPr lang="en-US" altLang="zh-CN"/>
          </a:p>
          <a:p>
            <a:r>
              <a:rPr lang="en-US" altLang="zh-CN"/>
              <a:t>Yong </a:t>
            </a:r>
            <a:r>
              <a:rPr lang="en-US" altLang="zh-CN" err="1"/>
              <a:t>D,et</a:t>
            </a:r>
            <a:r>
              <a:rPr lang="en-US" altLang="zh-CN"/>
              <a:t> </a:t>
            </a:r>
            <a:r>
              <a:rPr lang="en-US" altLang="zh-CN" err="1"/>
              <a:t>al.Antimicrob</a:t>
            </a:r>
            <a:r>
              <a:rPr lang="en-US" altLang="zh-CN"/>
              <a:t> Agents Chemother.2009;53(12):5046-5054.</a:t>
            </a:r>
            <a:endParaRPr lang="en-US" altLang="zh-CN"/>
          </a:p>
        </p:txBody>
      </p:sp>
      <p:sp>
        <p:nvSpPr>
          <p:cNvPr id="7" name="文本框 6"/>
          <p:cNvSpPr txBox="1"/>
          <p:nvPr/>
        </p:nvSpPr>
        <p:spPr>
          <a:xfrm>
            <a:off x="479425" y="6140652"/>
            <a:ext cx="11233150" cy="245110"/>
          </a:xfrm>
          <a:prstGeom prst="rect">
            <a:avLst/>
          </a:prstGeom>
          <a:noFill/>
        </p:spPr>
        <p:txBody>
          <a:bodyPr wrap="square" lIns="0" rIns="0" rtlCol="0" anchor="b">
            <a:spAutoFit/>
          </a:bodyPr>
          <a:lstStyle/>
          <a:p>
            <a:r>
              <a:rPr lang="en-US" altLang="zh-CN" sz="1000"/>
              <a:t>ESBL</a:t>
            </a:r>
            <a:r>
              <a:rPr lang="zh-CN" altLang="en-US" sz="1000"/>
              <a:t>：广谱</a:t>
            </a:r>
            <a:r>
              <a:rPr lang="en-US" altLang="zh-CN" sz="1000"/>
              <a:t>β-</a:t>
            </a:r>
            <a:r>
              <a:rPr lang="zh-CN" altLang="en-US" sz="1000"/>
              <a:t>内酰胺酶；</a:t>
            </a:r>
            <a:r>
              <a:rPr lang="en-US" altLang="zh-CN" sz="1000"/>
              <a:t>KPC</a:t>
            </a:r>
            <a:r>
              <a:rPr lang="zh-CN" altLang="en-US" sz="1000"/>
              <a:t>：肺炎克雷伯菌碳青霉烯酶；</a:t>
            </a:r>
            <a:r>
              <a:rPr lang="en-US" altLang="zh-CN" sz="1000"/>
              <a:t>VIM</a:t>
            </a:r>
            <a:r>
              <a:rPr lang="zh-CN" altLang="en-US" sz="1000"/>
              <a:t>：维罗纳整合素编码的金属</a:t>
            </a:r>
            <a:r>
              <a:rPr lang="en-US" altLang="zh-CN" sz="1000"/>
              <a:t>-β-</a:t>
            </a:r>
            <a:r>
              <a:rPr lang="zh-CN" altLang="en-US" sz="1000"/>
              <a:t>内酰胺酶；</a:t>
            </a:r>
            <a:r>
              <a:rPr lang="en-US" altLang="zh-CN" sz="1000"/>
              <a:t>OXA</a:t>
            </a:r>
            <a:r>
              <a:rPr lang="zh-CN" altLang="en-US" sz="1000"/>
              <a:t>：苯唑西林酶；</a:t>
            </a:r>
            <a:r>
              <a:rPr lang="en-US" altLang="zh-CN" sz="1000"/>
              <a:t>NDM</a:t>
            </a:r>
            <a:r>
              <a:rPr lang="zh-CN" altLang="en-US" sz="1000"/>
              <a:t>：新德里金属</a:t>
            </a:r>
            <a:r>
              <a:rPr lang="en-US" altLang="zh-CN" sz="1000"/>
              <a:t>-β-</a:t>
            </a:r>
            <a:r>
              <a:rPr lang="zh-CN" altLang="en-US" sz="1000"/>
              <a:t>内酰胺酶</a:t>
            </a:r>
            <a:endParaRPr lang="zh-CN" altLang="en-US" sz="1000"/>
          </a:p>
        </p:txBody>
      </p:sp>
      <p:grpSp>
        <p:nvGrpSpPr>
          <p:cNvPr id="18" name="组合 17"/>
          <p:cNvGrpSpPr/>
          <p:nvPr/>
        </p:nvGrpSpPr>
        <p:grpSpPr>
          <a:xfrm>
            <a:off x="479425" y="1089025"/>
            <a:ext cx="11233150" cy="576000"/>
            <a:chOff x="479425" y="1089025"/>
            <a:chExt cx="11233150" cy="576000"/>
          </a:xfrm>
        </p:grpSpPr>
        <p:sp>
          <p:nvSpPr>
            <p:cNvPr id="19" name="矩形 18"/>
            <p:cNvSpPr/>
            <p:nvPr/>
          </p:nvSpPr>
          <p:spPr>
            <a:xfrm>
              <a:off x="479425" y="1089025"/>
              <a:ext cx="11233150" cy="576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为了应对多重耐药革兰阴性杆菌的威胁，碳青霉烯类抗生素常被作为一线经验疗法</a:t>
              </a:r>
              <a:r>
                <a:rPr lang="en-US" altLang="zh-CN" sz="1200" baseline="30000">
                  <a:solidFill>
                    <a:schemeClr val="tx1"/>
                  </a:solidFill>
                </a:rPr>
                <a:t>1</a:t>
              </a:r>
              <a:r>
                <a:rPr lang="zh-CN" altLang="en-US" sz="1200">
                  <a:solidFill>
                    <a:schemeClr val="tx1"/>
                  </a:solidFill>
                </a:rPr>
                <a:t>。这种治疗耐药性细菌的新方法导致了更严重的问题</a:t>
              </a:r>
              <a:r>
                <a:rPr lang="en-US" altLang="zh-CN" sz="1200">
                  <a:solidFill>
                    <a:schemeClr val="tx1"/>
                  </a:solidFill>
                </a:rPr>
                <a:t>——</a:t>
              </a:r>
              <a:r>
                <a:rPr lang="zh-CN" altLang="en-US" sz="1200" b="1">
                  <a:solidFill>
                    <a:schemeClr val="accent1"/>
                  </a:solidFill>
                </a:rPr>
                <a:t>耐碳青霉烯类肠杆菌目细菌</a:t>
              </a:r>
              <a:r>
                <a:rPr lang="en-US" altLang="zh-CN" sz="1200" b="1">
                  <a:solidFill>
                    <a:schemeClr val="accent1"/>
                  </a:solidFill>
                </a:rPr>
                <a:t>(CRE)</a:t>
              </a:r>
              <a:r>
                <a:rPr lang="zh-CN" altLang="en-US" sz="1200">
                  <a:solidFill>
                    <a:schemeClr val="tx1"/>
                  </a:solidFill>
                </a:rPr>
                <a:t>的出现。</a:t>
              </a:r>
              <a:endParaRPr lang="zh-CN" altLang="en-US" sz="1200">
                <a:solidFill>
                  <a:schemeClr val="tx1"/>
                </a:solidFill>
              </a:endParaRPr>
            </a:p>
          </p:txBody>
        </p:sp>
        <p:sp>
          <p:nvSpPr>
            <p:cNvPr id="20" name="任意多边形: 形状 19"/>
            <p:cNvSpPr/>
            <p:nvPr/>
          </p:nvSpPr>
          <p:spPr>
            <a:xfrm>
              <a:off x="584548" y="1229873"/>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5" name="文本框 4"/>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碳青霉烯类耐药的机制多样，产碳青霉烯酶是其中重要组成</a:t>
            </a:r>
            <a:endParaRPr lang="zh-CN" altLang="en-US"/>
          </a:p>
        </p:txBody>
      </p:sp>
      <p:sp>
        <p:nvSpPr>
          <p:cNvPr id="5" name="文本占位符 4"/>
          <p:cNvSpPr>
            <a:spLocks noGrp="1"/>
          </p:cNvSpPr>
          <p:nvPr>
            <p:ph type="body" sz="quarter" idx="10"/>
          </p:nvPr>
        </p:nvSpPr>
        <p:spPr/>
        <p:txBody>
          <a:bodyPr/>
          <a:lstStyle/>
          <a:p>
            <a:r>
              <a:rPr lang="zh-CN" altLang="en-US"/>
              <a:t>中国碳青霉烯耐药肠杆菌科细菌感染诊治与防控专家共识编写组</a:t>
            </a:r>
            <a:r>
              <a:rPr lang="en-US" altLang="zh-CN"/>
              <a:t>,</a:t>
            </a:r>
            <a:r>
              <a:rPr lang="zh-CN" altLang="en-US"/>
              <a:t>等</a:t>
            </a:r>
            <a:r>
              <a:rPr lang="en-US" altLang="zh-CN"/>
              <a:t>. </a:t>
            </a:r>
            <a:r>
              <a:rPr lang="zh-CN" altLang="en-US"/>
              <a:t>中华医学杂志</a:t>
            </a:r>
            <a:r>
              <a:rPr lang="en-US" altLang="zh-CN"/>
              <a:t>, 2021, 101(36) : 2850-2860.</a:t>
            </a:r>
            <a:endParaRPr lang="en-US" altLang="zh-CN"/>
          </a:p>
          <a:p>
            <a:r>
              <a:rPr lang="en-US" altLang="zh-CN"/>
              <a:t>Peleg AY, et al. N Engl J Med. 2010;362(19):1804-1813.</a:t>
            </a:r>
            <a:endParaRPr lang="en-US" altLang="zh-CN"/>
          </a:p>
          <a:p>
            <a:r>
              <a:rPr lang="en-US" altLang="zh-CN"/>
              <a:t>Ma J, et al. </a:t>
            </a:r>
            <a:r>
              <a:rPr lang="en-US" altLang="zh-CN" err="1"/>
              <a:t>Microbiol</a:t>
            </a:r>
            <a:r>
              <a:rPr lang="en-US" altLang="zh-CN"/>
              <a:t> Res. 2023 Jan;266:127249. </a:t>
            </a:r>
            <a:endParaRPr lang="en-US" altLang="zh-CN"/>
          </a:p>
        </p:txBody>
      </p:sp>
      <p:grpSp>
        <p:nvGrpSpPr>
          <p:cNvPr id="67" name="组合 66"/>
          <p:cNvGrpSpPr/>
          <p:nvPr/>
        </p:nvGrpSpPr>
        <p:grpSpPr>
          <a:xfrm>
            <a:off x="479425" y="1089025"/>
            <a:ext cx="11233150" cy="720000"/>
            <a:chOff x="479425" y="1089025"/>
            <a:chExt cx="11233150" cy="720000"/>
          </a:xfrm>
        </p:grpSpPr>
        <p:sp>
          <p:nvSpPr>
            <p:cNvPr id="68" name="矩形 67"/>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肠杆菌科细菌对碳青霉烯类抗生素耐药的主要机制包括产碳青霉烯酶、高产</a:t>
              </a:r>
              <a:r>
                <a:rPr lang="en-US" altLang="zh-CN" sz="1200" err="1">
                  <a:solidFill>
                    <a:schemeClr val="tx1"/>
                  </a:solidFill>
                </a:rPr>
                <a:t>AmpC</a:t>
              </a:r>
              <a:r>
                <a:rPr lang="zh-CN" altLang="en-US" sz="1200">
                  <a:solidFill>
                    <a:schemeClr val="tx1"/>
                  </a:solidFill>
                </a:rPr>
                <a:t>酶或超广谱</a:t>
              </a:r>
              <a:r>
                <a:rPr lang="en-US" altLang="zh-CN" sz="1200">
                  <a:solidFill>
                    <a:schemeClr val="tx1"/>
                  </a:solidFill>
                </a:rPr>
                <a:t>β-</a:t>
              </a:r>
              <a:r>
                <a:rPr lang="zh-CN" altLang="en-US" sz="1200">
                  <a:solidFill>
                    <a:schemeClr val="tx1"/>
                  </a:solidFill>
                </a:rPr>
                <a:t>内酰胺酶（</a:t>
              </a:r>
              <a:r>
                <a:rPr lang="en-US" altLang="zh-CN" sz="1200">
                  <a:solidFill>
                    <a:schemeClr val="tx1"/>
                  </a:solidFill>
                </a:rPr>
                <a:t>ESBLs</a:t>
              </a:r>
              <a:r>
                <a:rPr lang="zh-CN" altLang="en-US" sz="1200">
                  <a:solidFill>
                    <a:schemeClr val="tx1"/>
                  </a:solidFill>
                </a:rPr>
                <a:t>）合并外膜孔蛋白缺失和（或）外排泵过表达等</a:t>
              </a:r>
              <a:endParaRPr lang="zh-CN" altLang="en-US" sz="1200">
                <a:solidFill>
                  <a:schemeClr val="tx1"/>
                </a:solidFill>
              </a:endParaRPr>
            </a:p>
            <a:p>
              <a:pPr algn="just">
                <a:lnSpc>
                  <a:spcPct val="120000"/>
                </a:lnSpc>
                <a:spcAft>
                  <a:spcPts val="600"/>
                </a:spcAft>
              </a:pPr>
              <a:r>
                <a:rPr lang="zh-CN" altLang="en-US" sz="1200" b="1">
                  <a:solidFill>
                    <a:schemeClr val="accent1"/>
                  </a:solidFill>
                </a:rPr>
                <a:t>其中又以产碳青霉烯酶最为重要，其编码基因大都位于可转移元件如质粒或转座子上，可在不同菌种菌属间相互传播，进而传播耐药性</a:t>
              </a:r>
              <a:r>
                <a:rPr lang="en-US" altLang="zh-CN" sz="1200" baseline="30000">
                  <a:solidFill>
                    <a:schemeClr val="tx1"/>
                  </a:solidFill>
                </a:rPr>
                <a:t>1</a:t>
              </a:r>
              <a:endParaRPr lang="en-US" altLang="zh-CN" sz="1200" baseline="30000">
                <a:solidFill>
                  <a:schemeClr val="tx1"/>
                </a:solidFill>
              </a:endParaRPr>
            </a:p>
          </p:txBody>
        </p:sp>
        <p:sp>
          <p:nvSpPr>
            <p:cNvPr id="69" name="任意多边形: 形状 68"/>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70" name="任意多边形: 形状 69"/>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124" name="组合 123"/>
          <p:cNvGrpSpPr/>
          <p:nvPr/>
        </p:nvGrpSpPr>
        <p:grpSpPr>
          <a:xfrm>
            <a:off x="5067300" y="1988829"/>
            <a:ext cx="6645275" cy="4319896"/>
            <a:chOff x="5067300" y="1988829"/>
            <a:chExt cx="6645275" cy="4319896"/>
          </a:xfrm>
        </p:grpSpPr>
        <p:sp>
          <p:nvSpPr>
            <p:cNvPr id="71" name="矩形 70"/>
            <p:cNvSpPr/>
            <p:nvPr/>
          </p:nvSpPr>
          <p:spPr>
            <a:xfrm>
              <a:off x="5067300" y="1988829"/>
              <a:ext cx="6645275"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9" name="组合 78"/>
            <p:cNvGrpSpPr/>
            <p:nvPr/>
          </p:nvGrpSpPr>
          <p:grpSpPr>
            <a:xfrm>
              <a:off x="5067300" y="1988829"/>
              <a:ext cx="6645275" cy="432000"/>
              <a:chOff x="5067300" y="1988829"/>
              <a:chExt cx="6645275" cy="432000"/>
            </a:xfrm>
          </p:grpSpPr>
          <p:sp>
            <p:nvSpPr>
              <p:cNvPr id="72" name="矩形 71"/>
              <p:cNvSpPr/>
              <p:nvPr/>
            </p:nvSpPr>
            <p:spPr>
              <a:xfrm>
                <a:off x="5067300" y="1988829"/>
                <a:ext cx="6645275"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a:effectLst>
                      <a:outerShdw blurRad="38100" dist="38100" dir="2700000" algn="tl">
                        <a:srgbClr val="000000">
                          <a:alpha val="43137"/>
                        </a:srgbClr>
                      </a:outerShdw>
                    </a:effectLst>
                  </a:rPr>
                  <a:t>碳青霉烯酶能使碳青霉烯类和其他 </a:t>
                </a:r>
                <a:r>
                  <a:rPr lang="en-US" altLang="zh-CN" sz="1600" b="1">
                    <a:effectLst>
                      <a:outerShdw blurRad="38100" dist="38100" dir="2700000" algn="tl">
                        <a:srgbClr val="000000">
                          <a:alpha val="43137"/>
                        </a:srgbClr>
                      </a:outerShdw>
                    </a:effectLst>
                  </a:rPr>
                  <a:t>β-</a:t>
                </a:r>
                <a:r>
                  <a:rPr lang="zh-CN" altLang="en-US" sz="1600" b="1">
                    <a:effectLst>
                      <a:outerShdw blurRad="38100" dist="38100" dir="2700000" algn="tl">
                        <a:srgbClr val="000000">
                          <a:alpha val="43137"/>
                        </a:srgbClr>
                      </a:outerShdw>
                    </a:effectLst>
                  </a:rPr>
                  <a:t>内酰胺类抗生素失活</a:t>
                </a:r>
                <a:r>
                  <a:rPr lang="en-US" altLang="zh-CN" sz="1600" b="1" baseline="30000">
                    <a:effectLst>
                      <a:outerShdw blurRad="38100" dist="38100" dir="2700000" algn="tl">
                        <a:srgbClr val="000000">
                          <a:alpha val="43137"/>
                        </a:srgbClr>
                      </a:outerShdw>
                    </a:effectLst>
                  </a:rPr>
                  <a:t>3</a:t>
                </a:r>
                <a:endParaRPr lang="en-US" altLang="zh-CN" sz="1600" b="1" baseline="30000">
                  <a:effectLst>
                    <a:outerShdw blurRad="38100" dist="38100" dir="2700000" algn="tl">
                      <a:srgbClr val="000000">
                        <a:alpha val="43137"/>
                      </a:srgbClr>
                    </a:outerShdw>
                  </a:effectLst>
                </a:endParaRPr>
              </a:p>
            </p:txBody>
          </p:sp>
          <p:grpSp>
            <p:nvGrpSpPr>
              <p:cNvPr id="75" name="组合 74"/>
              <p:cNvGrpSpPr/>
              <p:nvPr/>
            </p:nvGrpSpPr>
            <p:grpSpPr>
              <a:xfrm>
                <a:off x="11190760" y="1988829"/>
                <a:ext cx="521815" cy="432000"/>
                <a:chOff x="8418558" y="2029438"/>
                <a:chExt cx="521815" cy="430843"/>
              </a:xfrm>
            </p:grpSpPr>
            <p:sp>
              <p:nvSpPr>
                <p:cNvPr id="73" name="直角三角形 72"/>
                <p:cNvSpPr/>
                <p:nvPr/>
              </p:nvSpPr>
              <p:spPr>
                <a:xfrm flipH="1">
                  <a:off x="841855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4" name="直角三角形 73"/>
                <p:cNvSpPr/>
                <p:nvPr/>
              </p:nvSpPr>
              <p:spPr>
                <a:xfrm flipH="1" flipV="1">
                  <a:off x="864812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76" name="组合 75"/>
              <p:cNvGrpSpPr/>
              <p:nvPr/>
            </p:nvGrpSpPr>
            <p:grpSpPr>
              <a:xfrm flipH="1">
                <a:off x="5067300" y="1988829"/>
                <a:ext cx="521815" cy="432000"/>
                <a:chOff x="9555833" y="2029438"/>
                <a:chExt cx="521815" cy="430843"/>
              </a:xfrm>
            </p:grpSpPr>
            <p:sp>
              <p:nvSpPr>
                <p:cNvPr id="77" name="直角三角形 76"/>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8" name="直角三角形 77"/>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81" name="组合 80"/>
          <p:cNvGrpSpPr/>
          <p:nvPr/>
        </p:nvGrpSpPr>
        <p:grpSpPr>
          <a:xfrm>
            <a:off x="5203824" y="2797324"/>
            <a:ext cx="6372226" cy="3269200"/>
            <a:chOff x="5568330" y="8430040"/>
            <a:chExt cx="5740422" cy="2945060"/>
          </a:xfrm>
        </p:grpSpPr>
        <p:grpSp>
          <p:nvGrpSpPr>
            <p:cNvPr id="82" name="组合 81"/>
            <p:cNvGrpSpPr/>
            <p:nvPr/>
          </p:nvGrpSpPr>
          <p:grpSpPr>
            <a:xfrm>
              <a:off x="5568330" y="8650453"/>
              <a:ext cx="5740422" cy="2724647"/>
              <a:chOff x="546776" y="2989305"/>
              <a:chExt cx="5538370" cy="2178813"/>
            </a:xfrm>
          </p:grpSpPr>
          <p:pic>
            <p:nvPicPr>
              <p:cNvPr id="121" name="图片 120"/>
              <p:cNvPicPr>
                <a:picLocks noChangeAspect="1"/>
              </p:cNvPicPr>
              <p:nvPr/>
            </p:nvPicPr>
            <p:blipFill>
              <a:blip r:embed="rId1"/>
              <a:srcRect r="7461"/>
              <a:stretch>
                <a:fillRect/>
              </a:stretch>
            </p:blipFill>
            <p:spPr>
              <a:xfrm>
                <a:off x="546776" y="2989305"/>
                <a:ext cx="5538370" cy="2178813"/>
              </a:xfrm>
              <a:prstGeom prst="rect">
                <a:avLst/>
              </a:prstGeom>
            </p:spPr>
          </p:pic>
          <p:cxnSp>
            <p:nvCxnSpPr>
              <p:cNvPr id="122" name="Straight Arrow Connector 5"/>
              <p:cNvCxnSpPr/>
              <p:nvPr/>
            </p:nvCxnSpPr>
            <p:spPr bwMode="gray">
              <a:xfrm flipV="1">
                <a:off x="4058895" y="4105959"/>
                <a:ext cx="161024" cy="360343"/>
              </a:xfrm>
              <a:prstGeom prst="straightConnector1">
                <a:avLst/>
              </a:prstGeom>
              <a:noFill/>
              <a:ln w="12700" cap="rnd">
                <a:solidFill>
                  <a:schemeClr val="accent1"/>
                </a:solidFill>
                <a:prstDash val="solid"/>
                <a:round/>
                <a:headEnd type="none"/>
                <a:tailEnd type="oval"/>
              </a:ln>
              <a:effectLst/>
            </p:spPr>
          </p:cxnSp>
          <p:sp>
            <p:nvSpPr>
              <p:cNvPr id="123" name="TextBox 6"/>
              <p:cNvSpPr txBox="1"/>
              <p:nvPr/>
            </p:nvSpPr>
            <p:spPr>
              <a:xfrm>
                <a:off x="2926238" y="4471449"/>
                <a:ext cx="1489780" cy="272302"/>
              </a:xfrm>
              <a:prstGeom prst="roundRect">
                <a:avLst/>
              </a:prstGeom>
              <a:solidFill>
                <a:schemeClr val="bg1"/>
              </a:solidFill>
              <a:ln>
                <a:solidFill>
                  <a:schemeClr val="accent1"/>
                </a:solidFill>
              </a:ln>
            </p:spPr>
            <p:txBody>
              <a:bodyPr wrap="square" lIns="45720" tIns="45720" rIns="45720" anchor="ctr">
                <a:spAutoFit/>
              </a:bodyPr>
              <a:lstStyle>
                <a:defPPr>
                  <a:defRPr lang="en-US"/>
                </a:defPPr>
                <a:lvl1pPr algn="ctr">
                  <a:defRPr sz="1400" kern="0">
                    <a:solidFill>
                      <a:srgbClr val="000000"/>
                    </a:solidFill>
                    <a:latin typeface="Arial" panose="020B0604020202090204"/>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0" i="0" u="none" strike="noStrike" kern="0" cap="none" spc="0" normalizeH="0" baseline="0" noProof="0" err="1">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碳青霉烯酶</a:t>
                </a:r>
                <a:endParaRPr kumimoji="0" lang="en-GB"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83" name="Group 36"/>
            <p:cNvGrpSpPr/>
            <p:nvPr/>
          </p:nvGrpSpPr>
          <p:grpSpPr>
            <a:xfrm>
              <a:off x="5960142" y="8430040"/>
              <a:ext cx="4265344" cy="1633633"/>
              <a:chOff x="2870467" y="2271864"/>
              <a:chExt cx="4628911" cy="1633633"/>
            </a:xfrm>
          </p:grpSpPr>
          <p:grpSp>
            <p:nvGrpSpPr>
              <p:cNvPr id="84" name="Group 4998"/>
              <p:cNvGrpSpPr/>
              <p:nvPr/>
            </p:nvGrpSpPr>
            <p:grpSpPr>
              <a:xfrm>
                <a:off x="4004017" y="2280668"/>
                <a:ext cx="3495361" cy="1624829"/>
                <a:chOff x="3897653" y="2625877"/>
                <a:chExt cx="3495361" cy="1624829"/>
              </a:xfrm>
            </p:grpSpPr>
            <p:cxnSp>
              <p:nvCxnSpPr>
                <p:cNvPr id="89" name="Straight Arrow Connector 21"/>
                <p:cNvCxnSpPr/>
                <p:nvPr/>
              </p:nvCxnSpPr>
              <p:spPr>
                <a:xfrm>
                  <a:off x="4161492" y="3152334"/>
                  <a:ext cx="0" cy="218425"/>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0" name="Group 4996"/>
                <p:cNvGrpSpPr/>
                <p:nvPr/>
              </p:nvGrpSpPr>
              <p:grpSpPr>
                <a:xfrm>
                  <a:off x="3897653" y="2625877"/>
                  <a:ext cx="538155" cy="491436"/>
                  <a:chOff x="3904997" y="2625877"/>
                  <a:chExt cx="538155" cy="491436"/>
                </a:xfrm>
              </p:grpSpPr>
              <p:grpSp>
                <p:nvGrpSpPr>
                  <p:cNvPr id="109" name="Group 4987"/>
                  <p:cNvGrpSpPr/>
                  <p:nvPr/>
                </p:nvGrpSpPr>
                <p:grpSpPr>
                  <a:xfrm>
                    <a:off x="3904997" y="2702271"/>
                    <a:ext cx="166211" cy="166211"/>
                    <a:chOff x="3904997" y="2702271"/>
                    <a:chExt cx="166211" cy="166211"/>
                  </a:xfrm>
                </p:grpSpPr>
                <p:sp>
                  <p:nvSpPr>
                    <p:cNvPr id="119" name="Freeform: Shape 3"/>
                    <p:cNvSpPr/>
                    <p:nvPr/>
                  </p:nvSpPr>
                  <p:spPr>
                    <a:xfrm>
                      <a:off x="3904997" y="2702271"/>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20" name="Freeform: Shape 27"/>
                    <p:cNvSpPr/>
                    <p:nvPr/>
                  </p:nvSpPr>
                  <p:spPr>
                    <a:xfrm rot="20288399">
                      <a:off x="3945266" y="2723462"/>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0" name="Group 4988"/>
                  <p:cNvGrpSpPr/>
                  <p:nvPr/>
                </p:nvGrpSpPr>
                <p:grpSpPr>
                  <a:xfrm>
                    <a:off x="4142517" y="2625877"/>
                    <a:ext cx="166211" cy="166211"/>
                    <a:chOff x="4142517" y="2625877"/>
                    <a:chExt cx="166211" cy="166211"/>
                  </a:xfrm>
                </p:grpSpPr>
                <p:sp>
                  <p:nvSpPr>
                    <p:cNvPr id="117" name="Freeform: Shape 46"/>
                    <p:cNvSpPr/>
                    <p:nvPr/>
                  </p:nvSpPr>
                  <p:spPr>
                    <a:xfrm>
                      <a:off x="4142517" y="2625877"/>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8" name="Freeform: Shape 50"/>
                    <p:cNvSpPr/>
                    <p:nvPr/>
                  </p:nvSpPr>
                  <p:spPr>
                    <a:xfrm rot="20288399">
                      <a:off x="4182786" y="2647068"/>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1" name="Group 4989"/>
                  <p:cNvGrpSpPr/>
                  <p:nvPr/>
                </p:nvGrpSpPr>
                <p:grpSpPr>
                  <a:xfrm>
                    <a:off x="4079344" y="2951102"/>
                    <a:ext cx="166211" cy="166211"/>
                    <a:chOff x="4079344" y="2951102"/>
                    <a:chExt cx="166211" cy="166211"/>
                  </a:xfrm>
                </p:grpSpPr>
                <p:sp>
                  <p:nvSpPr>
                    <p:cNvPr id="115" name="Freeform: Shape 53"/>
                    <p:cNvSpPr/>
                    <p:nvPr/>
                  </p:nvSpPr>
                  <p:spPr>
                    <a:xfrm>
                      <a:off x="4079344" y="2951102"/>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6" name="Freeform: Shape 56"/>
                    <p:cNvSpPr/>
                    <p:nvPr/>
                  </p:nvSpPr>
                  <p:spPr>
                    <a:xfrm rot="20288399">
                      <a:off x="4119613" y="2972293"/>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2" name="Group 4990"/>
                  <p:cNvGrpSpPr/>
                  <p:nvPr/>
                </p:nvGrpSpPr>
                <p:grpSpPr>
                  <a:xfrm>
                    <a:off x="4276941" y="2824037"/>
                    <a:ext cx="166211" cy="166211"/>
                    <a:chOff x="4276941" y="2824037"/>
                    <a:chExt cx="166211" cy="166211"/>
                  </a:xfrm>
                </p:grpSpPr>
                <p:sp>
                  <p:nvSpPr>
                    <p:cNvPr id="113" name="Freeform: Shape 58"/>
                    <p:cNvSpPr/>
                    <p:nvPr/>
                  </p:nvSpPr>
                  <p:spPr>
                    <a:xfrm>
                      <a:off x="4276941" y="2824037"/>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4" name="Freeform: Shape 60"/>
                    <p:cNvSpPr/>
                    <p:nvPr/>
                  </p:nvSpPr>
                  <p:spPr>
                    <a:xfrm rot="20288399">
                      <a:off x="4317210" y="2845228"/>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91" name="Group 4997"/>
                <p:cNvGrpSpPr/>
                <p:nvPr/>
              </p:nvGrpSpPr>
              <p:grpSpPr>
                <a:xfrm>
                  <a:off x="4014452" y="3380805"/>
                  <a:ext cx="3378562" cy="869901"/>
                  <a:chOff x="4014452" y="3380805"/>
                  <a:chExt cx="3378562" cy="869901"/>
                </a:xfrm>
              </p:grpSpPr>
              <p:pic>
                <p:nvPicPr>
                  <p:cNvPr id="92" name="Graphic 9"/>
                  <p:cNvPicPr>
                    <a:picLocks noChangeAspect="1"/>
                  </p:cNvPicPr>
                  <p:nvPr/>
                </p:nvPicPr>
                <p:blipFill>
                  <a:blip r:embed="rId2" cstate="print">
                    <a:extLst>
                      <a:ext uri="{96DAC541-7B7A-43D3-8B79-37D633B846F1}">
                        <asvg:svgBlip xmlns:asvg="http://schemas.microsoft.com/office/drawing/2016/SVG/main" r:embed="rId3"/>
                      </a:ext>
                    </a:extLst>
                  </a:blip>
                  <a:srcRect/>
                  <a:stretch>
                    <a:fillRect/>
                  </a:stretch>
                </p:blipFill>
                <p:spPr>
                  <a:xfrm>
                    <a:off x="4014452" y="3380805"/>
                    <a:ext cx="294080" cy="570861"/>
                  </a:xfrm>
                  <a:prstGeom prst="rect">
                    <a:avLst/>
                  </a:prstGeom>
                </p:spPr>
              </p:pic>
              <p:grpSp>
                <p:nvGrpSpPr>
                  <p:cNvPr id="93" name="Group 4995"/>
                  <p:cNvGrpSpPr/>
                  <p:nvPr/>
                </p:nvGrpSpPr>
                <p:grpSpPr>
                  <a:xfrm>
                    <a:off x="4078419" y="3840269"/>
                    <a:ext cx="3314595" cy="410437"/>
                    <a:chOff x="4078419" y="3888006"/>
                    <a:chExt cx="3314595" cy="410437"/>
                  </a:xfrm>
                </p:grpSpPr>
                <p:pic>
                  <p:nvPicPr>
                    <p:cNvPr id="94" name="Graphic 14"/>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7066702" y="3902876"/>
                      <a:ext cx="326312" cy="380697"/>
                    </a:xfrm>
                    <a:prstGeom prst="rect">
                      <a:avLst/>
                    </a:prstGeom>
                  </p:spPr>
                </p:pic>
                <p:cxnSp>
                  <p:nvCxnSpPr>
                    <p:cNvPr id="95" name="Straight Arrow Connector 24"/>
                    <p:cNvCxnSpPr/>
                    <p:nvPr/>
                  </p:nvCxnSpPr>
                  <p:spPr>
                    <a:xfrm>
                      <a:off x="4273591" y="4093225"/>
                      <a:ext cx="1151203" cy="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25"/>
                    <p:cNvCxnSpPr/>
                    <p:nvPr/>
                  </p:nvCxnSpPr>
                  <p:spPr>
                    <a:xfrm>
                      <a:off x="5689200" y="4093225"/>
                      <a:ext cx="618083" cy="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26"/>
                    <p:cNvCxnSpPr/>
                    <p:nvPr/>
                  </p:nvCxnSpPr>
                  <p:spPr>
                    <a:xfrm>
                      <a:off x="6769573" y="4092787"/>
                      <a:ext cx="268168" cy="875"/>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4994"/>
                    <p:cNvGrpSpPr/>
                    <p:nvPr/>
                  </p:nvGrpSpPr>
                  <p:grpSpPr>
                    <a:xfrm>
                      <a:off x="6336245" y="3888006"/>
                      <a:ext cx="404366" cy="410437"/>
                      <a:chOff x="6327398" y="3905170"/>
                      <a:chExt cx="404366" cy="410437"/>
                    </a:xfrm>
                  </p:grpSpPr>
                  <p:pic>
                    <p:nvPicPr>
                      <p:cNvPr id="105" name="Graphic 12"/>
                      <p:cNvPicPr>
                        <a:picLocks noChangeAspect="1"/>
                      </p:cNvPicPr>
                      <p:nvPr/>
                    </p:nvPicPr>
                    <p:blipFill>
                      <a:blip r:embed="rId6" cstate="print">
                        <a:extLst>
                          <a:ext uri="{96DAC541-7B7A-43D3-8B79-37D633B846F1}">
                            <asvg:svgBlip xmlns:asvg="http://schemas.microsoft.com/office/drawing/2016/SVG/main" r:embed="rId7"/>
                          </a:ext>
                        </a:extLst>
                      </a:blip>
                      <a:srcRect/>
                      <a:stretch>
                        <a:fillRect/>
                      </a:stretch>
                    </p:blipFill>
                    <p:spPr>
                      <a:xfrm rot="18000000">
                        <a:off x="6361792" y="3945636"/>
                        <a:ext cx="410437" cy="329506"/>
                      </a:xfrm>
                      <a:prstGeom prst="rect">
                        <a:avLst/>
                      </a:prstGeom>
                    </p:spPr>
                  </p:pic>
                  <p:grpSp>
                    <p:nvGrpSpPr>
                      <p:cNvPr id="106" name="Group 4993"/>
                      <p:cNvGrpSpPr/>
                      <p:nvPr/>
                    </p:nvGrpSpPr>
                    <p:grpSpPr>
                      <a:xfrm>
                        <a:off x="6327398" y="3966643"/>
                        <a:ext cx="206483" cy="206483"/>
                        <a:chOff x="6327398" y="3966643"/>
                        <a:chExt cx="206483" cy="206483"/>
                      </a:xfrm>
                    </p:grpSpPr>
                    <p:sp>
                      <p:nvSpPr>
                        <p:cNvPr id="107" name="Freeform: Shape 4930"/>
                        <p:cNvSpPr/>
                        <p:nvPr/>
                      </p:nvSpPr>
                      <p:spPr>
                        <a:xfrm>
                          <a:off x="6327398" y="3966643"/>
                          <a:ext cx="206483" cy="206483"/>
                        </a:xfrm>
                        <a:custGeom>
                          <a:avLst/>
                          <a:gdLst>
                            <a:gd name="connsiteX0" fmla="*/ 206483 w 206483"/>
                            <a:gd name="connsiteY0" fmla="*/ 103242 h 206483"/>
                            <a:gd name="connsiteX1" fmla="*/ 103242 w 206483"/>
                            <a:gd name="connsiteY1" fmla="*/ 206483 h 206483"/>
                            <a:gd name="connsiteX2" fmla="*/ 0 w 206483"/>
                            <a:gd name="connsiteY2" fmla="*/ 103242 h 206483"/>
                            <a:gd name="connsiteX3" fmla="*/ 103242 w 206483"/>
                            <a:gd name="connsiteY3" fmla="*/ 0 h 206483"/>
                            <a:gd name="connsiteX4" fmla="*/ 206483 w 206483"/>
                            <a:gd name="connsiteY4" fmla="*/ 103242 h 20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83" h="206483">
                              <a:moveTo>
                                <a:pt x="206483" y="103242"/>
                              </a:moveTo>
                              <a:cubicBezTo>
                                <a:pt x="206483" y="160260"/>
                                <a:pt x="160260" y="206483"/>
                                <a:pt x="103242" y="206483"/>
                              </a:cubicBezTo>
                              <a:cubicBezTo>
                                <a:pt x="46223" y="206483"/>
                                <a:pt x="0" y="160260"/>
                                <a:pt x="0" y="103242"/>
                              </a:cubicBezTo>
                              <a:cubicBezTo>
                                <a:pt x="0" y="46223"/>
                                <a:pt x="46223" y="0"/>
                                <a:pt x="103242" y="0"/>
                              </a:cubicBezTo>
                              <a:cubicBezTo>
                                <a:pt x="160260" y="0"/>
                                <a:pt x="206483" y="46223"/>
                                <a:pt x="206483" y="103242"/>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8" name="Freeform: Shape 4931"/>
                        <p:cNvSpPr/>
                        <p:nvPr/>
                      </p:nvSpPr>
                      <p:spPr>
                        <a:xfrm rot="20288399">
                          <a:off x="6377424" y="3992968"/>
                          <a:ext cx="59529" cy="33109"/>
                        </a:xfrm>
                        <a:custGeom>
                          <a:avLst/>
                          <a:gdLst>
                            <a:gd name="connsiteX0" fmla="*/ 59530 w 59529"/>
                            <a:gd name="connsiteY0" fmla="*/ 16555 h 33109"/>
                            <a:gd name="connsiteX1" fmla="*/ 29765 w 59529"/>
                            <a:gd name="connsiteY1" fmla="*/ 33110 h 33109"/>
                            <a:gd name="connsiteX2" fmla="*/ 0 w 59529"/>
                            <a:gd name="connsiteY2" fmla="*/ 16555 h 33109"/>
                            <a:gd name="connsiteX3" fmla="*/ 29765 w 59529"/>
                            <a:gd name="connsiteY3" fmla="*/ 0 h 33109"/>
                            <a:gd name="connsiteX4" fmla="*/ 59530 w 59529"/>
                            <a:gd name="connsiteY4" fmla="*/ 16555 h 3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29" h="33109">
                              <a:moveTo>
                                <a:pt x="59530" y="16555"/>
                              </a:moveTo>
                              <a:cubicBezTo>
                                <a:pt x="59530" y="25698"/>
                                <a:pt x="46204" y="33110"/>
                                <a:pt x="29765" y="33110"/>
                              </a:cubicBezTo>
                              <a:cubicBezTo>
                                <a:pt x="13326" y="33110"/>
                                <a:pt x="0" y="25698"/>
                                <a:pt x="0" y="16555"/>
                              </a:cubicBezTo>
                              <a:cubicBezTo>
                                <a:pt x="0" y="7412"/>
                                <a:pt x="13326" y="0"/>
                                <a:pt x="29765" y="0"/>
                              </a:cubicBezTo>
                              <a:cubicBezTo>
                                <a:pt x="46204" y="0"/>
                                <a:pt x="59530" y="7412"/>
                                <a:pt x="59530" y="16555"/>
                              </a:cubicBezTo>
                              <a:close/>
                            </a:path>
                          </a:pathLst>
                        </a:custGeom>
                        <a:solidFill>
                          <a:srgbClr val="F7DAE1"/>
                        </a:solidFill>
                        <a:ln w="55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99" name="Group 4992"/>
                    <p:cNvGrpSpPr/>
                    <p:nvPr/>
                  </p:nvGrpSpPr>
                  <p:grpSpPr>
                    <a:xfrm>
                      <a:off x="5453755" y="3989983"/>
                      <a:ext cx="206483" cy="206483"/>
                      <a:chOff x="5455407" y="3952517"/>
                      <a:chExt cx="206483" cy="206483"/>
                    </a:xfrm>
                  </p:grpSpPr>
                  <p:sp>
                    <p:nvSpPr>
                      <p:cNvPr id="103" name="Freeform: Shape 4933"/>
                      <p:cNvSpPr/>
                      <p:nvPr/>
                    </p:nvSpPr>
                    <p:spPr>
                      <a:xfrm>
                        <a:off x="5455407" y="3952517"/>
                        <a:ext cx="206483" cy="206483"/>
                      </a:xfrm>
                      <a:custGeom>
                        <a:avLst/>
                        <a:gdLst>
                          <a:gd name="connsiteX0" fmla="*/ 206483 w 206483"/>
                          <a:gd name="connsiteY0" fmla="*/ 103242 h 206483"/>
                          <a:gd name="connsiteX1" fmla="*/ 103242 w 206483"/>
                          <a:gd name="connsiteY1" fmla="*/ 206483 h 206483"/>
                          <a:gd name="connsiteX2" fmla="*/ 0 w 206483"/>
                          <a:gd name="connsiteY2" fmla="*/ 103242 h 206483"/>
                          <a:gd name="connsiteX3" fmla="*/ 103242 w 206483"/>
                          <a:gd name="connsiteY3" fmla="*/ 0 h 206483"/>
                          <a:gd name="connsiteX4" fmla="*/ 206483 w 206483"/>
                          <a:gd name="connsiteY4" fmla="*/ 103242 h 20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83" h="206483">
                            <a:moveTo>
                              <a:pt x="206483" y="103242"/>
                            </a:moveTo>
                            <a:cubicBezTo>
                              <a:pt x="206483" y="160260"/>
                              <a:pt x="160260" y="206483"/>
                              <a:pt x="103242" y="206483"/>
                            </a:cubicBezTo>
                            <a:cubicBezTo>
                              <a:pt x="46223" y="206483"/>
                              <a:pt x="0" y="160260"/>
                              <a:pt x="0" y="103242"/>
                            </a:cubicBezTo>
                            <a:cubicBezTo>
                              <a:pt x="0" y="46223"/>
                              <a:pt x="46223" y="0"/>
                              <a:pt x="103242" y="0"/>
                            </a:cubicBezTo>
                            <a:cubicBezTo>
                              <a:pt x="160260" y="0"/>
                              <a:pt x="206483" y="46223"/>
                              <a:pt x="206483" y="103242"/>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4" name="Freeform: Shape 4934"/>
                      <p:cNvSpPr/>
                      <p:nvPr/>
                    </p:nvSpPr>
                    <p:spPr>
                      <a:xfrm rot="20288399">
                        <a:off x="5505433" y="3978842"/>
                        <a:ext cx="59529" cy="33109"/>
                      </a:xfrm>
                      <a:custGeom>
                        <a:avLst/>
                        <a:gdLst>
                          <a:gd name="connsiteX0" fmla="*/ 59530 w 59529"/>
                          <a:gd name="connsiteY0" fmla="*/ 16555 h 33109"/>
                          <a:gd name="connsiteX1" fmla="*/ 29765 w 59529"/>
                          <a:gd name="connsiteY1" fmla="*/ 33110 h 33109"/>
                          <a:gd name="connsiteX2" fmla="*/ 0 w 59529"/>
                          <a:gd name="connsiteY2" fmla="*/ 16555 h 33109"/>
                          <a:gd name="connsiteX3" fmla="*/ 29765 w 59529"/>
                          <a:gd name="connsiteY3" fmla="*/ 0 h 33109"/>
                          <a:gd name="connsiteX4" fmla="*/ 59530 w 59529"/>
                          <a:gd name="connsiteY4" fmla="*/ 16555 h 3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29" h="33109">
                            <a:moveTo>
                              <a:pt x="59530" y="16555"/>
                            </a:moveTo>
                            <a:cubicBezTo>
                              <a:pt x="59530" y="25698"/>
                              <a:pt x="46204" y="33110"/>
                              <a:pt x="29765" y="33110"/>
                            </a:cubicBezTo>
                            <a:cubicBezTo>
                              <a:pt x="13326" y="33110"/>
                              <a:pt x="0" y="25698"/>
                              <a:pt x="0" y="16555"/>
                            </a:cubicBezTo>
                            <a:cubicBezTo>
                              <a:pt x="0" y="7412"/>
                              <a:pt x="13326" y="0"/>
                              <a:pt x="29765" y="0"/>
                            </a:cubicBezTo>
                            <a:cubicBezTo>
                              <a:pt x="46204" y="0"/>
                              <a:pt x="59530" y="7412"/>
                              <a:pt x="59530" y="16555"/>
                            </a:cubicBezTo>
                            <a:close/>
                          </a:path>
                        </a:pathLst>
                      </a:custGeom>
                      <a:solidFill>
                        <a:srgbClr val="F7DAE1"/>
                      </a:solidFill>
                      <a:ln w="55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00" name="Group 4991"/>
                    <p:cNvGrpSpPr/>
                    <p:nvPr/>
                  </p:nvGrpSpPr>
                  <p:grpSpPr>
                    <a:xfrm>
                      <a:off x="4078419" y="4010119"/>
                      <a:ext cx="166211" cy="166211"/>
                      <a:chOff x="4078419" y="3968909"/>
                      <a:chExt cx="166211" cy="166211"/>
                    </a:xfrm>
                  </p:grpSpPr>
                  <p:sp>
                    <p:nvSpPr>
                      <p:cNvPr id="101" name="Freeform: Shape 4936"/>
                      <p:cNvSpPr/>
                      <p:nvPr/>
                    </p:nvSpPr>
                    <p:spPr>
                      <a:xfrm>
                        <a:off x="4078419" y="3968909"/>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2" name="Freeform: Shape 4937"/>
                      <p:cNvSpPr/>
                      <p:nvPr/>
                    </p:nvSpPr>
                    <p:spPr>
                      <a:xfrm rot="20288399">
                        <a:off x="4118688" y="3990100"/>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grpSp>
          <p:cxnSp>
            <p:nvCxnSpPr>
              <p:cNvPr id="85" name="Straight Connector 4939"/>
              <p:cNvCxnSpPr/>
              <p:nvPr/>
            </p:nvCxnSpPr>
            <p:spPr bwMode="gray">
              <a:xfrm flipH="1">
                <a:off x="3253576" y="2442124"/>
                <a:ext cx="754255" cy="0"/>
              </a:xfrm>
              <a:prstGeom prst="line">
                <a:avLst/>
              </a:prstGeom>
              <a:noFill/>
              <a:ln w="12700" cap="rnd">
                <a:solidFill>
                  <a:schemeClr val="accent1"/>
                </a:solidFill>
                <a:prstDash val="solid"/>
                <a:round/>
                <a:headEnd type="oval"/>
                <a:tailEnd type="none"/>
              </a:ln>
              <a:effectLst/>
            </p:spPr>
          </p:cxnSp>
          <p:cxnSp>
            <p:nvCxnSpPr>
              <p:cNvPr id="86" name="Straight Arrow Connector 4943"/>
              <p:cNvCxnSpPr/>
              <p:nvPr/>
            </p:nvCxnSpPr>
            <p:spPr bwMode="gray">
              <a:xfrm>
                <a:off x="3843548" y="3334767"/>
                <a:ext cx="295769" cy="0"/>
              </a:xfrm>
              <a:prstGeom prst="straightConnector1">
                <a:avLst/>
              </a:prstGeom>
              <a:noFill/>
              <a:ln w="12700" cap="rnd">
                <a:solidFill>
                  <a:schemeClr val="accent1"/>
                </a:solidFill>
                <a:prstDash val="solid"/>
                <a:round/>
                <a:headEnd type="none"/>
                <a:tailEnd type="oval"/>
              </a:ln>
              <a:effectLst/>
            </p:spPr>
          </p:cxnSp>
          <p:sp>
            <p:nvSpPr>
              <p:cNvPr id="87" name="TextBox 5023"/>
              <p:cNvSpPr txBox="1"/>
              <p:nvPr/>
            </p:nvSpPr>
            <p:spPr>
              <a:xfrm>
                <a:off x="2870467" y="2271864"/>
                <a:ext cx="955987" cy="340519"/>
              </a:xfrm>
              <a:prstGeom prst="roundRect">
                <a:avLst/>
              </a:prstGeom>
              <a:solidFill>
                <a:schemeClr val="bg1"/>
              </a:solidFill>
              <a:ln>
                <a:solidFill>
                  <a:schemeClr val="accent1"/>
                </a:solidFill>
              </a:ln>
            </p:spPr>
            <p:txBody>
              <a:bodyPr wrap="square" lIns="45720" tIns="45720" r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0" i="0" u="none" strike="noStrike" kern="0" cap="none" spc="0" normalizeH="0" baseline="0" noProof="0" err="1">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抗生素</a:t>
                </a:r>
                <a:endParaRPr kumimoji="0" lang="en-GB" sz="14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88" name="TextBox 5024"/>
              <p:cNvSpPr txBox="1"/>
              <p:nvPr/>
            </p:nvSpPr>
            <p:spPr>
              <a:xfrm>
                <a:off x="2983832" y="3169280"/>
                <a:ext cx="924717" cy="340519"/>
              </a:xfrm>
              <a:prstGeom prst="roundRect">
                <a:avLst/>
              </a:prstGeom>
              <a:solidFill>
                <a:schemeClr val="bg1"/>
              </a:solidFill>
              <a:ln>
                <a:solidFill>
                  <a:schemeClr val="accent1"/>
                </a:solidFill>
              </a:ln>
            </p:spPr>
            <p:txBody>
              <a:bodyPr wrap="square" lIns="45720" tIns="45720" rIns="45720" anchor="ctr">
                <a:spAutoFit/>
              </a:bodyPr>
              <a:lstStyle>
                <a:defPPr>
                  <a:defRPr lang="en-US"/>
                </a:defPPr>
                <a:lvl1pPr algn="ctr">
                  <a:defRPr sz="1400" kern="0">
                    <a:solidFill>
                      <a:srgbClr val="000000"/>
                    </a:solidFill>
                    <a:latin typeface="Arial" panose="020B0604020202090204"/>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膜蛋白</a:t>
                </a:r>
                <a:endParaRPr kumimoji="0" lang="en-GB"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125" name="组合 124"/>
          <p:cNvGrpSpPr/>
          <p:nvPr/>
        </p:nvGrpSpPr>
        <p:grpSpPr>
          <a:xfrm>
            <a:off x="479425" y="1988829"/>
            <a:ext cx="4419755" cy="4319896"/>
            <a:chOff x="5067300" y="1988829"/>
            <a:chExt cx="4419755" cy="4319896"/>
          </a:xfrm>
        </p:grpSpPr>
        <p:sp>
          <p:nvSpPr>
            <p:cNvPr id="126" name="矩形 125"/>
            <p:cNvSpPr/>
            <p:nvPr/>
          </p:nvSpPr>
          <p:spPr>
            <a:xfrm>
              <a:off x="5067300" y="1988829"/>
              <a:ext cx="4419755"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7" name="组合 126"/>
            <p:cNvGrpSpPr/>
            <p:nvPr/>
          </p:nvGrpSpPr>
          <p:grpSpPr>
            <a:xfrm>
              <a:off x="5067300" y="1988829"/>
              <a:ext cx="4419755" cy="432000"/>
              <a:chOff x="5067300" y="1988829"/>
              <a:chExt cx="4419755" cy="432000"/>
            </a:xfrm>
          </p:grpSpPr>
          <p:sp>
            <p:nvSpPr>
              <p:cNvPr id="128" name="矩形 127"/>
              <p:cNvSpPr/>
              <p:nvPr/>
            </p:nvSpPr>
            <p:spPr>
              <a:xfrm>
                <a:off x="5067300" y="1988829"/>
                <a:ext cx="4419755"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a:effectLst>
                      <a:outerShdw blurRad="38100" dist="38100" dir="2700000" algn="tl">
                        <a:srgbClr val="000000">
                          <a:alpha val="43137"/>
                        </a:srgbClr>
                      </a:outerShdw>
                    </a:effectLst>
                  </a:rPr>
                  <a:t>碳青霉烯类耐药机制</a:t>
                </a:r>
                <a:r>
                  <a:rPr lang="en-US" altLang="zh-CN" sz="1600" b="1" baseline="30000">
                    <a:effectLst>
                      <a:outerShdw blurRad="38100" dist="38100" dir="2700000" algn="tl">
                        <a:srgbClr val="000000">
                          <a:alpha val="43137"/>
                        </a:srgbClr>
                      </a:outerShdw>
                    </a:effectLst>
                  </a:rPr>
                  <a:t>2,3</a:t>
                </a:r>
                <a:endParaRPr lang="en-US" altLang="zh-CN" sz="1600" b="1" baseline="30000">
                  <a:effectLst>
                    <a:outerShdw blurRad="38100" dist="38100" dir="2700000" algn="tl">
                      <a:srgbClr val="000000">
                        <a:alpha val="43137"/>
                      </a:srgbClr>
                    </a:outerShdw>
                  </a:effectLst>
                </a:endParaRPr>
              </a:p>
            </p:txBody>
          </p:sp>
          <p:grpSp>
            <p:nvGrpSpPr>
              <p:cNvPr id="129" name="组合 128"/>
              <p:cNvGrpSpPr/>
              <p:nvPr/>
            </p:nvGrpSpPr>
            <p:grpSpPr>
              <a:xfrm>
                <a:off x="8965240" y="1988829"/>
                <a:ext cx="521815" cy="432000"/>
                <a:chOff x="6193038" y="2029438"/>
                <a:chExt cx="521815" cy="430843"/>
              </a:xfrm>
            </p:grpSpPr>
            <p:sp>
              <p:nvSpPr>
                <p:cNvPr id="133" name="直角三角形 132"/>
                <p:cNvSpPr/>
                <p:nvPr/>
              </p:nvSpPr>
              <p:spPr>
                <a:xfrm flipH="1">
                  <a:off x="619303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4" name="直角三角形 133"/>
                <p:cNvSpPr/>
                <p:nvPr/>
              </p:nvSpPr>
              <p:spPr>
                <a:xfrm flipH="1" flipV="1">
                  <a:off x="642260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30" name="组合 129"/>
              <p:cNvGrpSpPr/>
              <p:nvPr/>
            </p:nvGrpSpPr>
            <p:grpSpPr>
              <a:xfrm flipH="1">
                <a:off x="5067300" y="1988829"/>
                <a:ext cx="521815" cy="432000"/>
                <a:chOff x="9555833" y="2029438"/>
                <a:chExt cx="521815" cy="430843"/>
              </a:xfrm>
            </p:grpSpPr>
            <p:sp>
              <p:nvSpPr>
                <p:cNvPr id="131" name="直角三角形 13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2" name="直角三角形 13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sp>
        <p:nvSpPr>
          <p:cNvPr id="135" name="矩形: 圆角 134"/>
          <p:cNvSpPr/>
          <p:nvPr/>
        </p:nvSpPr>
        <p:spPr>
          <a:xfrm>
            <a:off x="667605" y="2897464"/>
            <a:ext cx="4043394"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各种 </a:t>
            </a:r>
            <a:r>
              <a:rPr lang="en-US" altLang="zh-CN" sz="1400" b="1">
                <a:solidFill>
                  <a:schemeClr val="tx1"/>
                </a:solidFill>
              </a:rPr>
              <a:t>β-</a:t>
            </a:r>
            <a:r>
              <a:rPr lang="zh-CN" altLang="en-US" sz="1400" b="1">
                <a:solidFill>
                  <a:schemeClr val="tx1"/>
                </a:solidFill>
              </a:rPr>
              <a:t>内酰胺酶的表达， 包括碳青霉烯酶</a:t>
            </a:r>
            <a:endParaRPr lang="zh-CN" altLang="en-US" sz="1400" b="1">
              <a:solidFill>
                <a:schemeClr val="tx1"/>
              </a:solidFill>
            </a:endParaRPr>
          </a:p>
        </p:txBody>
      </p:sp>
      <p:grpSp>
        <p:nvGrpSpPr>
          <p:cNvPr id="138" name="组合 137"/>
          <p:cNvGrpSpPr/>
          <p:nvPr/>
        </p:nvGrpSpPr>
        <p:grpSpPr>
          <a:xfrm>
            <a:off x="667605" y="3779037"/>
            <a:ext cx="4043394" cy="1686399"/>
            <a:chOff x="667605" y="4022297"/>
            <a:chExt cx="4043394" cy="1686399"/>
          </a:xfrm>
        </p:grpSpPr>
        <p:sp>
          <p:nvSpPr>
            <p:cNvPr id="136" name="矩形: 圆角 135"/>
            <p:cNvSpPr/>
            <p:nvPr/>
          </p:nvSpPr>
          <p:spPr>
            <a:xfrm>
              <a:off x="667605" y="4195289"/>
              <a:ext cx="4043394" cy="1513407"/>
            </a:xfrm>
            <a:prstGeom prst="roundRect">
              <a:avLst>
                <a:gd name="adj" fmla="val 2963"/>
              </a:avLst>
            </a:prstGeom>
            <a:gradFill>
              <a:gsLst>
                <a:gs pos="100000">
                  <a:schemeClr val="accent1">
                    <a:alpha val="0"/>
                  </a:schemeClr>
                </a:gs>
                <a:gs pos="0">
                  <a:schemeClr val="accent1">
                    <a:alpha val="1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90204" pitchFamily="34" charset="0"/>
                <a:buChar char="•"/>
              </a:pPr>
              <a:r>
                <a:rPr lang="zh-CN" altLang="en-US" sz="1400">
                  <a:solidFill>
                    <a:schemeClr val="tx1"/>
                  </a:solidFill>
                </a:rPr>
                <a:t>孔蛋白通道突变（下调或缺失）</a:t>
              </a:r>
              <a:endParaRPr lang="zh-CN" altLang="en-US" sz="1400">
                <a:solidFill>
                  <a:schemeClr val="tx1"/>
                </a:solidFill>
              </a:endParaRPr>
            </a:p>
            <a:p>
              <a:pPr marL="285750" indent="-285750">
                <a:lnSpc>
                  <a:spcPct val="150000"/>
                </a:lnSpc>
                <a:buFont typeface="Arial" panose="020B0604020202090204" pitchFamily="34" charset="0"/>
                <a:buChar char="•"/>
              </a:pPr>
              <a:r>
                <a:rPr lang="zh-CN" altLang="en-US" sz="1400">
                  <a:solidFill>
                    <a:schemeClr val="tx1"/>
                  </a:solidFill>
                </a:rPr>
                <a:t>外排泵过表达</a:t>
              </a:r>
              <a:endParaRPr lang="zh-CN" altLang="en-US" sz="1400">
                <a:solidFill>
                  <a:schemeClr val="tx1"/>
                </a:solidFill>
              </a:endParaRPr>
            </a:p>
            <a:p>
              <a:pPr marL="285750" indent="-285750">
                <a:lnSpc>
                  <a:spcPct val="150000"/>
                </a:lnSpc>
                <a:buFont typeface="Arial" panose="020B0604020202090204" pitchFamily="34" charset="0"/>
                <a:buChar char="•"/>
              </a:pPr>
              <a:r>
                <a:rPr lang="zh-CN" altLang="en-US" sz="1400">
                  <a:solidFill>
                    <a:schemeClr val="tx1"/>
                  </a:solidFill>
                </a:rPr>
                <a:t>细胞壁改变</a:t>
              </a:r>
              <a:endParaRPr lang="zh-CN" altLang="en-US" sz="1400">
                <a:solidFill>
                  <a:schemeClr val="tx1"/>
                </a:solidFill>
              </a:endParaRPr>
            </a:p>
          </p:txBody>
        </p:sp>
        <p:sp>
          <p:nvSpPr>
            <p:cNvPr id="137" name="矩形: 圆角 136"/>
            <p:cNvSpPr/>
            <p:nvPr/>
          </p:nvSpPr>
          <p:spPr>
            <a:xfrm>
              <a:off x="1417035" y="4022297"/>
              <a:ext cx="2544535" cy="337512"/>
            </a:xfrm>
            <a:prstGeom prst="roundRect">
              <a:avLst>
                <a:gd name="adj" fmla="val 50000"/>
              </a:avLst>
            </a:prstGeom>
            <a:solidFill>
              <a:srgbClr val="CEF4E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非产碳青霉烯酶的耐药机制</a:t>
              </a:r>
              <a:endParaRPr lang="en-US" altLang="zh-CN" sz="1400" b="1">
                <a:solidFill>
                  <a:schemeClr val="tx1"/>
                </a:solidFill>
              </a:endParaRPr>
            </a:p>
          </p:txBody>
        </p:sp>
      </p:grpSp>
      <p:sp>
        <p:nvSpPr>
          <p:cNvPr id="139" name="任意多边形: 形状 138"/>
          <p:cNvSpPr/>
          <p:nvPr/>
        </p:nvSpPr>
        <p:spPr>
          <a:xfrm flipH="1" flipV="1">
            <a:off x="1054517" y="4312871"/>
            <a:ext cx="4419753" cy="831288"/>
          </a:xfrm>
          <a:custGeom>
            <a:avLst/>
            <a:gdLst>
              <a:gd name="connsiteX0" fmla="*/ 11161712 w 11161712"/>
              <a:gd name="connsiteY0" fmla="*/ 26688 h 1720659"/>
              <a:gd name="connsiteX1" fmla="*/ 11109137 w 11161712"/>
              <a:gd name="connsiteY1" fmla="*/ 0 h 1720659"/>
              <a:gd name="connsiteX2" fmla="*/ 11115892 w 11161712"/>
              <a:gd name="connsiteY2" fmla="*/ 0 h 1720659"/>
              <a:gd name="connsiteX3" fmla="*/ 11161712 w 11161712"/>
              <a:gd name="connsiteY3" fmla="*/ 23232 h 1720659"/>
              <a:gd name="connsiteX4" fmla="*/ 11161712 w 11161712"/>
              <a:gd name="connsiteY4" fmla="*/ 132138 h 1720659"/>
              <a:gd name="connsiteX5" fmla="*/ 10978896 w 11161712"/>
              <a:gd name="connsiteY5" fmla="*/ 31468 h 1720659"/>
              <a:gd name="connsiteX6" fmla="*/ 10911703 w 11161712"/>
              <a:gd name="connsiteY6" fmla="*/ 0 h 1720659"/>
              <a:gd name="connsiteX7" fmla="*/ 10921267 w 11161712"/>
              <a:gd name="connsiteY7" fmla="*/ 0 h 1720659"/>
              <a:gd name="connsiteX8" fmla="*/ 11161712 w 11161712"/>
              <a:gd name="connsiteY8" fmla="*/ 126568 h 1720659"/>
              <a:gd name="connsiteX9" fmla="*/ 11161712 w 11161712"/>
              <a:gd name="connsiteY9" fmla="*/ 235220 h 1720659"/>
              <a:gd name="connsiteX10" fmla="*/ 10874818 w 11161712"/>
              <a:gd name="connsiteY10" fmla="*/ 78620 h 1720659"/>
              <a:gd name="connsiteX11" fmla="*/ 10725903 w 11161712"/>
              <a:gd name="connsiteY11" fmla="*/ 7221 h 1720659"/>
              <a:gd name="connsiteX12" fmla="*/ 10709059 w 11161712"/>
              <a:gd name="connsiteY12" fmla="*/ 0 h 1720659"/>
              <a:gd name="connsiteX13" fmla="*/ 10719534 w 11161712"/>
              <a:gd name="connsiteY13" fmla="*/ 0 h 1720659"/>
              <a:gd name="connsiteX14" fmla="*/ 10872574 w 11161712"/>
              <a:gd name="connsiteY14" fmla="*/ 73079 h 1720659"/>
              <a:gd name="connsiteX15" fmla="*/ 11161712 w 11161712"/>
              <a:gd name="connsiteY15" fmla="*/ 230734 h 1720659"/>
              <a:gd name="connsiteX16" fmla="*/ 11161712 w 11161712"/>
              <a:gd name="connsiteY16" fmla="*/ 349211 h 1720659"/>
              <a:gd name="connsiteX17" fmla="*/ 11129211 w 11161712"/>
              <a:gd name="connsiteY17" fmla="*/ 329228 h 1720659"/>
              <a:gd name="connsiteX18" fmla="*/ 10529656 w 11161712"/>
              <a:gd name="connsiteY18" fmla="*/ 26805 h 1720659"/>
              <a:gd name="connsiteX19" fmla="*/ 10461056 w 11161712"/>
              <a:gd name="connsiteY19" fmla="*/ 0 h 1720659"/>
              <a:gd name="connsiteX20" fmla="*/ 10470368 w 11161712"/>
              <a:gd name="connsiteY20" fmla="*/ 0 h 1720659"/>
              <a:gd name="connsiteX21" fmla="*/ 10529128 w 11161712"/>
              <a:gd name="connsiteY21" fmla="*/ 22763 h 1720659"/>
              <a:gd name="connsiteX22" fmla="*/ 10863168 w 11161712"/>
              <a:gd name="connsiteY22" fmla="*/ 178141 h 1720659"/>
              <a:gd name="connsiteX23" fmla="*/ 11161712 w 11161712"/>
              <a:gd name="connsiteY23" fmla="*/ 343408 h 1720659"/>
              <a:gd name="connsiteX24" fmla="*/ 11161712 w 11161712"/>
              <a:gd name="connsiteY24" fmla="*/ 445746 h 1720659"/>
              <a:gd name="connsiteX25" fmla="*/ 11154687 w 11161712"/>
              <a:gd name="connsiteY25" fmla="*/ 441205 h 1720659"/>
              <a:gd name="connsiteX26" fmla="*/ 10381294 w 11161712"/>
              <a:gd name="connsiteY26" fmla="*/ 43411 h 1720659"/>
              <a:gd name="connsiteX27" fmla="*/ 10263704 w 11161712"/>
              <a:gd name="connsiteY27" fmla="*/ 0 h 1720659"/>
              <a:gd name="connsiteX28" fmla="*/ 10274854 w 11161712"/>
              <a:gd name="connsiteY28" fmla="*/ 0 h 1720659"/>
              <a:gd name="connsiteX29" fmla="*/ 10365980 w 11161712"/>
              <a:gd name="connsiteY29" fmla="*/ 33276 h 1720659"/>
              <a:gd name="connsiteX30" fmla="*/ 10842151 w 11161712"/>
              <a:gd name="connsiteY30" fmla="*/ 256174 h 1720659"/>
              <a:gd name="connsiteX31" fmla="*/ 11151450 w 11161712"/>
              <a:gd name="connsiteY31" fmla="*/ 435179 h 1720659"/>
              <a:gd name="connsiteX32" fmla="*/ 11161712 w 11161712"/>
              <a:gd name="connsiteY32" fmla="*/ 441801 h 1720659"/>
              <a:gd name="connsiteX33" fmla="*/ 11161712 w 11161712"/>
              <a:gd name="connsiteY33" fmla="*/ 552681 h 1720659"/>
              <a:gd name="connsiteX34" fmla="*/ 11160475 w 11161712"/>
              <a:gd name="connsiteY34" fmla="*/ 551866 h 1720659"/>
              <a:gd name="connsiteX35" fmla="*/ 10032061 w 11161712"/>
              <a:gd name="connsiteY35" fmla="*/ 3091 h 1720659"/>
              <a:gd name="connsiteX36" fmla="*/ 10021279 w 11161712"/>
              <a:gd name="connsiteY36" fmla="*/ 0 h 1720659"/>
              <a:gd name="connsiteX37" fmla="*/ 10034898 w 11161712"/>
              <a:gd name="connsiteY37" fmla="*/ 0 h 1720659"/>
              <a:gd name="connsiteX38" fmla="*/ 10145710 w 11161712"/>
              <a:gd name="connsiteY38" fmla="*/ 36114 h 1720659"/>
              <a:gd name="connsiteX39" fmla="*/ 10820544 w 11161712"/>
              <a:gd name="connsiteY39" fmla="*/ 344882 h 1720659"/>
              <a:gd name="connsiteX40" fmla="*/ 11117486 w 11161712"/>
              <a:gd name="connsiteY40" fmla="*/ 519992 h 1720659"/>
              <a:gd name="connsiteX41" fmla="*/ 11161712 w 11161712"/>
              <a:gd name="connsiteY41" fmla="*/ 548838 h 1720659"/>
              <a:gd name="connsiteX42" fmla="*/ 11161712 w 11161712"/>
              <a:gd name="connsiteY42" fmla="*/ 662474 h 1720659"/>
              <a:gd name="connsiteX43" fmla="*/ 11062969 w 11161712"/>
              <a:gd name="connsiteY43" fmla="*/ 597486 h 1720659"/>
              <a:gd name="connsiteX44" fmla="*/ 9803001 w 11161712"/>
              <a:gd name="connsiteY44" fmla="*/ 7836 h 1720659"/>
              <a:gd name="connsiteX45" fmla="*/ 9771928 w 11161712"/>
              <a:gd name="connsiteY45" fmla="*/ 0 h 1720659"/>
              <a:gd name="connsiteX46" fmla="*/ 9789858 w 11161712"/>
              <a:gd name="connsiteY46" fmla="*/ 0 h 1720659"/>
              <a:gd name="connsiteX47" fmla="*/ 9790231 w 11161712"/>
              <a:gd name="connsiteY47" fmla="*/ 94 h 1720659"/>
              <a:gd name="connsiteX48" fmla="*/ 10798897 w 11161712"/>
              <a:gd name="connsiteY48" fmla="*/ 433836 h 1720659"/>
              <a:gd name="connsiteX49" fmla="*/ 11107562 w 11161712"/>
              <a:gd name="connsiteY49" fmla="*/ 620062 h 1720659"/>
              <a:gd name="connsiteX50" fmla="*/ 11161712 w 11161712"/>
              <a:gd name="connsiteY50" fmla="*/ 656000 h 1720659"/>
              <a:gd name="connsiteX51" fmla="*/ 11161712 w 11161712"/>
              <a:gd name="connsiteY51" fmla="*/ 770292 h 1720659"/>
              <a:gd name="connsiteX52" fmla="*/ 11068223 w 11161712"/>
              <a:gd name="connsiteY52" fmla="*/ 707603 h 1720659"/>
              <a:gd name="connsiteX53" fmla="*/ 9603892 w 11161712"/>
              <a:gd name="connsiteY53" fmla="*/ 21172 h 1720659"/>
              <a:gd name="connsiteX54" fmla="*/ 9515263 w 11161712"/>
              <a:gd name="connsiteY54" fmla="*/ 0 h 1720659"/>
              <a:gd name="connsiteX55" fmla="*/ 9536577 w 11161712"/>
              <a:gd name="connsiteY55" fmla="*/ 0 h 1720659"/>
              <a:gd name="connsiteX56" fmla="*/ 9593422 w 11161712"/>
              <a:gd name="connsiteY56" fmla="*/ 13495 h 1720659"/>
              <a:gd name="connsiteX57" fmla="*/ 10777208 w 11161712"/>
              <a:gd name="connsiteY57" fmla="*/ 523038 h 1720659"/>
              <a:gd name="connsiteX58" fmla="*/ 11100808 w 11161712"/>
              <a:gd name="connsiteY58" fmla="*/ 722786 h 1720659"/>
              <a:gd name="connsiteX59" fmla="*/ 11161712 w 11161712"/>
              <a:gd name="connsiteY59" fmla="*/ 763927 h 1720659"/>
              <a:gd name="connsiteX60" fmla="*/ 11161712 w 11161712"/>
              <a:gd name="connsiteY60" fmla="*/ 878534 h 1720659"/>
              <a:gd name="connsiteX61" fmla="*/ 11075889 w 11161712"/>
              <a:gd name="connsiteY61" fmla="*/ 819953 h 1720659"/>
              <a:gd name="connsiteX62" fmla="*/ 9391330 w 11161712"/>
              <a:gd name="connsiteY62" fmla="*/ 26511 h 1720659"/>
              <a:gd name="connsiteX63" fmla="*/ 9278604 w 11161712"/>
              <a:gd name="connsiteY63" fmla="*/ 0 h 1720659"/>
              <a:gd name="connsiteX64" fmla="*/ 9300967 w 11161712"/>
              <a:gd name="connsiteY64" fmla="*/ 0 h 1720659"/>
              <a:gd name="connsiteX65" fmla="*/ 9392590 w 11161712"/>
              <a:gd name="connsiteY65" fmla="*/ 21569 h 1720659"/>
              <a:gd name="connsiteX66" fmla="*/ 10755393 w 11161712"/>
              <a:gd name="connsiteY66" fmla="*/ 612455 h 1720659"/>
              <a:gd name="connsiteX67" fmla="*/ 11077437 w 11161712"/>
              <a:gd name="connsiteY67" fmla="*/ 814702 h 1720659"/>
              <a:gd name="connsiteX68" fmla="*/ 11161712 w 11161712"/>
              <a:gd name="connsiteY68" fmla="*/ 872269 h 1720659"/>
              <a:gd name="connsiteX69" fmla="*/ 11161712 w 11161712"/>
              <a:gd name="connsiteY69" fmla="*/ 987197 h 1720659"/>
              <a:gd name="connsiteX70" fmla="*/ 11086482 w 11161712"/>
              <a:gd name="connsiteY70" fmla="*/ 934965 h 1720659"/>
              <a:gd name="connsiteX71" fmla="*/ 9351647 w 11161712"/>
              <a:gd name="connsiteY71" fmla="*/ 73151 h 1720659"/>
              <a:gd name="connsiteX72" fmla="*/ 9107136 w 11161712"/>
              <a:gd name="connsiteY72" fmla="*/ 4935 h 1720659"/>
              <a:gd name="connsiteX73" fmla="*/ 9086680 w 11161712"/>
              <a:gd name="connsiteY73" fmla="*/ 0 h 1720659"/>
              <a:gd name="connsiteX74" fmla="*/ 9109920 w 11161712"/>
              <a:gd name="connsiteY74" fmla="*/ 0 h 1720659"/>
              <a:gd name="connsiteX75" fmla="*/ 9110674 w 11161712"/>
              <a:gd name="connsiteY75" fmla="*/ 183 h 1720659"/>
              <a:gd name="connsiteX76" fmla="*/ 9353179 w 11161712"/>
              <a:gd name="connsiteY76" fmla="*/ 67975 h 1720659"/>
              <a:gd name="connsiteX77" fmla="*/ 10733493 w 11161712"/>
              <a:gd name="connsiteY77" fmla="*/ 702085 h 1720659"/>
              <a:gd name="connsiteX78" fmla="*/ 11070331 w 11161712"/>
              <a:gd name="connsiteY78" fmla="*/ 917618 h 1720659"/>
              <a:gd name="connsiteX79" fmla="*/ 11161712 w 11161712"/>
              <a:gd name="connsiteY79" fmla="*/ 980952 h 1720659"/>
              <a:gd name="connsiteX80" fmla="*/ 11161712 w 11161712"/>
              <a:gd name="connsiteY80" fmla="*/ 1097405 h 1720659"/>
              <a:gd name="connsiteX81" fmla="*/ 11047087 w 11161712"/>
              <a:gd name="connsiteY81" fmla="*/ 1017287 h 1720659"/>
              <a:gd name="connsiteX82" fmla="*/ 9311962 w 11161712"/>
              <a:gd name="connsiteY82" fmla="*/ 119786 h 1720659"/>
              <a:gd name="connsiteX83" fmla="*/ 9080234 w 11161712"/>
              <a:gd name="connsiteY83" fmla="*/ 44549 h 1720659"/>
              <a:gd name="connsiteX84" fmla="*/ 8927317 w 11161712"/>
              <a:gd name="connsiteY84" fmla="*/ 0 h 1720659"/>
              <a:gd name="connsiteX85" fmla="*/ 8947211 w 11161712"/>
              <a:gd name="connsiteY85" fmla="*/ 0 h 1720659"/>
              <a:gd name="connsiteX86" fmla="*/ 9068565 w 11161712"/>
              <a:gd name="connsiteY86" fmla="*/ 35134 h 1720659"/>
              <a:gd name="connsiteX87" fmla="*/ 9313789 w 11161712"/>
              <a:gd name="connsiteY87" fmla="*/ 114386 h 1720659"/>
              <a:gd name="connsiteX88" fmla="*/ 10711425 w 11161712"/>
              <a:gd name="connsiteY88" fmla="*/ 791905 h 1720659"/>
              <a:gd name="connsiteX89" fmla="*/ 11064921 w 11161712"/>
              <a:gd name="connsiteY89" fmla="*/ 1022101 h 1720659"/>
              <a:gd name="connsiteX90" fmla="*/ 11161712 w 11161712"/>
              <a:gd name="connsiteY90" fmla="*/ 1090114 h 1720659"/>
              <a:gd name="connsiteX91" fmla="*/ 11161712 w 11161712"/>
              <a:gd name="connsiteY91" fmla="*/ 1206890 h 1720659"/>
              <a:gd name="connsiteX92" fmla="*/ 11064876 w 11161712"/>
              <a:gd name="connsiteY92" fmla="*/ 1138100 h 1720659"/>
              <a:gd name="connsiteX93" fmla="*/ 9272279 w 11161712"/>
              <a:gd name="connsiteY93" fmla="*/ 166416 h 1720659"/>
              <a:gd name="connsiteX94" fmla="*/ 9048766 w 11161712"/>
              <a:gd name="connsiteY94" fmla="*/ 84299 h 1720659"/>
              <a:gd name="connsiteX95" fmla="*/ 8797594 w 11161712"/>
              <a:gd name="connsiteY95" fmla="*/ 0 h 1720659"/>
              <a:gd name="connsiteX96" fmla="*/ 8817361 w 11161712"/>
              <a:gd name="connsiteY96" fmla="*/ 0 h 1720659"/>
              <a:gd name="connsiteX97" fmla="*/ 9026357 w 11161712"/>
              <a:gd name="connsiteY97" fmla="*/ 70008 h 1720659"/>
              <a:gd name="connsiteX98" fmla="*/ 9274401 w 11161712"/>
              <a:gd name="connsiteY98" fmla="*/ 160802 h 1720659"/>
              <a:gd name="connsiteX99" fmla="*/ 10689232 w 11161712"/>
              <a:gd name="connsiteY99" fmla="*/ 881888 h 1720659"/>
              <a:gd name="connsiteX100" fmla="*/ 10985012 w 11161712"/>
              <a:gd name="connsiteY100" fmla="*/ 1075962 h 1720659"/>
              <a:gd name="connsiteX101" fmla="*/ 11161712 w 11161712"/>
              <a:gd name="connsiteY101" fmla="*/ 1199657 h 1720659"/>
              <a:gd name="connsiteX102" fmla="*/ 6604887 w 11161712"/>
              <a:gd name="connsiteY102" fmla="*/ 1218072 h 1720659"/>
              <a:gd name="connsiteX103" fmla="*/ 6811576 w 11161712"/>
              <a:gd name="connsiteY103" fmla="*/ 1162898 h 1720659"/>
              <a:gd name="connsiteX104" fmla="*/ 6775194 w 11161712"/>
              <a:gd name="connsiteY104" fmla="*/ 1174308 h 1720659"/>
              <a:gd name="connsiteX105" fmla="*/ 6610475 w 11161712"/>
              <a:gd name="connsiteY105" fmla="*/ 1216927 h 1720659"/>
              <a:gd name="connsiteX106" fmla="*/ 6505290 w 11161712"/>
              <a:gd name="connsiteY106" fmla="*/ 1238479 h 1720659"/>
              <a:gd name="connsiteX107" fmla="*/ 6604887 w 11161712"/>
              <a:gd name="connsiteY107" fmla="*/ 1218072 h 1720659"/>
              <a:gd name="connsiteX108" fmla="*/ 6567794 w 11161712"/>
              <a:gd name="connsiteY108" fmla="*/ 1227974 h 1720659"/>
              <a:gd name="connsiteX109" fmla="*/ 6303984 w 11161712"/>
              <a:gd name="connsiteY109" fmla="*/ 1272312 h 1720659"/>
              <a:gd name="connsiteX110" fmla="*/ 6505290 w 11161712"/>
              <a:gd name="connsiteY110" fmla="*/ 1238479 h 1720659"/>
              <a:gd name="connsiteX111" fmla="*/ 6444237 w 11161712"/>
              <a:gd name="connsiteY111" fmla="*/ 1250988 h 1720659"/>
              <a:gd name="connsiteX112" fmla="*/ 6187424 w 11161712"/>
              <a:gd name="connsiteY112" fmla="*/ 1289864 h 1720659"/>
              <a:gd name="connsiteX113" fmla="*/ 6218540 w 11161712"/>
              <a:gd name="connsiteY113" fmla="*/ 1284656 h 1720659"/>
              <a:gd name="connsiteX114" fmla="*/ 6202120 w 11161712"/>
              <a:gd name="connsiteY114" fmla="*/ 1286379 h 1720659"/>
              <a:gd name="connsiteX115" fmla="*/ 6187424 w 11161712"/>
              <a:gd name="connsiteY115" fmla="*/ 1289864 h 1720659"/>
              <a:gd name="connsiteX116" fmla="*/ 6116433 w 11161712"/>
              <a:gd name="connsiteY116" fmla="*/ 1300446 h 1720659"/>
              <a:gd name="connsiteX117" fmla="*/ 6143058 w 11161712"/>
              <a:gd name="connsiteY117" fmla="*/ 1296688 h 1720659"/>
              <a:gd name="connsiteX118" fmla="*/ 6178773 w 11161712"/>
              <a:gd name="connsiteY118" fmla="*/ 1288709 h 1720659"/>
              <a:gd name="connsiteX119" fmla="*/ 6150196 w 11161712"/>
              <a:gd name="connsiteY119" fmla="*/ 1291334 h 1720659"/>
              <a:gd name="connsiteX120" fmla="*/ 6147761 w 11161712"/>
              <a:gd name="connsiteY120" fmla="*/ 1291543 h 1720659"/>
              <a:gd name="connsiteX121" fmla="*/ 6116433 w 11161712"/>
              <a:gd name="connsiteY121" fmla="*/ 1300446 h 1720659"/>
              <a:gd name="connsiteX122" fmla="*/ 6090797 w 11161712"/>
              <a:gd name="connsiteY122" fmla="*/ 1307353 h 1720659"/>
              <a:gd name="connsiteX123" fmla="*/ 6107049 w 11161712"/>
              <a:gd name="connsiteY123" fmla="*/ 1304141 h 1720659"/>
              <a:gd name="connsiteX124" fmla="*/ 6098922 w 11161712"/>
              <a:gd name="connsiteY124" fmla="*/ 1305191 h 1720659"/>
              <a:gd name="connsiteX125" fmla="*/ 6090797 w 11161712"/>
              <a:gd name="connsiteY125" fmla="*/ 1307353 h 1720659"/>
              <a:gd name="connsiteX126" fmla="*/ 6055187 w 11161712"/>
              <a:gd name="connsiteY126" fmla="*/ 1308151 h 1720659"/>
              <a:gd name="connsiteX127" fmla="*/ 6089936 w 11161712"/>
              <a:gd name="connsiteY127" fmla="*/ 1303931 h 1720659"/>
              <a:gd name="connsiteX128" fmla="*/ 6129515 w 11161712"/>
              <a:gd name="connsiteY128" fmla="*/ 1293055 h 1720659"/>
              <a:gd name="connsiteX129" fmla="*/ 6091595 w 11161712"/>
              <a:gd name="connsiteY129" fmla="*/ 1295932 h 1720659"/>
              <a:gd name="connsiteX130" fmla="*/ 6055187 w 11161712"/>
              <a:gd name="connsiteY130" fmla="*/ 1308151 h 1720659"/>
              <a:gd name="connsiteX131" fmla="*/ 5997614 w 11161712"/>
              <a:gd name="connsiteY131" fmla="*/ 1314199 h 1720659"/>
              <a:gd name="connsiteX132" fmla="*/ 6039272 w 11161712"/>
              <a:gd name="connsiteY132" fmla="*/ 1309936 h 1720659"/>
              <a:gd name="connsiteX133" fmla="*/ 6079565 w 11161712"/>
              <a:gd name="connsiteY133" fmla="*/ 1296729 h 1720659"/>
              <a:gd name="connsiteX134" fmla="*/ 6035555 w 11161712"/>
              <a:gd name="connsiteY134" fmla="*/ 1299354 h 1720659"/>
              <a:gd name="connsiteX135" fmla="*/ 5997614 w 11161712"/>
              <a:gd name="connsiteY135" fmla="*/ 1314199 h 1720659"/>
              <a:gd name="connsiteX136" fmla="*/ 5941029 w 11161712"/>
              <a:gd name="connsiteY136" fmla="*/ 1319028 h 1720659"/>
              <a:gd name="connsiteX137" fmla="*/ 5982308 w 11161712"/>
              <a:gd name="connsiteY137" fmla="*/ 1315627 h 1720659"/>
              <a:gd name="connsiteX138" fmla="*/ 6023041 w 11161712"/>
              <a:gd name="connsiteY138" fmla="*/ 1299963 h 1720659"/>
              <a:gd name="connsiteX139" fmla="*/ 5979368 w 11161712"/>
              <a:gd name="connsiteY139" fmla="*/ 1301832 h 1720659"/>
              <a:gd name="connsiteX140" fmla="*/ 5941029 w 11161712"/>
              <a:gd name="connsiteY140" fmla="*/ 1319028 h 1720659"/>
              <a:gd name="connsiteX141" fmla="*/ 6015104 w 11161712"/>
              <a:gd name="connsiteY141" fmla="*/ 1320791 h 1720659"/>
              <a:gd name="connsiteX142" fmla="*/ 6039544 w 11161712"/>
              <a:gd name="connsiteY142" fmla="*/ 1316719 h 1720659"/>
              <a:gd name="connsiteX143" fmla="*/ 6072530 w 11161712"/>
              <a:gd name="connsiteY143" fmla="*/ 1308509 h 1720659"/>
              <a:gd name="connsiteX144" fmla="*/ 6043912 w 11161712"/>
              <a:gd name="connsiteY144" fmla="*/ 1311826 h 1720659"/>
              <a:gd name="connsiteX145" fmla="*/ 6015104 w 11161712"/>
              <a:gd name="connsiteY145" fmla="*/ 1320791 h 1720659"/>
              <a:gd name="connsiteX146" fmla="*/ 5539427 w 11161712"/>
              <a:gd name="connsiteY146" fmla="*/ 1322450 h 1720659"/>
              <a:gd name="connsiteX147" fmla="*/ 5571552 w 11161712"/>
              <a:gd name="connsiteY147" fmla="*/ 1292824 h 1720659"/>
              <a:gd name="connsiteX148" fmla="*/ 5521077 w 11161712"/>
              <a:gd name="connsiteY148" fmla="*/ 1288415 h 1720659"/>
              <a:gd name="connsiteX149" fmla="*/ 5490442 w 11161712"/>
              <a:gd name="connsiteY149" fmla="*/ 1319490 h 1720659"/>
              <a:gd name="connsiteX150" fmla="*/ 5539427 w 11161712"/>
              <a:gd name="connsiteY150" fmla="*/ 1322450 h 1720659"/>
              <a:gd name="connsiteX151" fmla="*/ 5884611 w 11161712"/>
              <a:gd name="connsiteY151" fmla="*/ 1322640 h 1720659"/>
              <a:gd name="connsiteX152" fmla="*/ 5928179 w 11161712"/>
              <a:gd name="connsiteY152" fmla="*/ 1319952 h 1720659"/>
              <a:gd name="connsiteX153" fmla="*/ 5968304 w 11161712"/>
              <a:gd name="connsiteY153" fmla="*/ 1302231 h 1720659"/>
              <a:gd name="connsiteX154" fmla="*/ 5922447 w 11161712"/>
              <a:gd name="connsiteY154" fmla="*/ 1303428 h 1720659"/>
              <a:gd name="connsiteX155" fmla="*/ 5884611 w 11161712"/>
              <a:gd name="connsiteY155" fmla="*/ 1322640 h 1720659"/>
              <a:gd name="connsiteX156" fmla="*/ 5595635 w 11161712"/>
              <a:gd name="connsiteY156" fmla="*/ 1324970 h 1720659"/>
              <a:gd name="connsiteX157" fmla="*/ 5628957 w 11161712"/>
              <a:gd name="connsiteY157" fmla="*/ 1296897 h 1720659"/>
              <a:gd name="connsiteX158" fmla="*/ 5578859 w 11161712"/>
              <a:gd name="connsiteY158" fmla="*/ 1293370 h 1720659"/>
              <a:gd name="connsiteX159" fmla="*/ 5547196 w 11161712"/>
              <a:gd name="connsiteY159" fmla="*/ 1322870 h 1720659"/>
              <a:gd name="connsiteX160" fmla="*/ 5595635 w 11161712"/>
              <a:gd name="connsiteY160" fmla="*/ 1324970 h 1720659"/>
              <a:gd name="connsiteX161" fmla="*/ 5829117 w 11161712"/>
              <a:gd name="connsiteY161" fmla="*/ 1325138 h 1720659"/>
              <a:gd name="connsiteX162" fmla="*/ 5873882 w 11161712"/>
              <a:gd name="connsiteY162" fmla="*/ 1323207 h 1720659"/>
              <a:gd name="connsiteX163" fmla="*/ 5912977 w 11161712"/>
              <a:gd name="connsiteY163" fmla="*/ 1303616 h 1720659"/>
              <a:gd name="connsiteX164" fmla="*/ 5866113 w 11161712"/>
              <a:gd name="connsiteY164" fmla="*/ 1304057 h 1720659"/>
              <a:gd name="connsiteX165" fmla="*/ 5829117 w 11161712"/>
              <a:gd name="connsiteY165" fmla="*/ 1325138 h 1720659"/>
              <a:gd name="connsiteX166" fmla="*/ 5652514 w 11161712"/>
              <a:gd name="connsiteY166" fmla="*/ 1326586 h 1720659"/>
              <a:gd name="connsiteX167" fmla="*/ 5687013 w 11161712"/>
              <a:gd name="connsiteY167" fmla="*/ 1300110 h 1720659"/>
              <a:gd name="connsiteX168" fmla="*/ 5667633 w 11161712"/>
              <a:gd name="connsiteY168" fmla="*/ 1299165 h 1720659"/>
              <a:gd name="connsiteX169" fmla="*/ 5636389 w 11161712"/>
              <a:gd name="connsiteY169" fmla="*/ 1297381 h 1720659"/>
              <a:gd name="connsiteX170" fmla="*/ 5603656 w 11161712"/>
              <a:gd name="connsiteY170" fmla="*/ 1325264 h 1720659"/>
              <a:gd name="connsiteX171" fmla="*/ 5652514 w 11161712"/>
              <a:gd name="connsiteY171" fmla="*/ 1326586 h 1720659"/>
              <a:gd name="connsiteX172" fmla="*/ 5773435 w 11161712"/>
              <a:gd name="connsiteY172" fmla="*/ 1326650 h 1720659"/>
              <a:gd name="connsiteX173" fmla="*/ 5819102 w 11161712"/>
              <a:gd name="connsiteY173" fmla="*/ 1325494 h 1720659"/>
              <a:gd name="connsiteX174" fmla="*/ 5857063 w 11161712"/>
              <a:gd name="connsiteY174" fmla="*/ 1304100 h 1720659"/>
              <a:gd name="connsiteX175" fmla="*/ 5809401 w 11161712"/>
              <a:gd name="connsiteY175" fmla="*/ 1303806 h 1720659"/>
              <a:gd name="connsiteX176" fmla="*/ 5773435 w 11161712"/>
              <a:gd name="connsiteY176" fmla="*/ 1326650 h 1720659"/>
              <a:gd name="connsiteX177" fmla="*/ 5708408 w 11161712"/>
              <a:gd name="connsiteY177" fmla="*/ 1327175 h 1720659"/>
              <a:gd name="connsiteX178" fmla="*/ 5744060 w 11161712"/>
              <a:gd name="connsiteY178" fmla="*/ 1302357 h 1720659"/>
              <a:gd name="connsiteX179" fmla="*/ 5694676 w 11161712"/>
              <a:gd name="connsiteY179" fmla="*/ 1300487 h 1720659"/>
              <a:gd name="connsiteX180" fmla="*/ 5660851 w 11161712"/>
              <a:gd name="connsiteY180" fmla="*/ 1326712 h 1720659"/>
              <a:gd name="connsiteX181" fmla="*/ 5708408 w 11161712"/>
              <a:gd name="connsiteY181" fmla="*/ 1327175 h 1720659"/>
              <a:gd name="connsiteX182" fmla="*/ 5717269 w 11161712"/>
              <a:gd name="connsiteY182" fmla="*/ 1327196 h 1720659"/>
              <a:gd name="connsiteX183" fmla="*/ 5763943 w 11161712"/>
              <a:gd name="connsiteY183" fmla="*/ 1326818 h 1720659"/>
              <a:gd name="connsiteX184" fmla="*/ 5800750 w 11161712"/>
              <a:gd name="connsiteY184" fmla="*/ 1303680 h 1720659"/>
              <a:gd name="connsiteX185" fmla="*/ 5752165 w 11161712"/>
              <a:gd name="connsiteY185" fmla="*/ 1302609 h 1720659"/>
              <a:gd name="connsiteX186" fmla="*/ 5717269 w 11161712"/>
              <a:gd name="connsiteY186" fmla="*/ 1327196 h 1720659"/>
              <a:gd name="connsiteX187" fmla="*/ 5991714 w 11161712"/>
              <a:gd name="connsiteY187" fmla="*/ 1327742 h 1720659"/>
              <a:gd name="connsiteX188" fmla="*/ 5998139 w 11161712"/>
              <a:gd name="connsiteY188" fmla="*/ 1326313 h 1720659"/>
              <a:gd name="connsiteX189" fmla="*/ 5994905 w 11161712"/>
              <a:gd name="connsiteY189" fmla="*/ 1326818 h 1720659"/>
              <a:gd name="connsiteX190" fmla="*/ 5991714 w 11161712"/>
              <a:gd name="connsiteY190" fmla="*/ 1327742 h 1720659"/>
              <a:gd name="connsiteX191" fmla="*/ 5955012 w 11161712"/>
              <a:gd name="connsiteY191" fmla="*/ 1329779 h 1720659"/>
              <a:gd name="connsiteX192" fmla="*/ 5991063 w 11161712"/>
              <a:gd name="connsiteY192" fmla="*/ 1324550 h 1720659"/>
              <a:gd name="connsiteX193" fmla="*/ 6027429 w 11161712"/>
              <a:gd name="connsiteY193" fmla="*/ 1313611 h 1720659"/>
              <a:gd name="connsiteX194" fmla="*/ 5989090 w 11161712"/>
              <a:gd name="connsiteY194" fmla="*/ 1317412 h 1720659"/>
              <a:gd name="connsiteX195" fmla="*/ 5955012 w 11161712"/>
              <a:gd name="connsiteY195" fmla="*/ 1329779 h 1720659"/>
              <a:gd name="connsiteX196" fmla="*/ 5898510 w 11161712"/>
              <a:gd name="connsiteY196" fmla="*/ 1336854 h 1720659"/>
              <a:gd name="connsiteX197" fmla="*/ 5935338 w 11161712"/>
              <a:gd name="connsiteY197" fmla="*/ 1332360 h 1720659"/>
              <a:gd name="connsiteX198" fmla="*/ 5973763 w 11161712"/>
              <a:gd name="connsiteY198" fmla="*/ 1318775 h 1720659"/>
              <a:gd name="connsiteX199" fmla="*/ 5937647 w 11161712"/>
              <a:gd name="connsiteY199" fmla="*/ 1321715 h 1720659"/>
              <a:gd name="connsiteX200" fmla="*/ 5934289 w 11161712"/>
              <a:gd name="connsiteY200" fmla="*/ 1321925 h 1720659"/>
              <a:gd name="connsiteX201" fmla="*/ 5898510 w 11161712"/>
              <a:gd name="connsiteY201" fmla="*/ 1336854 h 1720659"/>
              <a:gd name="connsiteX202" fmla="*/ 5842870 w 11161712"/>
              <a:gd name="connsiteY202" fmla="*/ 1342502 h 1720659"/>
              <a:gd name="connsiteX203" fmla="*/ 5870942 w 11161712"/>
              <a:gd name="connsiteY203" fmla="*/ 1339815 h 1720659"/>
              <a:gd name="connsiteX204" fmla="*/ 5883036 w 11161712"/>
              <a:gd name="connsiteY204" fmla="*/ 1338512 h 1720659"/>
              <a:gd name="connsiteX205" fmla="*/ 5921523 w 11161712"/>
              <a:gd name="connsiteY205" fmla="*/ 1322807 h 1720659"/>
              <a:gd name="connsiteX206" fmla="*/ 5879173 w 11161712"/>
              <a:gd name="connsiteY206" fmla="*/ 1325306 h 1720659"/>
              <a:gd name="connsiteX207" fmla="*/ 5842870 w 11161712"/>
              <a:gd name="connsiteY207" fmla="*/ 1342502 h 1720659"/>
              <a:gd name="connsiteX208" fmla="*/ 5916841 w 11161712"/>
              <a:gd name="connsiteY208" fmla="*/ 1342754 h 1720659"/>
              <a:gd name="connsiteX209" fmla="*/ 5943632 w 11161712"/>
              <a:gd name="connsiteY209" fmla="*/ 1337694 h 1720659"/>
              <a:gd name="connsiteX210" fmla="*/ 5970570 w 11161712"/>
              <a:gd name="connsiteY210" fmla="*/ 1330387 h 1720659"/>
              <a:gd name="connsiteX211" fmla="*/ 5942079 w 11161712"/>
              <a:gd name="connsiteY211" fmla="*/ 1334271 h 1720659"/>
              <a:gd name="connsiteX212" fmla="*/ 5916841 w 11161712"/>
              <a:gd name="connsiteY212" fmla="*/ 1342754 h 1720659"/>
              <a:gd name="connsiteX213" fmla="*/ 5788300 w 11161712"/>
              <a:gd name="connsiteY213" fmla="*/ 1346932 h 1720659"/>
              <a:gd name="connsiteX214" fmla="*/ 5830083 w 11161712"/>
              <a:gd name="connsiteY214" fmla="*/ 1343657 h 1720659"/>
              <a:gd name="connsiteX215" fmla="*/ 5868317 w 11161712"/>
              <a:gd name="connsiteY215" fmla="*/ 1325873 h 1720659"/>
              <a:gd name="connsiteX216" fmla="*/ 5824456 w 11161712"/>
              <a:gd name="connsiteY216" fmla="*/ 1327699 h 1720659"/>
              <a:gd name="connsiteX217" fmla="*/ 5788300 w 11161712"/>
              <a:gd name="connsiteY217" fmla="*/ 1346932 h 1720659"/>
              <a:gd name="connsiteX218" fmla="*/ 5893724 w 11161712"/>
              <a:gd name="connsiteY218" fmla="*/ 1350187 h 1720659"/>
              <a:gd name="connsiteX219" fmla="*/ 5896809 w 11161712"/>
              <a:gd name="connsiteY219" fmla="*/ 1349473 h 1720659"/>
              <a:gd name="connsiteX220" fmla="*/ 5895109 w 11161712"/>
              <a:gd name="connsiteY220" fmla="*/ 1349746 h 1720659"/>
              <a:gd name="connsiteX221" fmla="*/ 5893724 w 11161712"/>
              <a:gd name="connsiteY221" fmla="*/ 1350187 h 1720659"/>
              <a:gd name="connsiteX222" fmla="*/ 5733730 w 11161712"/>
              <a:gd name="connsiteY222" fmla="*/ 1350292 h 1720659"/>
              <a:gd name="connsiteX223" fmla="*/ 5776815 w 11161712"/>
              <a:gd name="connsiteY223" fmla="*/ 1347730 h 1720659"/>
              <a:gd name="connsiteX224" fmla="*/ 5814419 w 11161712"/>
              <a:gd name="connsiteY224" fmla="*/ 1328035 h 1720659"/>
              <a:gd name="connsiteX225" fmla="*/ 5769382 w 11161712"/>
              <a:gd name="connsiteY225" fmla="*/ 1329127 h 1720659"/>
              <a:gd name="connsiteX226" fmla="*/ 5733730 w 11161712"/>
              <a:gd name="connsiteY226" fmla="*/ 1350292 h 1720659"/>
              <a:gd name="connsiteX227" fmla="*/ 5678886 w 11161712"/>
              <a:gd name="connsiteY227" fmla="*/ 1352581 h 1720659"/>
              <a:gd name="connsiteX228" fmla="*/ 5723126 w 11161712"/>
              <a:gd name="connsiteY228" fmla="*/ 1350817 h 1720659"/>
              <a:gd name="connsiteX229" fmla="*/ 5759912 w 11161712"/>
              <a:gd name="connsiteY229" fmla="*/ 1329274 h 1720659"/>
              <a:gd name="connsiteX230" fmla="*/ 5713741 w 11161712"/>
              <a:gd name="connsiteY230" fmla="*/ 1329589 h 1720659"/>
              <a:gd name="connsiteX231" fmla="*/ 5678886 w 11161712"/>
              <a:gd name="connsiteY231" fmla="*/ 1352581 h 1720659"/>
              <a:gd name="connsiteX232" fmla="*/ 5857735 w 11161712"/>
              <a:gd name="connsiteY232" fmla="*/ 1352749 h 1720659"/>
              <a:gd name="connsiteX233" fmla="*/ 5888243 w 11161712"/>
              <a:gd name="connsiteY233" fmla="*/ 1347794 h 1720659"/>
              <a:gd name="connsiteX234" fmla="*/ 5922320 w 11161712"/>
              <a:gd name="connsiteY234" fmla="*/ 1336771 h 1720659"/>
              <a:gd name="connsiteX235" fmla="*/ 5889271 w 11161712"/>
              <a:gd name="connsiteY235" fmla="*/ 1340570 h 1720659"/>
              <a:gd name="connsiteX236" fmla="*/ 5857735 w 11161712"/>
              <a:gd name="connsiteY236" fmla="*/ 1352749 h 1720659"/>
              <a:gd name="connsiteX237" fmla="*/ 5503986 w 11161712"/>
              <a:gd name="connsiteY237" fmla="*/ 1353148 h 1720659"/>
              <a:gd name="connsiteX238" fmla="*/ 5536887 w 11161712"/>
              <a:gd name="connsiteY238" fmla="*/ 1324718 h 1720659"/>
              <a:gd name="connsiteX239" fmla="*/ 5488154 w 11161712"/>
              <a:gd name="connsiteY239" fmla="*/ 1321715 h 1720659"/>
              <a:gd name="connsiteX240" fmla="*/ 5456722 w 11161712"/>
              <a:gd name="connsiteY240" fmla="*/ 1351572 h 1720659"/>
              <a:gd name="connsiteX241" fmla="*/ 5503986 w 11161712"/>
              <a:gd name="connsiteY241" fmla="*/ 1353148 h 1720659"/>
              <a:gd name="connsiteX242" fmla="*/ 5623518 w 11161712"/>
              <a:gd name="connsiteY242" fmla="*/ 1353861 h 1720659"/>
              <a:gd name="connsiteX243" fmla="*/ 5668997 w 11161712"/>
              <a:gd name="connsiteY243" fmla="*/ 1352895 h 1720659"/>
              <a:gd name="connsiteX244" fmla="*/ 5704881 w 11161712"/>
              <a:gd name="connsiteY244" fmla="*/ 1329547 h 1720659"/>
              <a:gd name="connsiteX245" fmla="*/ 5657764 w 11161712"/>
              <a:gd name="connsiteY245" fmla="*/ 1329064 h 1720659"/>
              <a:gd name="connsiteX246" fmla="*/ 5623518 w 11161712"/>
              <a:gd name="connsiteY246" fmla="*/ 1353861 h 1720659"/>
              <a:gd name="connsiteX247" fmla="*/ 5558891 w 11161712"/>
              <a:gd name="connsiteY247" fmla="*/ 1354050 h 1720659"/>
              <a:gd name="connsiteX248" fmla="*/ 5592801 w 11161712"/>
              <a:gd name="connsiteY248" fmla="*/ 1327279 h 1720659"/>
              <a:gd name="connsiteX249" fmla="*/ 5544656 w 11161712"/>
              <a:gd name="connsiteY249" fmla="*/ 1325117 h 1720659"/>
              <a:gd name="connsiteX250" fmla="*/ 5512258 w 11161712"/>
              <a:gd name="connsiteY250" fmla="*/ 1353336 h 1720659"/>
              <a:gd name="connsiteX251" fmla="*/ 5558891 w 11161712"/>
              <a:gd name="connsiteY251" fmla="*/ 1354050 h 1720659"/>
              <a:gd name="connsiteX252" fmla="*/ 5567479 w 11161712"/>
              <a:gd name="connsiteY252" fmla="*/ 1354114 h 1720659"/>
              <a:gd name="connsiteX253" fmla="*/ 5614491 w 11161712"/>
              <a:gd name="connsiteY253" fmla="*/ 1353966 h 1720659"/>
              <a:gd name="connsiteX254" fmla="*/ 5649387 w 11161712"/>
              <a:gd name="connsiteY254" fmla="*/ 1328896 h 1720659"/>
              <a:gd name="connsiteX255" fmla="*/ 5600864 w 11161712"/>
              <a:gd name="connsiteY255" fmla="*/ 1327552 h 1720659"/>
              <a:gd name="connsiteX256" fmla="*/ 5567479 w 11161712"/>
              <a:gd name="connsiteY256" fmla="*/ 1354114 h 1720659"/>
              <a:gd name="connsiteX257" fmla="*/ 5801716 w 11161712"/>
              <a:gd name="connsiteY257" fmla="*/ 1360664 h 1720659"/>
              <a:gd name="connsiteX258" fmla="*/ 5804403 w 11161712"/>
              <a:gd name="connsiteY258" fmla="*/ 1360328 h 1720659"/>
              <a:gd name="connsiteX259" fmla="*/ 5837410 w 11161712"/>
              <a:gd name="connsiteY259" fmla="*/ 1355772 h 1720659"/>
              <a:gd name="connsiteX260" fmla="*/ 5873378 w 11161712"/>
              <a:gd name="connsiteY260" fmla="*/ 1342272 h 1720659"/>
              <a:gd name="connsiteX261" fmla="*/ 5871215 w 11161712"/>
              <a:gd name="connsiteY261" fmla="*/ 1342502 h 1720659"/>
              <a:gd name="connsiteX262" fmla="*/ 5835396 w 11161712"/>
              <a:gd name="connsiteY262" fmla="*/ 1345883 h 1720659"/>
              <a:gd name="connsiteX263" fmla="*/ 5801716 w 11161712"/>
              <a:gd name="connsiteY263" fmla="*/ 1360664 h 1720659"/>
              <a:gd name="connsiteX264" fmla="*/ 5820971 w 11161712"/>
              <a:gd name="connsiteY264" fmla="*/ 1366040 h 1720659"/>
              <a:gd name="connsiteX265" fmla="*/ 5839594 w 11161712"/>
              <a:gd name="connsiteY265" fmla="*/ 1362260 h 1720659"/>
              <a:gd name="connsiteX266" fmla="*/ 5866700 w 11161712"/>
              <a:gd name="connsiteY266" fmla="*/ 1354407 h 1720659"/>
              <a:gd name="connsiteX267" fmla="*/ 5843877 w 11161712"/>
              <a:gd name="connsiteY267" fmla="*/ 1357872 h 1720659"/>
              <a:gd name="connsiteX268" fmla="*/ 5820971 w 11161712"/>
              <a:gd name="connsiteY268" fmla="*/ 1366040 h 1720659"/>
              <a:gd name="connsiteX269" fmla="*/ 5748049 w 11161712"/>
              <a:gd name="connsiteY269" fmla="*/ 1366963 h 1720659"/>
              <a:gd name="connsiteX270" fmla="*/ 5786305 w 11161712"/>
              <a:gd name="connsiteY270" fmla="*/ 1362595 h 1720659"/>
              <a:gd name="connsiteX271" fmla="*/ 5822713 w 11161712"/>
              <a:gd name="connsiteY271" fmla="*/ 1346975 h 1720659"/>
              <a:gd name="connsiteX272" fmla="*/ 5782232 w 11161712"/>
              <a:gd name="connsiteY272" fmla="*/ 1350061 h 1720659"/>
              <a:gd name="connsiteX273" fmla="*/ 5748049 w 11161712"/>
              <a:gd name="connsiteY273" fmla="*/ 1366963 h 1720659"/>
              <a:gd name="connsiteX274" fmla="*/ 5694550 w 11161712"/>
              <a:gd name="connsiteY274" fmla="*/ 1372065 h 1720659"/>
              <a:gd name="connsiteX275" fmla="*/ 5734591 w 11161712"/>
              <a:gd name="connsiteY275" fmla="*/ 1368349 h 1720659"/>
              <a:gd name="connsiteX276" fmla="*/ 5770684 w 11161712"/>
              <a:gd name="connsiteY276" fmla="*/ 1350817 h 1720659"/>
              <a:gd name="connsiteX277" fmla="*/ 5728606 w 11161712"/>
              <a:gd name="connsiteY277" fmla="*/ 1353252 h 1720659"/>
              <a:gd name="connsiteX278" fmla="*/ 5694550 w 11161712"/>
              <a:gd name="connsiteY278" fmla="*/ 1372065 h 1720659"/>
              <a:gd name="connsiteX279" fmla="*/ 5640842 w 11161712"/>
              <a:gd name="connsiteY279" fmla="*/ 1376076 h 1720659"/>
              <a:gd name="connsiteX280" fmla="*/ 5682288 w 11161712"/>
              <a:gd name="connsiteY280" fmla="*/ 1373094 h 1720659"/>
              <a:gd name="connsiteX281" fmla="*/ 5717898 w 11161712"/>
              <a:gd name="connsiteY281" fmla="*/ 1353735 h 1720659"/>
              <a:gd name="connsiteX282" fmla="*/ 5674456 w 11161712"/>
              <a:gd name="connsiteY282" fmla="*/ 1355436 h 1720659"/>
              <a:gd name="connsiteX283" fmla="*/ 5640842 w 11161712"/>
              <a:gd name="connsiteY283" fmla="*/ 1376076 h 1720659"/>
              <a:gd name="connsiteX284" fmla="*/ 5762138 w 11161712"/>
              <a:gd name="connsiteY284" fmla="*/ 1376894 h 1720659"/>
              <a:gd name="connsiteX285" fmla="*/ 5791533 w 11161712"/>
              <a:gd name="connsiteY285" fmla="*/ 1371688 h 1720659"/>
              <a:gd name="connsiteX286" fmla="*/ 5823427 w 11161712"/>
              <a:gd name="connsiteY286" fmla="*/ 1360790 h 1720659"/>
              <a:gd name="connsiteX287" fmla="*/ 5804782 w 11161712"/>
              <a:gd name="connsiteY287" fmla="*/ 1363288 h 1720659"/>
              <a:gd name="connsiteX288" fmla="*/ 5791680 w 11161712"/>
              <a:gd name="connsiteY288" fmla="*/ 1364905 h 1720659"/>
              <a:gd name="connsiteX289" fmla="*/ 5762138 w 11161712"/>
              <a:gd name="connsiteY289" fmla="*/ 1376894 h 1720659"/>
              <a:gd name="connsiteX290" fmla="*/ 5586480 w 11161712"/>
              <a:gd name="connsiteY290" fmla="*/ 1379057 h 1720659"/>
              <a:gd name="connsiteX291" fmla="*/ 5629544 w 11161712"/>
              <a:gd name="connsiteY291" fmla="*/ 1376790 h 1720659"/>
              <a:gd name="connsiteX292" fmla="*/ 5664484 w 11161712"/>
              <a:gd name="connsiteY292" fmla="*/ 1355709 h 1720659"/>
              <a:gd name="connsiteX293" fmla="*/ 5619591 w 11161712"/>
              <a:gd name="connsiteY293" fmla="*/ 1356633 h 1720659"/>
              <a:gd name="connsiteX294" fmla="*/ 5586480 w 11161712"/>
              <a:gd name="connsiteY294" fmla="*/ 1379057 h 1720659"/>
              <a:gd name="connsiteX295" fmla="*/ 5531575 w 11161712"/>
              <a:gd name="connsiteY295" fmla="*/ 1380926 h 1720659"/>
              <a:gd name="connsiteX296" fmla="*/ 5576381 w 11161712"/>
              <a:gd name="connsiteY296" fmla="*/ 1379456 h 1720659"/>
              <a:gd name="connsiteX297" fmla="*/ 5610522 w 11161712"/>
              <a:gd name="connsiteY297" fmla="*/ 1356695 h 1720659"/>
              <a:gd name="connsiteX298" fmla="*/ 5563993 w 11161712"/>
              <a:gd name="connsiteY298" fmla="*/ 1356801 h 1720659"/>
              <a:gd name="connsiteX299" fmla="*/ 5531575 w 11161712"/>
              <a:gd name="connsiteY299" fmla="*/ 1380926 h 1720659"/>
              <a:gd name="connsiteX300" fmla="*/ 5477488 w 11161712"/>
              <a:gd name="connsiteY300" fmla="*/ 1381724 h 1720659"/>
              <a:gd name="connsiteX301" fmla="*/ 5522042 w 11161712"/>
              <a:gd name="connsiteY301" fmla="*/ 1381157 h 1720659"/>
              <a:gd name="connsiteX302" fmla="*/ 5555363 w 11161712"/>
              <a:gd name="connsiteY302" fmla="*/ 1356717 h 1720659"/>
              <a:gd name="connsiteX303" fmla="*/ 5509130 w 11161712"/>
              <a:gd name="connsiteY303" fmla="*/ 1355961 h 1720659"/>
              <a:gd name="connsiteX304" fmla="*/ 5477488 w 11161712"/>
              <a:gd name="connsiteY304" fmla="*/ 1381724 h 1720659"/>
              <a:gd name="connsiteX305" fmla="*/ 5468438 w 11161712"/>
              <a:gd name="connsiteY305" fmla="*/ 1381766 h 1720659"/>
              <a:gd name="connsiteX306" fmla="*/ 5500814 w 11161712"/>
              <a:gd name="connsiteY306" fmla="*/ 1355751 h 1720659"/>
              <a:gd name="connsiteX307" fmla="*/ 5453929 w 11161712"/>
              <a:gd name="connsiteY307" fmla="*/ 1354134 h 1720659"/>
              <a:gd name="connsiteX308" fmla="*/ 5423086 w 11161712"/>
              <a:gd name="connsiteY308" fmla="*/ 1381534 h 1720659"/>
              <a:gd name="connsiteX309" fmla="*/ 5468438 w 11161712"/>
              <a:gd name="connsiteY309" fmla="*/ 1381766 h 1720659"/>
              <a:gd name="connsiteX310" fmla="*/ 5708471 w 11161712"/>
              <a:gd name="connsiteY310" fmla="*/ 1385209 h 1720659"/>
              <a:gd name="connsiteX311" fmla="*/ 5737846 w 11161712"/>
              <a:gd name="connsiteY311" fmla="*/ 1380842 h 1720659"/>
              <a:gd name="connsiteX312" fmla="*/ 5742086 w 11161712"/>
              <a:gd name="connsiteY312" fmla="*/ 1380149 h 1720659"/>
              <a:gd name="connsiteX313" fmla="*/ 5775869 w 11161712"/>
              <a:gd name="connsiteY313" fmla="*/ 1366858 h 1720659"/>
              <a:gd name="connsiteX314" fmla="*/ 5739924 w 11161712"/>
              <a:gd name="connsiteY314" fmla="*/ 1370805 h 1720659"/>
              <a:gd name="connsiteX315" fmla="*/ 5708471 w 11161712"/>
              <a:gd name="connsiteY315" fmla="*/ 1385209 h 1720659"/>
              <a:gd name="connsiteX316" fmla="*/ 5727262 w 11161712"/>
              <a:gd name="connsiteY316" fmla="*/ 1390185 h 1720659"/>
              <a:gd name="connsiteX317" fmla="*/ 5745887 w 11161712"/>
              <a:gd name="connsiteY317" fmla="*/ 1386070 h 1720659"/>
              <a:gd name="connsiteX318" fmla="*/ 5768604 w 11161712"/>
              <a:gd name="connsiteY318" fmla="*/ 1379120 h 1720659"/>
              <a:gd name="connsiteX319" fmla="*/ 5747357 w 11161712"/>
              <a:gd name="connsiteY319" fmla="*/ 1382626 h 1720659"/>
              <a:gd name="connsiteX320" fmla="*/ 5727262 w 11161712"/>
              <a:gd name="connsiteY320" fmla="*/ 1390185 h 1720659"/>
              <a:gd name="connsiteX321" fmla="*/ 5655496 w 11161712"/>
              <a:gd name="connsiteY321" fmla="*/ 1392180 h 1720659"/>
              <a:gd name="connsiteX322" fmla="*/ 5691989 w 11161712"/>
              <a:gd name="connsiteY322" fmla="*/ 1387519 h 1720659"/>
              <a:gd name="connsiteX323" fmla="*/ 5726423 w 11161712"/>
              <a:gd name="connsiteY323" fmla="*/ 1372128 h 1720659"/>
              <a:gd name="connsiteX324" fmla="*/ 5687789 w 11161712"/>
              <a:gd name="connsiteY324" fmla="*/ 1375634 h 1720659"/>
              <a:gd name="connsiteX325" fmla="*/ 5655496 w 11161712"/>
              <a:gd name="connsiteY325" fmla="*/ 1392180 h 1720659"/>
              <a:gd name="connsiteX326" fmla="*/ 5602795 w 11161712"/>
              <a:gd name="connsiteY326" fmla="*/ 1397912 h 1720659"/>
              <a:gd name="connsiteX327" fmla="*/ 5641198 w 11161712"/>
              <a:gd name="connsiteY327" fmla="*/ 1393860 h 1720659"/>
              <a:gd name="connsiteX328" fmla="*/ 5675611 w 11161712"/>
              <a:gd name="connsiteY328" fmla="*/ 1376600 h 1720659"/>
              <a:gd name="connsiteX329" fmla="*/ 5635192 w 11161712"/>
              <a:gd name="connsiteY329" fmla="*/ 1379414 h 1720659"/>
              <a:gd name="connsiteX330" fmla="*/ 5602795 w 11161712"/>
              <a:gd name="connsiteY330" fmla="*/ 1397912 h 1720659"/>
              <a:gd name="connsiteX331" fmla="*/ 5670404 w 11161712"/>
              <a:gd name="connsiteY331" fmla="*/ 1401503 h 1720659"/>
              <a:gd name="connsiteX332" fmla="*/ 5671286 w 11161712"/>
              <a:gd name="connsiteY332" fmla="*/ 1401356 h 1720659"/>
              <a:gd name="connsiteX333" fmla="*/ 5697657 w 11161712"/>
              <a:gd name="connsiteY333" fmla="*/ 1396316 h 1720659"/>
              <a:gd name="connsiteX334" fmla="*/ 5727053 w 11161712"/>
              <a:gd name="connsiteY334" fmla="*/ 1385776 h 1720659"/>
              <a:gd name="connsiteX335" fmla="*/ 5697490 w 11161712"/>
              <a:gd name="connsiteY335" fmla="*/ 1390059 h 1720659"/>
              <a:gd name="connsiteX336" fmla="*/ 5670404 w 11161712"/>
              <a:gd name="connsiteY336" fmla="*/ 1401503 h 1720659"/>
              <a:gd name="connsiteX337" fmla="*/ 5549316 w 11161712"/>
              <a:gd name="connsiteY337" fmla="*/ 1402531 h 1720659"/>
              <a:gd name="connsiteX338" fmla="*/ 5589883 w 11161712"/>
              <a:gd name="connsiteY338" fmla="*/ 1399129 h 1720659"/>
              <a:gd name="connsiteX339" fmla="*/ 5623834 w 11161712"/>
              <a:gd name="connsiteY339" fmla="*/ 1380128 h 1720659"/>
              <a:gd name="connsiteX340" fmla="*/ 5581568 w 11161712"/>
              <a:gd name="connsiteY340" fmla="*/ 1382227 h 1720659"/>
              <a:gd name="connsiteX341" fmla="*/ 5555427 w 11161712"/>
              <a:gd name="connsiteY341" fmla="*/ 1398815 h 1720659"/>
              <a:gd name="connsiteX342" fmla="*/ 5549316 w 11161712"/>
              <a:gd name="connsiteY342" fmla="*/ 1402531 h 1720659"/>
              <a:gd name="connsiteX343" fmla="*/ 5495377 w 11161712"/>
              <a:gd name="connsiteY343" fmla="*/ 1406059 h 1720659"/>
              <a:gd name="connsiteX344" fmla="*/ 5537958 w 11161712"/>
              <a:gd name="connsiteY344" fmla="*/ 1403392 h 1720659"/>
              <a:gd name="connsiteX345" fmla="*/ 5571469 w 11161712"/>
              <a:gd name="connsiteY345" fmla="*/ 1382626 h 1720659"/>
              <a:gd name="connsiteX346" fmla="*/ 5527208 w 11161712"/>
              <a:gd name="connsiteY346" fmla="*/ 1384033 h 1720659"/>
              <a:gd name="connsiteX347" fmla="*/ 5495377 w 11161712"/>
              <a:gd name="connsiteY347" fmla="*/ 1406059 h 1720659"/>
              <a:gd name="connsiteX348" fmla="*/ 5442360 w 11161712"/>
              <a:gd name="connsiteY348" fmla="*/ 1408431 h 1720659"/>
              <a:gd name="connsiteX349" fmla="*/ 5484921 w 11161712"/>
              <a:gd name="connsiteY349" fmla="*/ 1406605 h 1720659"/>
              <a:gd name="connsiteX350" fmla="*/ 5517759 w 11161712"/>
              <a:gd name="connsiteY350" fmla="*/ 1384202 h 1720659"/>
              <a:gd name="connsiteX351" fmla="*/ 5473645 w 11161712"/>
              <a:gd name="connsiteY351" fmla="*/ 1384727 h 1720659"/>
              <a:gd name="connsiteX352" fmla="*/ 5442360 w 11161712"/>
              <a:gd name="connsiteY352" fmla="*/ 1408431 h 1720659"/>
              <a:gd name="connsiteX353" fmla="*/ 5389029 w 11161712"/>
              <a:gd name="connsiteY353" fmla="*/ 1409754 h 1720659"/>
              <a:gd name="connsiteX354" fmla="*/ 5432513 w 11161712"/>
              <a:gd name="connsiteY354" fmla="*/ 1408746 h 1720659"/>
              <a:gd name="connsiteX355" fmla="*/ 5464575 w 11161712"/>
              <a:gd name="connsiteY355" fmla="*/ 1384768 h 1720659"/>
              <a:gd name="connsiteX356" fmla="*/ 5419642 w 11161712"/>
              <a:gd name="connsiteY356" fmla="*/ 1384454 h 1720659"/>
              <a:gd name="connsiteX357" fmla="*/ 5389029 w 11161712"/>
              <a:gd name="connsiteY357" fmla="*/ 1409754 h 1720659"/>
              <a:gd name="connsiteX358" fmla="*/ 5617220 w 11161712"/>
              <a:gd name="connsiteY358" fmla="*/ 1410489 h 1720659"/>
              <a:gd name="connsiteX359" fmla="*/ 5648988 w 11161712"/>
              <a:gd name="connsiteY359" fmla="*/ 1405282 h 1720659"/>
              <a:gd name="connsiteX360" fmla="*/ 5680797 w 11161712"/>
              <a:gd name="connsiteY360" fmla="*/ 1392306 h 1720659"/>
              <a:gd name="connsiteX361" fmla="*/ 5646740 w 11161712"/>
              <a:gd name="connsiteY361" fmla="*/ 1396505 h 1720659"/>
              <a:gd name="connsiteX362" fmla="*/ 5617220 w 11161712"/>
              <a:gd name="connsiteY362" fmla="*/ 1410489 h 1720659"/>
              <a:gd name="connsiteX363" fmla="*/ 5637062 w 11161712"/>
              <a:gd name="connsiteY363" fmla="*/ 1414772 h 1720659"/>
              <a:gd name="connsiteX364" fmla="*/ 5652767 w 11161712"/>
              <a:gd name="connsiteY364" fmla="*/ 1411097 h 1720659"/>
              <a:gd name="connsiteX365" fmla="*/ 5672462 w 11161712"/>
              <a:gd name="connsiteY365" fmla="*/ 1404777 h 1720659"/>
              <a:gd name="connsiteX366" fmla="*/ 5671936 w 11161712"/>
              <a:gd name="connsiteY366" fmla="*/ 1404883 h 1720659"/>
              <a:gd name="connsiteX367" fmla="*/ 5654257 w 11161712"/>
              <a:gd name="connsiteY367" fmla="*/ 1408032 h 1720659"/>
              <a:gd name="connsiteX368" fmla="*/ 5637062 w 11161712"/>
              <a:gd name="connsiteY368" fmla="*/ 1414772 h 1720659"/>
              <a:gd name="connsiteX369" fmla="*/ 5565128 w 11161712"/>
              <a:gd name="connsiteY369" fmla="*/ 1417985 h 1720659"/>
              <a:gd name="connsiteX370" fmla="*/ 5599667 w 11161712"/>
              <a:gd name="connsiteY370" fmla="*/ 1413155 h 1720659"/>
              <a:gd name="connsiteX371" fmla="*/ 5632231 w 11161712"/>
              <a:gd name="connsiteY371" fmla="*/ 1398143 h 1720659"/>
              <a:gd name="connsiteX372" fmla="*/ 5595635 w 11161712"/>
              <a:gd name="connsiteY372" fmla="*/ 1401880 h 1720659"/>
              <a:gd name="connsiteX373" fmla="*/ 5565128 w 11161712"/>
              <a:gd name="connsiteY373" fmla="*/ 1417985 h 1720659"/>
              <a:gd name="connsiteX374" fmla="*/ 5512216 w 11161712"/>
              <a:gd name="connsiteY374" fmla="*/ 1424368 h 1720659"/>
              <a:gd name="connsiteX375" fmla="*/ 5549653 w 11161712"/>
              <a:gd name="connsiteY375" fmla="*/ 1420000 h 1720659"/>
              <a:gd name="connsiteX376" fmla="*/ 5582428 w 11161712"/>
              <a:gd name="connsiteY376" fmla="*/ 1403098 h 1720659"/>
              <a:gd name="connsiteX377" fmla="*/ 5543081 w 11161712"/>
              <a:gd name="connsiteY377" fmla="*/ 1406311 h 1720659"/>
              <a:gd name="connsiteX378" fmla="*/ 5512216 w 11161712"/>
              <a:gd name="connsiteY378" fmla="*/ 1424368 h 1720659"/>
              <a:gd name="connsiteX379" fmla="*/ 5580622 w 11161712"/>
              <a:gd name="connsiteY379" fmla="*/ 1426719 h 1720659"/>
              <a:gd name="connsiteX380" fmla="*/ 5604726 w 11161712"/>
              <a:gd name="connsiteY380" fmla="*/ 1421848 h 1720659"/>
              <a:gd name="connsiteX381" fmla="*/ 5605650 w 11161712"/>
              <a:gd name="connsiteY381" fmla="*/ 1421659 h 1720659"/>
              <a:gd name="connsiteX382" fmla="*/ 5632442 w 11161712"/>
              <a:gd name="connsiteY382" fmla="*/ 1411707 h 1720659"/>
              <a:gd name="connsiteX383" fmla="*/ 5605104 w 11161712"/>
              <a:gd name="connsiteY383" fmla="*/ 1415990 h 1720659"/>
              <a:gd name="connsiteX384" fmla="*/ 5580622 w 11161712"/>
              <a:gd name="connsiteY384" fmla="*/ 1426719 h 1720659"/>
              <a:gd name="connsiteX385" fmla="*/ 5459157 w 11161712"/>
              <a:gd name="connsiteY385" fmla="*/ 1429511 h 1720659"/>
              <a:gd name="connsiteX386" fmla="*/ 5499072 w 11161712"/>
              <a:gd name="connsiteY386" fmla="*/ 1425753 h 1720659"/>
              <a:gd name="connsiteX387" fmla="*/ 5531659 w 11161712"/>
              <a:gd name="connsiteY387" fmla="*/ 1407130 h 1720659"/>
              <a:gd name="connsiteX388" fmla="*/ 5490044 w 11161712"/>
              <a:gd name="connsiteY388" fmla="*/ 1409649 h 1720659"/>
              <a:gd name="connsiteX389" fmla="*/ 5487062 w 11161712"/>
              <a:gd name="connsiteY389" fmla="*/ 1411643 h 1720659"/>
              <a:gd name="connsiteX390" fmla="*/ 5459157 w 11161712"/>
              <a:gd name="connsiteY390" fmla="*/ 1429511 h 1720659"/>
              <a:gd name="connsiteX391" fmla="*/ 5407086 w 11161712"/>
              <a:gd name="connsiteY391" fmla="*/ 1433438 h 1720659"/>
              <a:gd name="connsiteX392" fmla="*/ 5447232 w 11161712"/>
              <a:gd name="connsiteY392" fmla="*/ 1430520 h 1720659"/>
              <a:gd name="connsiteX393" fmla="*/ 5479420 w 11161712"/>
              <a:gd name="connsiteY393" fmla="*/ 1410195 h 1720659"/>
              <a:gd name="connsiteX394" fmla="*/ 5437552 w 11161712"/>
              <a:gd name="connsiteY394" fmla="*/ 1411959 h 1720659"/>
              <a:gd name="connsiteX395" fmla="*/ 5419705 w 11161712"/>
              <a:gd name="connsiteY395" fmla="*/ 1424725 h 1720659"/>
              <a:gd name="connsiteX396" fmla="*/ 5407086 w 11161712"/>
              <a:gd name="connsiteY396" fmla="*/ 1433438 h 1720659"/>
              <a:gd name="connsiteX397" fmla="*/ 5354742 w 11161712"/>
              <a:gd name="connsiteY397" fmla="*/ 1436294 h 1720659"/>
              <a:gd name="connsiteX398" fmla="*/ 5396021 w 11161712"/>
              <a:gd name="connsiteY398" fmla="*/ 1434131 h 1720659"/>
              <a:gd name="connsiteX399" fmla="*/ 5427642 w 11161712"/>
              <a:gd name="connsiteY399" fmla="*/ 1412232 h 1720659"/>
              <a:gd name="connsiteX400" fmla="*/ 5384767 w 11161712"/>
              <a:gd name="connsiteY400" fmla="*/ 1413155 h 1720659"/>
              <a:gd name="connsiteX401" fmla="*/ 5354742 w 11161712"/>
              <a:gd name="connsiteY401" fmla="*/ 1436294 h 1720659"/>
              <a:gd name="connsiteX402" fmla="*/ 5527858 w 11161712"/>
              <a:gd name="connsiteY402" fmla="*/ 1436377 h 1720659"/>
              <a:gd name="connsiteX403" fmla="*/ 5557716 w 11161712"/>
              <a:gd name="connsiteY403" fmla="*/ 1431066 h 1720659"/>
              <a:gd name="connsiteX404" fmla="*/ 5587300 w 11161712"/>
              <a:gd name="connsiteY404" fmla="*/ 1418614 h 1720659"/>
              <a:gd name="connsiteX405" fmla="*/ 5555427 w 11161712"/>
              <a:gd name="connsiteY405" fmla="*/ 1422919 h 1720659"/>
              <a:gd name="connsiteX406" fmla="*/ 5527858 w 11161712"/>
              <a:gd name="connsiteY406" fmla="*/ 1436377 h 1720659"/>
              <a:gd name="connsiteX407" fmla="*/ 5548792 w 11161712"/>
              <a:gd name="connsiteY407" fmla="*/ 1439821 h 1720659"/>
              <a:gd name="connsiteX408" fmla="*/ 5561453 w 11161712"/>
              <a:gd name="connsiteY408" fmla="*/ 1436735 h 1720659"/>
              <a:gd name="connsiteX409" fmla="*/ 5578565 w 11161712"/>
              <a:gd name="connsiteY409" fmla="*/ 1431087 h 1720659"/>
              <a:gd name="connsiteX410" fmla="*/ 5563195 w 11161712"/>
              <a:gd name="connsiteY410" fmla="*/ 1434005 h 1720659"/>
              <a:gd name="connsiteX411" fmla="*/ 5548792 w 11161712"/>
              <a:gd name="connsiteY411" fmla="*/ 1439821 h 1720659"/>
              <a:gd name="connsiteX412" fmla="*/ 5475031 w 11161712"/>
              <a:gd name="connsiteY412" fmla="*/ 1444672 h 1720659"/>
              <a:gd name="connsiteX413" fmla="*/ 5508689 w 11161712"/>
              <a:gd name="connsiteY413" fmla="*/ 1439548 h 1720659"/>
              <a:gd name="connsiteX414" fmla="*/ 5539869 w 11161712"/>
              <a:gd name="connsiteY414" fmla="*/ 1424851 h 1720659"/>
              <a:gd name="connsiteX415" fmla="*/ 5504280 w 11161712"/>
              <a:gd name="connsiteY415" fmla="*/ 1428861 h 1720659"/>
              <a:gd name="connsiteX416" fmla="*/ 5475031 w 11161712"/>
              <a:gd name="connsiteY416" fmla="*/ 1444672 h 1720659"/>
              <a:gd name="connsiteX417" fmla="*/ 5422329 w 11161712"/>
              <a:gd name="connsiteY417" fmla="*/ 1451684 h 1720659"/>
              <a:gd name="connsiteX418" fmla="*/ 5459157 w 11161712"/>
              <a:gd name="connsiteY418" fmla="*/ 1446918 h 1720659"/>
              <a:gd name="connsiteX419" fmla="*/ 5490883 w 11161712"/>
              <a:gd name="connsiteY419" fmla="*/ 1430247 h 1720659"/>
              <a:gd name="connsiteX420" fmla="*/ 5452312 w 11161712"/>
              <a:gd name="connsiteY420" fmla="*/ 1433795 h 1720659"/>
              <a:gd name="connsiteX421" fmla="*/ 5422329 w 11161712"/>
              <a:gd name="connsiteY421" fmla="*/ 1451684 h 1720659"/>
              <a:gd name="connsiteX422" fmla="*/ 5492752 w 11161712"/>
              <a:gd name="connsiteY422" fmla="*/ 1452377 h 1720659"/>
              <a:gd name="connsiteX423" fmla="*/ 5515324 w 11161712"/>
              <a:gd name="connsiteY423" fmla="*/ 1447548 h 1720659"/>
              <a:gd name="connsiteX424" fmla="*/ 5539848 w 11161712"/>
              <a:gd name="connsiteY424" fmla="*/ 1438205 h 1720659"/>
              <a:gd name="connsiteX425" fmla="*/ 5514904 w 11161712"/>
              <a:gd name="connsiteY425" fmla="*/ 1442424 h 1720659"/>
              <a:gd name="connsiteX426" fmla="*/ 5492752 w 11161712"/>
              <a:gd name="connsiteY426" fmla="*/ 1452377 h 1720659"/>
              <a:gd name="connsiteX427" fmla="*/ 5370867 w 11161712"/>
              <a:gd name="connsiteY427" fmla="*/ 1457312 h 1720659"/>
              <a:gd name="connsiteX428" fmla="*/ 5408241 w 11161712"/>
              <a:gd name="connsiteY428" fmla="*/ 1453364 h 1720659"/>
              <a:gd name="connsiteX429" fmla="*/ 5440156 w 11161712"/>
              <a:gd name="connsiteY429" fmla="*/ 1434782 h 1720659"/>
              <a:gd name="connsiteX430" fmla="*/ 5401039 w 11161712"/>
              <a:gd name="connsiteY430" fmla="*/ 1437554 h 1720659"/>
              <a:gd name="connsiteX431" fmla="*/ 5370867 w 11161712"/>
              <a:gd name="connsiteY431" fmla="*/ 1457312 h 1720659"/>
              <a:gd name="connsiteX432" fmla="*/ 5319236 w 11161712"/>
              <a:gd name="connsiteY432" fmla="*/ 1461804 h 1720659"/>
              <a:gd name="connsiteX433" fmla="*/ 5358101 w 11161712"/>
              <a:gd name="connsiteY433" fmla="*/ 1458529 h 1720659"/>
              <a:gd name="connsiteX434" fmla="*/ 5389848 w 11161712"/>
              <a:gd name="connsiteY434" fmla="*/ 1438225 h 1720659"/>
              <a:gd name="connsiteX435" fmla="*/ 5349304 w 11161712"/>
              <a:gd name="connsiteY435" fmla="*/ 1440304 h 1720659"/>
              <a:gd name="connsiteX436" fmla="*/ 5319236 w 11161712"/>
              <a:gd name="connsiteY436" fmla="*/ 1461804 h 1720659"/>
              <a:gd name="connsiteX437" fmla="*/ 5439127 w 11161712"/>
              <a:gd name="connsiteY437" fmla="*/ 1462834 h 1720659"/>
              <a:gd name="connsiteX438" fmla="*/ 5467808 w 11161712"/>
              <a:gd name="connsiteY438" fmla="*/ 1457417 h 1720659"/>
              <a:gd name="connsiteX439" fmla="*/ 5495482 w 11161712"/>
              <a:gd name="connsiteY439" fmla="*/ 1445491 h 1720659"/>
              <a:gd name="connsiteX440" fmla="*/ 5464952 w 11161712"/>
              <a:gd name="connsiteY440" fmla="*/ 1449921 h 1720659"/>
              <a:gd name="connsiteX441" fmla="*/ 5439127 w 11161712"/>
              <a:gd name="connsiteY441" fmla="*/ 1462834 h 1720659"/>
              <a:gd name="connsiteX442" fmla="*/ 5462770 w 11161712"/>
              <a:gd name="connsiteY442" fmla="*/ 1465122 h 1720659"/>
              <a:gd name="connsiteX443" fmla="*/ 5471588 w 11161712"/>
              <a:gd name="connsiteY443" fmla="*/ 1462896 h 1720659"/>
              <a:gd name="connsiteX444" fmla="*/ 5472028 w 11161712"/>
              <a:gd name="connsiteY444" fmla="*/ 1462770 h 1720659"/>
              <a:gd name="connsiteX445" fmla="*/ 5485802 w 11161712"/>
              <a:gd name="connsiteY445" fmla="*/ 1458110 h 1720659"/>
              <a:gd name="connsiteX446" fmla="*/ 5473772 w 11161712"/>
              <a:gd name="connsiteY446" fmla="*/ 1460524 h 1720659"/>
              <a:gd name="connsiteX447" fmla="*/ 5462770 w 11161712"/>
              <a:gd name="connsiteY447" fmla="*/ 1465122 h 1720659"/>
              <a:gd name="connsiteX448" fmla="*/ 5386531 w 11161712"/>
              <a:gd name="connsiteY448" fmla="*/ 1471631 h 1720659"/>
              <a:gd name="connsiteX449" fmla="*/ 5419432 w 11161712"/>
              <a:gd name="connsiteY449" fmla="*/ 1466298 h 1720659"/>
              <a:gd name="connsiteX450" fmla="*/ 5448891 w 11161712"/>
              <a:gd name="connsiteY450" fmla="*/ 1452084 h 1720659"/>
              <a:gd name="connsiteX451" fmla="*/ 5414142 w 11161712"/>
              <a:gd name="connsiteY451" fmla="*/ 1456366 h 1720659"/>
              <a:gd name="connsiteX452" fmla="*/ 5386531 w 11161712"/>
              <a:gd name="connsiteY452" fmla="*/ 1471631 h 1720659"/>
              <a:gd name="connsiteX453" fmla="*/ 5405218 w 11161712"/>
              <a:gd name="connsiteY453" fmla="*/ 1478685 h 1720659"/>
              <a:gd name="connsiteX454" fmla="*/ 5426235 w 11161712"/>
              <a:gd name="connsiteY454" fmla="*/ 1473941 h 1720659"/>
              <a:gd name="connsiteX455" fmla="*/ 5448155 w 11161712"/>
              <a:gd name="connsiteY455" fmla="*/ 1465437 h 1720659"/>
              <a:gd name="connsiteX456" fmla="*/ 5424912 w 11161712"/>
              <a:gd name="connsiteY456" fmla="*/ 1469615 h 1720659"/>
              <a:gd name="connsiteX457" fmla="*/ 5405218 w 11161712"/>
              <a:gd name="connsiteY457" fmla="*/ 1478685 h 1720659"/>
              <a:gd name="connsiteX458" fmla="*/ 5335508 w 11161712"/>
              <a:gd name="connsiteY458" fmla="*/ 1478896 h 1720659"/>
              <a:gd name="connsiteX459" fmla="*/ 5369734 w 11161712"/>
              <a:gd name="connsiteY459" fmla="*/ 1474171 h 1720659"/>
              <a:gd name="connsiteX460" fmla="*/ 5400010 w 11161712"/>
              <a:gd name="connsiteY460" fmla="*/ 1457963 h 1720659"/>
              <a:gd name="connsiteX461" fmla="*/ 5364001 w 11161712"/>
              <a:gd name="connsiteY461" fmla="*/ 1461595 h 1720659"/>
              <a:gd name="connsiteX462" fmla="*/ 5335508 w 11161712"/>
              <a:gd name="connsiteY462" fmla="*/ 1478896 h 1720659"/>
              <a:gd name="connsiteX463" fmla="*/ 5284487 w 11161712"/>
              <a:gd name="connsiteY463" fmla="*/ 1484964 h 1720659"/>
              <a:gd name="connsiteX464" fmla="*/ 5320602 w 11161712"/>
              <a:gd name="connsiteY464" fmla="*/ 1480807 h 1720659"/>
              <a:gd name="connsiteX465" fmla="*/ 5351256 w 11161712"/>
              <a:gd name="connsiteY465" fmla="*/ 1462749 h 1720659"/>
              <a:gd name="connsiteX466" fmla="*/ 5313378 w 11161712"/>
              <a:gd name="connsiteY466" fmla="*/ 1465793 h 1720659"/>
              <a:gd name="connsiteX467" fmla="*/ 5284487 w 11161712"/>
              <a:gd name="connsiteY467" fmla="*/ 1484964 h 1720659"/>
              <a:gd name="connsiteX468" fmla="*/ 5351509 w 11161712"/>
              <a:gd name="connsiteY468" fmla="*/ 1489688 h 1720659"/>
              <a:gd name="connsiteX469" fmla="*/ 5379034 w 11161712"/>
              <a:gd name="connsiteY469" fmla="*/ 1484250 h 1720659"/>
              <a:gd name="connsiteX470" fmla="*/ 5404734 w 11161712"/>
              <a:gd name="connsiteY470" fmla="*/ 1472996 h 1720659"/>
              <a:gd name="connsiteX471" fmla="*/ 5375192 w 11161712"/>
              <a:gd name="connsiteY471" fmla="*/ 1477593 h 1720659"/>
              <a:gd name="connsiteX472" fmla="*/ 5351509 w 11161712"/>
              <a:gd name="connsiteY472" fmla="*/ 1489688 h 1720659"/>
              <a:gd name="connsiteX473" fmla="*/ 5376578 w 11161712"/>
              <a:gd name="connsiteY473" fmla="*/ 1491158 h 1720659"/>
              <a:gd name="connsiteX474" fmla="*/ 5383906 w 11161712"/>
              <a:gd name="connsiteY474" fmla="*/ 1489205 h 1720659"/>
              <a:gd name="connsiteX475" fmla="*/ 5394299 w 11161712"/>
              <a:gd name="connsiteY475" fmla="*/ 1485636 h 1720659"/>
              <a:gd name="connsiteX476" fmla="*/ 5385082 w 11161712"/>
              <a:gd name="connsiteY476" fmla="*/ 1487546 h 1720659"/>
              <a:gd name="connsiteX477" fmla="*/ 5376578 w 11161712"/>
              <a:gd name="connsiteY477" fmla="*/ 1491158 h 1720659"/>
              <a:gd name="connsiteX478" fmla="*/ 5300403 w 11161712"/>
              <a:gd name="connsiteY478" fmla="*/ 1498737 h 1720659"/>
              <a:gd name="connsiteX479" fmla="*/ 5330470 w 11161712"/>
              <a:gd name="connsiteY479" fmla="*/ 1493573 h 1720659"/>
              <a:gd name="connsiteX480" fmla="*/ 5358038 w 11161712"/>
              <a:gd name="connsiteY480" fmla="*/ 1480093 h 1720659"/>
              <a:gd name="connsiteX481" fmla="*/ 5326082 w 11161712"/>
              <a:gd name="connsiteY481" fmla="*/ 1484355 h 1720659"/>
              <a:gd name="connsiteX482" fmla="*/ 5300403 w 11161712"/>
              <a:gd name="connsiteY482" fmla="*/ 1498737 h 1720659"/>
              <a:gd name="connsiteX483" fmla="*/ 5318082 w 11161712"/>
              <a:gd name="connsiteY483" fmla="*/ 1505624 h 1720659"/>
              <a:gd name="connsiteX484" fmla="*/ 5337713 w 11161712"/>
              <a:gd name="connsiteY484" fmla="*/ 1500984 h 1720659"/>
              <a:gd name="connsiteX485" fmla="*/ 5358017 w 11161712"/>
              <a:gd name="connsiteY485" fmla="*/ 1492963 h 1720659"/>
              <a:gd name="connsiteX486" fmla="*/ 5336474 w 11161712"/>
              <a:gd name="connsiteY486" fmla="*/ 1496995 h 1720659"/>
              <a:gd name="connsiteX487" fmla="*/ 5318082 w 11161712"/>
              <a:gd name="connsiteY487" fmla="*/ 1505624 h 1720659"/>
              <a:gd name="connsiteX488" fmla="*/ 5249781 w 11161712"/>
              <a:gd name="connsiteY488" fmla="*/ 1506401 h 1720659"/>
              <a:gd name="connsiteX489" fmla="*/ 5282514 w 11161712"/>
              <a:gd name="connsiteY489" fmla="*/ 1501593 h 1720659"/>
              <a:gd name="connsiteX490" fmla="*/ 5310985 w 11161712"/>
              <a:gd name="connsiteY490" fmla="*/ 1486182 h 1720659"/>
              <a:gd name="connsiteX491" fmla="*/ 5276509 w 11161712"/>
              <a:gd name="connsiteY491" fmla="*/ 1490024 h 1720659"/>
              <a:gd name="connsiteX492" fmla="*/ 5249781 w 11161712"/>
              <a:gd name="connsiteY492" fmla="*/ 1506401 h 1720659"/>
              <a:gd name="connsiteX493" fmla="*/ 5265360 w 11161712"/>
              <a:gd name="connsiteY493" fmla="*/ 1517025 h 1720659"/>
              <a:gd name="connsiteX494" fmla="*/ 5289820 w 11161712"/>
              <a:gd name="connsiteY494" fmla="*/ 1511944 h 1720659"/>
              <a:gd name="connsiteX495" fmla="*/ 5315059 w 11161712"/>
              <a:gd name="connsiteY495" fmla="*/ 1500753 h 1720659"/>
              <a:gd name="connsiteX496" fmla="*/ 5288435 w 11161712"/>
              <a:gd name="connsiteY496" fmla="*/ 1505141 h 1720659"/>
              <a:gd name="connsiteX497" fmla="*/ 5265360 w 11161712"/>
              <a:gd name="connsiteY497" fmla="*/ 1517025 h 1720659"/>
              <a:gd name="connsiteX498" fmla="*/ 5291101 w 11161712"/>
              <a:gd name="connsiteY498" fmla="*/ 1517592 h 1720659"/>
              <a:gd name="connsiteX499" fmla="*/ 5296833 w 11161712"/>
              <a:gd name="connsiteY499" fmla="*/ 1515997 h 1720659"/>
              <a:gd name="connsiteX500" fmla="*/ 5302922 w 11161712"/>
              <a:gd name="connsiteY500" fmla="*/ 1513834 h 1720659"/>
              <a:gd name="connsiteX501" fmla="*/ 5296519 w 11161712"/>
              <a:gd name="connsiteY501" fmla="*/ 1515261 h 1720659"/>
              <a:gd name="connsiteX502" fmla="*/ 5291101 w 11161712"/>
              <a:gd name="connsiteY502" fmla="*/ 1517592 h 1720659"/>
              <a:gd name="connsiteX503" fmla="*/ 5214275 w 11161712"/>
              <a:gd name="connsiteY503" fmla="*/ 1526641 h 1720659"/>
              <a:gd name="connsiteX504" fmla="*/ 5242704 w 11161712"/>
              <a:gd name="connsiteY504" fmla="*/ 1521456 h 1720659"/>
              <a:gd name="connsiteX505" fmla="*/ 5270251 w 11161712"/>
              <a:gd name="connsiteY505" fmla="*/ 1507913 h 1720659"/>
              <a:gd name="connsiteX506" fmla="*/ 5239912 w 11161712"/>
              <a:gd name="connsiteY506" fmla="*/ 1512196 h 1720659"/>
              <a:gd name="connsiteX507" fmla="*/ 5214275 w 11161712"/>
              <a:gd name="connsiteY507" fmla="*/ 1526641 h 1720659"/>
              <a:gd name="connsiteX508" fmla="*/ 5233948 w 11161712"/>
              <a:gd name="connsiteY508" fmla="*/ 1532227 h 1720659"/>
              <a:gd name="connsiteX509" fmla="*/ 5250284 w 11161712"/>
              <a:gd name="connsiteY509" fmla="*/ 1528217 h 1720659"/>
              <a:gd name="connsiteX510" fmla="*/ 5267670 w 11161712"/>
              <a:gd name="connsiteY510" fmla="*/ 1521267 h 1720659"/>
              <a:gd name="connsiteX511" fmla="*/ 5249549 w 11161712"/>
              <a:gd name="connsiteY511" fmla="*/ 1524836 h 1720659"/>
              <a:gd name="connsiteX512" fmla="*/ 5233948 w 11161712"/>
              <a:gd name="connsiteY512" fmla="*/ 1532227 h 1720659"/>
              <a:gd name="connsiteX513" fmla="*/ 5208270 w 11161712"/>
              <a:gd name="connsiteY513" fmla="*/ 1543796 h 1720659"/>
              <a:gd name="connsiteX514" fmla="*/ 5209572 w 11161712"/>
              <a:gd name="connsiteY514" fmla="*/ 1543439 h 1720659"/>
              <a:gd name="connsiteX515" fmla="*/ 5210747 w 11161712"/>
              <a:gd name="connsiteY515" fmla="*/ 1543020 h 1720659"/>
              <a:gd name="connsiteX516" fmla="*/ 5209425 w 11161712"/>
              <a:gd name="connsiteY516" fmla="*/ 1543293 h 1720659"/>
              <a:gd name="connsiteX517" fmla="*/ 5208270 w 11161712"/>
              <a:gd name="connsiteY517" fmla="*/ 1543796 h 1720659"/>
              <a:gd name="connsiteX518" fmla="*/ 5181457 w 11161712"/>
              <a:gd name="connsiteY518" fmla="*/ 1543964 h 1720659"/>
              <a:gd name="connsiteX519" fmla="*/ 5204092 w 11161712"/>
              <a:gd name="connsiteY519" fmla="*/ 1539093 h 1720659"/>
              <a:gd name="connsiteX520" fmla="*/ 5226369 w 11161712"/>
              <a:gd name="connsiteY520" fmla="*/ 1529119 h 1720659"/>
              <a:gd name="connsiteX521" fmla="*/ 5201971 w 11161712"/>
              <a:gd name="connsiteY521" fmla="*/ 1533340 h 1720659"/>
              <a:gd name="connsiteX522" fmla="*/ 5181457 w 11161712"/>
              <a:gd name="connsiteY522" fmla="*/ 1543964 h 1720659"/>
              <a:gd name="connsiteX523" fmla="*/ 5150277 w 11161712"/>
              <a:gd name="connsiteY523" fmla="*/ 1559228 h 1720659"/>
              <a:gd name="connsiteX524" fmla="*/ 5164072 w 11161712"/>
              <a:gd name="connsiteY524" fmla="*/ 1555722 h 1720659"/>
              <a:gd name="connsiteX525" fmla="*/ 5178266 w 11161712"/>
              <a:gd name="connsiteY525" fmla="*/ 1550032 h 1720659"/>
              <a:gd name="connsiteX526" fmla="*/ 5162833 w 11161712"/>
              <a:gd name="connsiteY526" fmla="*/ 1553203 h 1720659"/>
              <a:gd name="connsiteX527" fmla="*/ 5150277 w 11161712"/>
              <a:gd name="connsiteY527" fmla="*/ 1559228 h 1720659"/>
              <a:gd name="connsiteX528" fmla="*/ 4368678 w 11161712"/>
              <a:gd name="connsiteY528" fmla="*/ 1720091 h 1720659"/>
              <a:gd name="connsiteX529" fmla="*/ 4137950 w 11161712"/>
              <a:gd name="connsiteY529" fmla="*/ 1715968 h 1720659"/>
              <a:gd name="connsiteX530" fmla="*/ 3471539 w 11161712"/>
              <a:gd name="connsiteY530" fmla="*/ 1632276 h 1720659"/>
              <a:gd name="connsiteX531" fmla="*/ 2407224 w 11161712"/>
              <a:gd name="connsiteY531" fmla="*/ 1373283 h 1720659"/>
              <a:gd name="connsiteX532" fmla="*/ 1370707 w 11161712"/>
              <a:gd name="connsiteY532" fmla="*/ 1017628 h 1720659"/>
              <a:gd name="connsiteX533" fmla="*/ 31249 w 11161712"/>
              <a:gd name="connsiteY533" fmla="*/ 450837 h 1720659"/>
              <a:gd name="connsiteX534" fmla="*/ 0 w 11161712"/>
              <a:gd name="connsiteY534" fmla="*/ 434823 h 1720659"/>
              <a:gd name="connsiteX535" fmla="*/ 0 w 11161712"/>
              <a:gd name="connsiteY535" fmla="*/ 427746 h 1720659"/>
              <a:gd name="connsiteX536" fmla="*/ 34050 w 11161712"/>
              <a:gd name="connsiteY536" fmla="*/ 445195 h 1720659"/>
              <a:gd name="connsiteX537" fmla="*/ 1372954 w 11161712"/>
              <a:gd name="connsiteY537" fmla="*/ 1011737 h 1720659"/>
              <a:gd name="connsiteX538" fmla="*/ 3472652 w 11161712"/>
              <a:gd name="connsiteY538" fmla="*/ 1626061 h 1720659"/>
              <a:gd name="connsiteX539" fmla="*/ 4934936 w 11161712"/>
              <a:gd name="connsiteY539" fmla="*/ 1632821 h 1720659"/>
              <a:gd name="connsiteX540" fmla="*/ 4353794 w 11161712"/>
              <a:gd name="connsiteY540" fmla="*/ 1688105 h 1720659"/>
              <a:gd name="connsiteX541" fmla="*/ 4243625 w 11161712"/>
              <a:gd name="connsiteY541" fmla="*/ 1684116 h 1720659"/>
              <a:gd name="connsiteX542" fmla="*/ 3556450 w 11161712"/>
              <a:gd name="connsiteY542" fmla="*/ 1594839 h 1720659"/>
              <a:gd name="connsiteX543" fmla="*/ 2481027 w 11161712"/>
              <a:gd name="connsiteY543" fmla="*/ 1317117 h 1720659"/>
              <a:gd name="connsiteX544" fmla="*/ 1435650 w 11161712"/>
              <a:gd name="connsiteY544" fmla="*/ 940712 h 1720659"/>
              <a:gd name="connsiteX545" fmla="*/ 806072 w 11161712"/>
              <a:gd name="connsiteY545" fmla="*/ 684142 h 1720659"/>
              <a:gd name="connsiteX546" fmla="*/ 291685 w 11161712"/>
              <a:gd name="connsiteY546" fmla="*/ 457345 h 1720659"/>
              <a:gd name="connsiteX547" fmla="*/ 0 w 11161712"/>
              <a:gd name="connsiteY547" fmla="*/ 318725 h 1720659"/>
              <a:gd name="connsiteX548" fmla="*/ 0 w 11161712"/>
              <a:gd name="connsiteY548" fmla="*/ 312083 h 1720659"/>
              <a:gd name="connsiteX549" fmla="*/ 294184 w 11161712"/>
              <a:gd name="connsiteY549" fmla="*/ 451892 h 1720659"/>
              <a:gd name="connsiteX550" fmla="*/ 808413 w 11161712"/>
              <a:gd name="connsiteY550" fmla="*/ 678620 h 1720659"/>
              <a:gd name="connsiteX551" fmla="*/ 1437854 w 11161712"/>
              <a:gd name="connsiteY551" fmla="*/ 935133 h 1720659"/>
              <a:gd name="connsiteX552" fmla="*/ 3557562 w 11161712"/>
              <a:gd name="connsiteY552" fmla="*/ 1588939 h 1720659"/>
              <a:gd name="connsiteX553" fmla="*/ 5028077 w 11161712"/>
              <a:gd name="connsiteY553" fmla="*/ 1602040 h 1720659"/>
              <a:gd name="connsiteX554" fmla="*/ 4429277 w 11161712"/>
              <a:gd name="connsiteY554" fmla="*/ 1656149 h 1720659"/>
              <a:gd name="connsiteX555" fmla="*/ 4341909 w 11161712"/>
              <a:gd name="connsiteY555" fmla="*/ 1652685 h 1720659"/>
              <a:gd name="connsiteX556" fmla="*/ 3641317 w 11161712"/>
              <a:gd name="connsiteY556" fmla="*/ 1557381 h 1720659"/>
              <a:gd name="connsiteX557" fmla="*/ 2554703 w 11161712"/>
              <a:gd name="connsiteY557" fmla="*/ 1261665 h 1720659"/>
              <a:gd name="connsiteX558" fmla="*/ 1500592 w 11161712"/>
              <a:gd name="connsiteY558" fmla="*/ 863803 h 1720659"/>
              <a:gd name="connsiteX559" fmla="*/ 864797 w 11161712"/>
              <a:gd name="connsiteY559" fmla="*/ 596715 h 1720659"/>
              <a:gd name="connsiteX560" fmla="*/ 351279 w 11161712"/>
              <a:gd name="connsiteY560" fmla="*/ 368600 h 1720659"/>
              <a:gd name="connsiteX561" fmla="*/ 0 w 11161712"/>
              <a:gd name="connsiteY561" fmla="*/ 207540 h 1720659"/>
              <a:gd name="connsiteX562" fmla="*/ 0 w 11161712"/>
              <a:gd name="connsiteY562" fmla="*/ 201268 h 1720659"/>
              <a:gd name="connsiteX563" fmla="*/ 353616 w 11161712"/>
              <a:gd name="connsiteY563" fmla="*/ 363401 h 1720659"/>
              <a:gd name="connsiteX564" fmla="*/ 867062 w 11161712"/>
              <a:gd name="connsiteY564" fmla="*/ 591481 h 1720659"/>
              <a:gd name="connsiteX565" fmla="*/ 1502734 w 11161712"/>
              <a:gd name="connsiteY565" fmla="*/ 858527 h 1720659"/>
              <a:gd name="connsiteX566" fmla="*/ 3642452 w 11161712"/>
              <a:gd name="connsiteY566" fmla="*/ 1551795 h 1720659"/>
              <a:gd name="connsiteX567" fmla="*/ 5078091 w 11161712"/>
              <a:gd name="connsiteY567" fmla="*/ 1583626 h 1720659"/>
              <a:gd name="connsiteX568" fmla="*/ 5089534 w 11161712"/>
              <a:gd name="connsiteY568" fmla="*/ 1579029 h 1720659"/>
              <a:gd name="connsiteX569" fmla="*/ 4504949 w 11161712"/>
              <a:gd name="connsiteY569" fmla="*/ 1624339 h 1720659"/>
              <a:gd name="connsiteX570" fmla="*/ 4446241 w 11161712"/>
              <a:gd name="connsiteY570" fmla="*/ 1621757 h 1720659"/>
              <a:gd name="connsiteX571" fmla="*/ 3726227 w 11161712"/>
              <a:gd name="connsiteY571" fmla="*/ 1519965 h 1720659"/>
              <a:gd name="connsiteX572" fmla="*/ 2628464 w 11161712"/>
              <a:gd name="connsiteY572" fmla="*/ 1205772 h 1720659"/>
              <a:gd name="connsiteX573" fmla="*/ 1565534 w 11161712"/>
              <a:gd name="connsiteY573" fmla="*/ 786893 h 1720659"/>
              <a:gd name="connsiteX574" fmla="*/ 923529 w 11161712"/>
              <a:gd name="connsiteY574" fmla="*/ 509287 h 1720659"/>
              <a:gd name="connsiteX575" fmla="*/ 501345 w 11161712"/>
              <a:gd name="connsiteY575" fmla="*/ 320498 h 1720659"/>
              <a:gd name="connsiteX576" fmla="*/ 187632 w 11161712"/>
              <a:gd name="connsiteY576" fmla="*/ 179841 h 1720659"/>
              <a:gd name="connsiteX577" fmla="*/ 0 w 11161712"/>
              <a:gd name="connsiteY577" fmla="*/ 97422 h 1720659"/>
              <a:gd name="connsiteX578" fmla="*/ 0 w 11161712"/>
              <a:gd name="connsiteY578" fmla="*/ 91532 h 1720659"/>
              <a:gd name="connsiteX579" fmla="*/ 189815 w 11161712"/>
              <a:gd name="connsiteY579" fmla="*/ 174907 h 1720659"/>
              <a:gd name="connsiteX580" fmla="*/ 503557 w 11161712"/>
              <a:gd name="connsiteY580" fmla="*/ 315579 h 1720659"/>
              <a:gd name="connsiteX581" fmla="*/ 925706 w 11161712"/>
              <a:gd name="connsiteY581" fmla="*/ 504349 h 1720659"/>
              <a:gd name="connsiteX582" fmla="*/ 1567634 w 11161712"/>
              <a:gd name="connsiteY582" fmla="*/ 781923 h 1720659"/>
              <a:gd name="connsiteX583" fmla="*/ 3727319 w 11161712"/>
              <a:gd name="connsiteY583" fmla="*/ 1514674 h 1720659"/>
              <a:gd name="connsiteX584" fmla="*/ 5118090 w 11161712"/>
              <a:gd name="connsiteY584" fmla="*/ 1566871 h 1720659"/>
              <a:gd name="connsiteX585" fmla="*/ 5137574 w 11161712"/>
              <a:gd name="connsiteY585" fmla="*/ 1558074 h 1720659"/>
              <a:gd name="connsiteX586" fmla="*/ 4580515 w 11161712"/>
              <a:gd name="connsiteY586" fmla="*/ 1592130 h 1720659"/>
              <a:gd name="connsiteX587" fmla="*/ 4551287 w 11161712"/>
              <a:gd name="connsiteY587" fmla="*/ 1590724 h 1720659"/>
              <a:gd name="connsiteX588" fmla="*/ 3811116 w 11161712"/>
              <a:gd name="connsiteY588" fmla="*/ 1482528 h 1720659"/>
              <a:gd name="connsiteX589" fmla="*/ 2702226 w 11161712"/>
              <a:gd name="connsiteY589" fmla="*/ 1149817 h 1720659"/>
              <a:gd name="connsiteX590" fmla="*/ 1630476 w 11161712"/>
              <a:gd name="connsiteY590" fmla="*/ 709987 h 1720659"/>
              <a:gd name="connsiteX591" fmla="*/ 982256 w 11161712"/>
              <a:gd name="connsiteY591" fmla="*/ 421862 h 1720659"/>
              <a:gd name="connsiteX592" fmla="*/ 783440 w 11161712"/>
              <a:gd name="connsiteY592" fmla="*/ 332002 h 1720659"/>
              <a:gd name="connsiteX593" fmla="*/ 350657 w 11161712"/>
              <a:gd name="connsiteY593" fmla="*/ 137829 h 1720659"/>
              <a:gd name="connsiteX594" fmla="*/ 25395 w 11161712"/>
              <a:gd name="connsiteY594" fmla="*/ 0 h 1720659"/>
              <a:gd name="connsiteX595" fmla="*/ 38470 w 11161712"/>
              <a:gd name="connsiteY595" fmla="*/ 0 h 1720659"/>
              <a:gd name="connsiteX596" fmla="*/ 352685 w 11161712"/>
              <a:gd name="connsiteY596" fmla="*/ 133148 h 1720659"/>
              <a:gd name="connsiteX597" fmla="*/ 785546 w 11161712"/>
              <a:gd name="connsiteY597" fmla="*/ 327356 h 1720659"/>
              <a:gd name="connsiteX598" fmla="*/ 984353 w 11161712"/>
              <a:gd name="connsiteY598" fmla="*/ 417212 h 1720659"/>
              <a:gd name="connsiteX599" fmla="*/ 1632514 w 11161712"/>
              <a:gd name="connsiteY599" fmla="*/ 705321 h 1720659"/>
              <a:gd name="connsiteX600" fmla="*/ 3812229 w 11161712"/>
              <a:gd name="connsiteY600" fmla="*/ 1477552 h 1720659"/>
              <a:gd name="connsiteX601" fmla="*/ 5156870 w 11161712"/>
              <a:gd name="connsiteY601" fmla="*/ 1548961 h 1720659"/>
              <a:gd name="connsiteX602" fmla="*/ 5181646 w 11161712"/>
              <a:gd name="connsiteY602" fmla="*/ 1536615 h 1720659"/>
              <a:gd name="connsiteX603" fmla="*/ 5037106 w 11161712"/>
              <a:gd name="connsiteY603" fmla="*/ 1554295 h 1720659"/>
              <a:gd name="connsiteX604" fmla="*/ 4656082 w 11161712"/>
              <a:gd name="connsiteY604" fmla="*/ 1559858 h 1720659"/>
              <a:gd name="connsiteX605" fmla="*/ 4654843 w 11161712"/>
              <a:gd name="connsiteY605" fmla="*/ 1559796 h 1720659"/>
              <a:gd name="connsiteX606" fmla="*/ 3896027 w 11161712"/>
              <a:gd name="connsiteY606" fmla="*/ 1445091 h 1720659"/>
              <a:gd name="connsiteX607" fmla="*/ 1695419 w 11161712"/>
              <a:gd name="connsiteY607" fmla="*/ 633079 h 1720659"/>
              <a:gd name="connsiteX608" fmla="*/ 1040996 w 11161712"/>
              <a:gd name="connsiteY608" fmla="*/ 334434 h 1720659"/>
              <a:gd name="connsiteX609" fmla="*/ 954634 w 11161712"/>
              <a:gd name="connsiteY609" fmla="*/ 294796 h 1720659"/>
              <a:gd name="connsiteX610" fmla="*/ 458593 w 11161712"/>
              <a:gd name="connsiteY610" fmla="*/ 70547 h 1720659"/>
              <a:gd name="connsiteX611" fmla="*/ 292959 w 11161712"/>
              <a:gd name="connsiteY611" fmla="*/ 0 h 1720659"/>
              <a:gd name="connsiteX612" fmla="*/ 305206 w 11161712"/>
              <a:gd name="connsiteY612" fmla="*/ 0 h 1720659"/>
              <a:gd name="connsiteX613" fmla="*/ 460466 w 11161712"/>
              <a:gd name="connsiteY613" fmla="*/ 66128 h 1720659"/>
              <a:gd name="connsiteX614" fmla="*/ 956634 w 11161712"/>
              <a:gd name="connsiteY614" fmla="*/ 290434 h 1720659"/>
              <a:gd name="connsiteX615" fmla="*/ 1042997 w 11161712"/>
              <a:gd name="connsiteY615" fmla="*/ 330073 h 1720659"/>
              <a:gd name="connsiteX616" fmla="*/ 1697392 w 11161712"/>
              <a:gd name="connsiteY616" fmla="*/ 628707 h 1720659"/>
              <a:gd name="connsiteX617" fmla="*/ 3897098 w 11161712"/>
              <a:gd name="connsiteY617" fmla="*/ 1440409 h 1720659"/>
              <a:gd name="connsiteX618" fmla="*/ 5194161 w 11161712"/>
              <a:gd name="connsiteY618" fmla="*/ 1530064 h 1720659"/>
              <a:gd name="connsiteX619" fmla="*/ 5222799 w 11161712"/>
              <a:gd name="connsiteY619" fmla="*/ 1514443 h 1720659"/>
              <a:gd name="connsiteX620" fmla="*/ 4758440 w 11161712"/>
              <a:gd name="connsiteY620" fmla="*/ 1529057 h 1720659"/>
              <a:gd name="connsiteX621" fmla="*/ 4731648 w 11161712"/>
              <a:gd name="connsiteY621" fmla="*/ 1527524 h 1720659"/>
              <a:gd name="connsiteX622" fmla="*/ 3980916 w 11161712"/>
              <a:gd name="connsiteY622" fmla="*/ 1407654 h 1720659"/>
              <a:gd name="connsiteX623" fmla="*/ 2849810 w 11161712"/>
              <a:gd name="connsiteY623" fmla="*/ 1037758 h 1720659"/>
              <a:gd name="connsiteX624" fmla="*/ 1760382 w 11161712"/>
              <a:gd name="connsiteY624" fmla="*/ 556168 h 1720659"/>
              <a:gd name="connsiteX625" fmla="*/ 1416816 w 11161712"/>
              <a:gd name="connsiteY625" fmla="*/ 395415 h 1720659"/>
              <a:gd name="connsiteX626" fmla="*/ 1099734 w 11161712"/>
              <a:gd name="connsiteY626" fmla="*/ 247004 h 1720659"/>
              <a:gd name="connsiteX627" fmla="*/ 1082229 w 11161712"/>
              <a:gd name="connsiteY627" fmla="*/ 238835 h 1720659"/>
              <a:gd name="connsiteX628" fmla="*/ 559232 w 11161712"/>
              <a:gd name="connsiteY628" fmla="*/ 0 h 1720659"/>
              <a:gd name="connsiteX629" fmla="*/ 570071 w 11161712"/>
              <a:gd name="connsiteY629" fmla="*/ 0 h 1720659"/>
              <a:gd name="connsiteX630" fmla="*/ 1084134 w 11161712"/>
              <a:gd name="connsiteY630" fmla="*/ 234755 h 1720659"/>
              <a:gd name="connsiteX631" fmla="*/ 1101640 w 11161712"/>
              <a:gd name="connsiteY631" fmla="*/ 242926 h 1720659"/>
              <a:gd name="connsiteX632" fmla="*/ 1418726 w 11161712"/>
              <a:gd name="connsiteY632" fmla="*/ 391335 h 1720659"/>
              <a:gd name="connsiteX633" fmla="*/ 1762272 w 11161712"/>
              <a:gd name="connsiteY633" fmla="*/ 552091 h 1720659"/>
              <a:gd name="connsiteX634" fmla="*/ 3981987 w 11161712"/>
              <a:gd name="connsiteY634" fmla="*/ 1403266 h 1720659"/>
              <a:gd name="connsiteX635" fmla="*/ 5232836 w 11161712"/>
              <a:gd name="connsiteY635" fmla="*/ 1508690 h 1720659"/>
              <a:gd name="connsiteX636" fmla="*/ 5261559 w 11161712"/>
              <a:gd name="connsiteY636" fmla="*/ 1491515 h 1720659"/>
              <a:gd name="connsiteX637" fmla="*/ 4865228 w 11161712"/>
              <a:gd name="connsiteY637" fmla="*/ 1498758 h 1720659"/>
              <a:gd name="connsiteX638" fmla="*/ 4065826 w 11161712"/>
              <a:gd name="connsiteY638" fmla="*/ 1370197 h 1720659"/>
              <a:gd name="connsiteX639" fmla="*/ 2923634 w 11161712"/>
              <a:gd name="connsiteY639" fmla="*/ 981636 h 1720659"/>
              <a:gd name="connsiteX640" fmla="*/ 1825346 w 11161712"/>
              <a:gd name="connsiteY640" fmla="*/ 479258 h 1720659"/>
              <a:gd name="connsiteX641" fmla="*/ 1667934 w 11161712"/>
              <a:gd name="connsiteY641" fmla="*/ 403584 h 1720659"/>
              <a:gd name="connsiteX642" fmla="*/ 1158476 w 11161712"/>
              <a:gd name="connsiteY642" fmla="*/ 159579 h 1720659"/>
              <a:gd name="connsiteX643" fmla="*/ 894379 w 11161712"/>
              <a:gd name="connsiteY643" fmla="*/ 35136 h 1720659"/>
              <a:gd name="connsiteX644" fmla="*/ 816547 w 11161712"/>
              <a:gd name="connsiteY644" fmla="*/ 0 h 1720659"/>
              <a:gd name="connsiteX645" fmla="*/ 826748 w 11161712"/>
              <a:gd name="connsiteY645" fmla="*/ 0 h 1720659"/>
              <a:gd name="connsiteX646" fmla="*/ 896085 w 11161712"/>
              <a:gd name="connsiteY646" fmla="*/ 31301 h 1720659"/>
              <a:gd name="connsiteX647" fmla="*/ 1160275 w 11161712"/>
              <a:gd name="connsiteY647" fmla="*/ 155785 h 1720659"/>
              <a:gd name="connsiteX648" fmla="*/ 1669762 w 11161712"/>
              <a:gd name="connsiteY648" fmla="*/ 399800 h 1720659"/>
              <a:gd name="connsiteX649" fmla="*/ 1827152 w 11161712"/>
              <a:gd name="connsiteY649" fmla="*/ 475476 h 1720659"/>
              <a:gd name="connsiteX650" fmla="*/ 4066854 w 11161712"/>
              <a:gd name="connsiteY650" fmla="*/ 1366123 h 1720659"/>
              <a:gd name="connsiteX651" fmla="*/ 5269705 w 11161712"/>
              <a:gd name="connsiteY651" fmla="*/ 1486476 h 1720659"/>
              <a:gd name="connsiteX652" fmla="*/ 5300088 w 11161712"/>
              <a:gd name="connsiteY652" fmla="*/ 1466738 h 1720659"/>
              <a:gd name="connsiteX653" fmla="*/ 4969202 w 11161712"/>
              <a:gd name="connsiteY653" fmla="*/ 1468419 h 1720659"/>
              <a:gd name="connsiteX654" fmla="*/ 4882782 w 11161712"/>
              <a:gd name="connsiteY654" fmla="*/ 1462666 h 1720659"/>
              <a:gd name="connsiteX655" fmla="*/ 4150736 w 11161712"/>
              <a:gd name="connsiteY655" fmla="*/ 1332759 h 1720659"/>
              <a:gd name="connsiteX656" fmla="*/ 1890288 w 11161712"/>
              <a:gd name="connsiteY656" fmla="*/ 402358 h 1720659"/>
              <a:gd name="connsiteX657" fmla="*/ 1840253 w 11161712"/>
              <a:gd name="connsiteY657" fmla="*/ 377628 h 1720659"/>
              <a:gd name="connsiteX658" fmla="*/ 1217216 w 11161712"/>
              <a:gd name="connsiteY658" fmla="*/ 72155 h 1720659"/>
              <a:gd name="connsiteX659" fmla="*/ 1065568 w 11161712"/>
              <a:gd name="connsiteY659" fmla="*/ 0 h 1720659"/>
              <a:gd name="connsiteX660" fmla="*/ 1074646 w 11161712"/>
              <a:gd name="connsiteY660" fmla="*/ 0 h 1720659"/>
              <a:gd name="connsiteX661" fmla="*/ 1218913 w 11161712"/>
              <a:gd name="connsiteY661" fmla="*/ 68642 h 1720659"/>
              <a:gd name="connsiteX662" fmla="*/ 1841975 w 11161712"/>
              <a:gd name="connsiteY662" fmla="*/ 374130 h 1720659"/>
              <a:gd name="connsiteX663" fmla="*/ 1892031 w 11161712"/>
              <a:gd name="connsiteY663" fmla="*/ 398860 h 1720659"/>
              <a:gd name="connsiteX664" fmla="*/ 4151723 w 11161712"/>
              <a:gd name="connsiteY664" fmla="*/ 1329001 h 1720659"/>
              <a:gd name="connsiteX665" fmla="*/ 5305904 w 11161712"/>
              <a:gd name="connsiteY665" fmla="*/ 1462813 h 1720659"/>
              <a:gd name="connsiteX666" fmla="*/ 5337210 w 11161712"/>
              <a:gd name="connsiteY666" fmla="*/ 1440788 h 1720659"/>
              <a:gd name="connsiteX667" fmla="*/ 5076979 w 11161712"/>
              <a:gd name="connsiteY667" fmla="*/ 1438625 h 1720659"/>
              <a:gd name="connsiteX668" fmla="*/ 4958347 w 11161712"/>
              <a:gd name="connsiteY668" fmla="*/ 1430121 h 1720659"/>
              <a:gd name="connsiteX669" fmla="*/ 4235647 w 11161712"/>
              <a:gd name="connsiteY669" fmla="*/ 1295344 h 1720659"/>
              <a:gd name="connsiteX670" fmla="*/ 3084320 w 11161712"/>
              <a:gd name="connsiteY670" fmla="*/ 875001 h 1720659"/>
              <a:gd name="connsiteX671" fmla="*/ 1980615 w 11161712"/>
              <a:gd name="connsiteY671" fmla="*/ 338318 h 1720659"/>
              <a:gd name="connsiteX672" fmla="*/ 1955272 w 11161712"/>
              <a:gd name="connsiteY672" fmla="*/ 325453 h 1720659"/>
              <a:gd name="connsiteX673" fmla="*/ 1624763 w 11161712"/>
              <a:gd name="connsiteY673" fmla="*/ 158238 h 1720659"/>
              <a:gd name="connsiteX674" fmla="*/ 1306663 w 11161712"/>
              <a:gd name="connsiteY674" fmla="*/ 0 h 1720659"/>
              <a:gd name="connsiteX675" fmla="*/ 1314729 w 11161712"/>
              <a:gd name="connsiteY675" fmla="*/ 0 h 1720659"/>
              <a:gd name="connsiteX676" fmla="*/ 1626367 w 11161712"/>
              <a:gd name="connsiteY676" fmla="*/ 155023 h 1720659"/>
              <a:gd name="connsiteX677" fmla="*/ 1956889 w 11161712"/>
              <a:gd name="connsiteY677" fmla="*/ 322247 h 1720659"/>
              <a:gd name="connsiteX678" fmla="*/ 1982253 w 11161712"/>
              <a:gd name="connsiteY678" fmla="*/ 335112 h 1720659"/>
              <a:gd name="connsiteX679" fmla="*/ 4236591 w 11161712"/>
              <a:gd name="connsiteY679" fmla="*/ 1291859 h 1720659"/>
              <a:gd name="connsiteX680" fmla="*/ 5342669 w 11161712"/>
              <a:gd name="connsiteY680" fmla="*/ 1436776 h 1720659"/>
              <a:gd name="connsiteX681" fmla="*/ 5373534 w 11161712"/>
              <a:gd name="connsiteY681" fmla="*/ 1413324 h 1720659"/>
              <a:gd name="connsiteX682" fmla="*/ 5186937 w 11161712"/>
              <a:gd name="connsiteY682" fmla="*/ 1409292 h 1720659"/>
              <a:gd name="connsiteX683" fmla="*/ 5033936 w 11161712"/>
              <a:gd name="connsiteY683" fmla="*/ 1397534 h 1720659"/>
              <a:gd name="connsiteX684" fmla="*/ 4320577 w 11161712"/>
              <a:gd name="connsiteY684" fmla="*/ 1257906 h 1720659"/>
              <a:gd name="connsiteX685" fmla="*/ 3177860 w 11161712"/>
              <a:gd name="connsiteY685" fmla="*/ 827905 h 1720659"/>
              <a:gd name="connsiteX686" fmla="*/ 2083981 w 11161712"/>
              <a:gd name="connsiteY686" fmla="*/ 281757 h 1720659"/>
              <a:gd name="connsiteX687" fmla="*/ 2020236 w 11161712"/>
              <a:gd name="connsiteY687" fmla="*/ 248558 h 1720659"/>
              <a:gd name="connsiteX688" fmla="*/ 1535114 w 11161712"/>
              <a:gd name="connsiteY688" fmla="*/ 0 h 1720659"/>
              <a:gd name="connsiteX689" fmla="*/ 1542338 w 11161712"/>
              <a:gd name="connsiteY689" fmla="*/ 0 h 1720659"/>
              <a:gd name="connsiteX690" fmla="*/ 2021748 w 11161712"/>
              <a:gd name="connsiteY690" fmla="*/ 245635 h 1720659"/>
              <a:gd name="connsiteX691" fmla="*/ 2085514 w 11161712"/>
              <a:gd name="connsiteY691" fmla="*/ 278835 h 1720659"/>
              <a:gd name="connsiteX692" fmla="*/ 4321459 w 11161712"/>
              <a:gd name="connsiteY692" fmla="*/ 1254736 h 1720659"/>
              <a:gd name="connsiteX693" fmla="*/ 5377880 w 11161712"/>
              <a:gd name="connsiteY693" fmla="*/ 1409901 h 1720659"/>
              <a:gd name="connsiteX694" fmla="*/ 5409207 w 11161712"/>
              <a:gd name="connsiteY694" fmla="*/ 1384285 h 1720659"/>
              <a:gd name="connsiteX695" fmla="*/ 5301305 w 11161712"/>
              <a:gd name="connsiteY695" fmla="*/ 1380506 h 1720659"/>
              <a:gd name="connsiteX696" fmla="*/ 4405487 w 11161712"/>
              <a:gd name="connsiteY696" fmla="*/ 1220470 h 1720659"/>
              <a:gd name="connsiteX697" fmla="*/ 3268902 w 11161712"/>
              <a:gd name="connsiteY697" fmla="*/ 780077 h 1720659"/>
              <a:gd name="connsiteX698" fmla="*/ 2182414 w 11161712"/>
              <a:gd name="connsiteY698" fmla="*/ 223572 h 1720659"/>
              <a:gd name="connsiteX699" fmla="*/ 2085199 w 11161712"/>
              <a:gd name="connsiteY699" fmla="*/ 171658 h 1720659"/>
              <a:gd name="connsiteX700" fmla="*/ 1761476 w 11161712"/>
              <a:gd name="connsiteY700" fmla="*/ 0 h 1720659"/>
              <a:gd name="connsiteX701" fmla="*/ 1767886 w 11161712"/>
              <a:gd name="connsiteY701" fmla="*/ 0 h 1720659"/>
              <a:gd name="connsiteX702" fmla="*/ 2086627 w 11161712"/>
              <a:gd name="connsiteY702" fmla="*/ 169008 h 1720659"/>
              <a:gd name="connsiteX703" fmla="*/ 2183841 w 11161712"/>
              <a:gd name="connsiteY703" fmla="*/ 220920 h 1720659"/>
              <a:gd name="connsiteX704" fmla="*/ 4406327 w 11161712"/>
              <a:gd name="connsiteY704" fmla="*/ 1217593 h 1720659"/>
              <a:gd name="connsiteX705" fmla="*/ 5412609 w 11161712"/>
              <a:gd name="connsiteY705" fmla="*/ 1381367 h 1720659"/>
              <a:gd name="connsiteX706" fmla="*/ 5444040 w 11161712"/>
              <a:gd name="connsiteY706" fmla="*/ 1353735 h 1720659"/>
              <a:gd name="connsiteX707" fmla="*/ 5417585 w 11161712"/>
              <a:gd name="connsiteY707" fmla="*/ 1352455 h 1720659"/>
              <a:gd name="connsiteX708" fmla="*/ 4490418 w 11161712"/>
              <a:gd name="connsiteY708" fmla="*/ 1183033 h 1720659"/>
              <a:gd name="connsiteX709" fmla="*/ 3357906 w 11161712"/>
              <a:gd name="connsiteY709" fmla="*/ 731616 h 1720659"/>
              <a:gd name="connsiteX710" fmla="*/ 2276835 w 11161712"/>
              <a:gd name="connsiteY710" fmla="*/ 164027 h 1720659"/>
              <a:gd name="connsiteX711" fmla="*/ 2150184 w 11161712"/>
              <a:gd name="connsiteY711" fmla="*/ 94762 h 1720659"/>
              <a:gd name="connsiteX712" fmla="*/ 1976130 w 11161712"/>
              <a:gd name="connsiteY712" fmla="*/ 0 h 1720659"/>
              <a:gd name="connsiteX713" fmla="*/ 1981782 w 11161712"/>
              <a:gd name="connsiteY713" fmla="*/ 0 h 1720659"/>
              <a:gd name="connsiteX714" fmla="*/ 2151485 w 11161712"/>
              <a:gd name="connsiteY714" fmla="*/ 92391 h 1720659"/>
              <a:gd name="connsiteX715" fmla="*/ 2278116 w 11161712"/>
              <a:gd name="connsiteY715" fmla="*/ 161659 h 1720659"/>
              <a:gd name="connsiteX716" fmla="*/ 4491196 w 11161712"/>
              <a:gd name="connsiteY716" fmla="*/ 1180451 h 1720659"/>
              <a:gd name="connsiteX717" fmla="*/ 5446896 w 11161712"/>
              <a:gd name="connsiteY717" fmla="*/ 1351152 h 1720659"/>
              <a:gd name="connsiteX718" fmla="*/ 5478874 w 11161712"/>
              <a:gd name="connsiteY718" fmla="*/ 1321085 h 1720659"/>
              <a:gd name="connsiteX719" fmla="*/ 4575349 w 11161712"/>
              <a:gd name="connsiteY719" fmla="*/ 1145596 h 1720659"/>
              <a:gd name="connsiteX720" fmla="*/ 3440254 w 11161712"/>
              <a:gd name="connsiteY720" fmla="*/ 679695 h 1720659"/>
              <a:gd name="connsiteX721" fmla="*/ 2357965 w 11161712"/>
              <a:gd name="connsiteY721" fmla="*/ 97783 h 1720659"/>
              <a:gd name="connsiteX722" fmla="*/ 2215168 w 11161712"/>
              <a:gd name="connsiteY722" fmla="*/ 17862 h 1720659"/>
              <a:gd name="connsiteX723" fmla="*/ 2182901 w 11161712"/>
              <a:gd name="connsiteY723" fmla="*/ 0 h 1720659"/>
              <a:gd name="connsiteX724" fmla="*/ 2187837 w 11161712"/>
              <a:gd name="connsiteY724" fmla="*/ 0 h 1720659"/>
              <a:gd name="connsiteX725" fmla="*/ 2216322 w 11161712"/>
              <a:gd name="connsiteY725" fmla="*/ 15769 h 1720659"/>
              <a:gd name="connsiteX726" fmla="*/ 2359142 w 11161712"/>
              <a:gd name="connsiteY726" fmla="*/ 95693 h 1720659"/>
              <a:gd name="connsiteX727" fmla="*/ 4576063 w 11161712"/>
              <a:gd name="connsiteY727" fmla="*/ 1143307 h 1720659"/>
              <a:gd name="connsiteX728" fmla="*/ 5481162 w 11161712"/>
              <a:gd name="connsiteY728" fmla="*/ 1318839 h 1720659"/>
              <a:gd name="connsiteX729" fmla="*/ 5512216 w 11161712"/>
              <a:gd name="connsiteY729" fmla="*/ 1287575 h 1720659"/>
              <a:gd name="connsiteX730" fmla="*/ 5410719 w 11161712"/>
              <a:gd name="connsiteY730" fmla="*/ 1276426 h 1720659"/>
              <a:gd name="connsiteX731" fmla="*/ 4660260 w 11161712"/>
              <a:gd name="connsiteY731" fmla="*/ 1108170 h 1720659"/>
              <a:gd name="connsiteX732" fmla="*/ 3530854 w 11161712"/>
              <a:gd name="connsiteY732" fmla="*/ 633017 h 1720659"/>
              <a:gd name="connsiteX733" fmla="*/ 2455557 w 11161712"/>
              <a:gd name="connsiteY733" fmla="*/ 41387 h 1720659"/>
              <a:gd name="connsiteX734" fmla="*/ 2382838 w 11161712"/>
              <a:gd name="connsiteY734" fmla="*/ 0 h 1720659"/>
              <a:gd name="connsiteX735" fmla="*/ 2387092 w 11161712"/>
              <a:gd name="connsiteY735" fmla="*/ 0 h 1720659"/>
              <a:gd name="connsiteX736" fmla="*/ 2456607 w 11161712"/>
              <a:gd name="connsiteY736" fmla="*/ 39563 h 1720659"/>
              <a:gd name="connsiteX737" fmla="*/ 4660910 w 11161712"/>
              <a:gd name="connsiteY737" fmla="*/ 1106171 h 1720659"/>
              <a:gd name="connsiteX738" fmla="*/ 5513644 w 11161712"/>
              <a:gd name="connsiteY738" fmla="*/ 1286126 h 1720659"/>
              <a:gd name="connsiteX739" fmla="*/ 5906028 w 11161712"/>
              <a:gd name="connsiteY739" fmla="*/ 733996 h 1720659"/>
              <a:gd name="connsiteX740" fmla="*/ 6471213 w 11161712"/>
              <a:gd name="connsiteY740" fmla="*/ 22687 h 1720659"/>
              <a:gd name="connsiteX741" fmla="*/ 6505689 w 11161712"/>
              <a:gd name="connsiteY741" fmla="*/ 0 h 1720659"/>
              <a:gd name="connsiteX742" fmla="*/ 6517654 w 11161712"/>
              <a:gd name="connsiteY742" fmla="*/ 0 h 1720659"/>
              <a:gd name="connsiteX743" fmla="*/ 6475012 w 11161712"/>
              <a:gd name="connsiteY743" fmla="*/ 27706 h 1720659"/>
              <a:gd name="connsiteX744" fmla="*/ 5911402 w 11161712"/>
              <a:gd name="connsiteY744" fmla="*/ 737260 h 1720659"/>
              <a:gd name="connsiteX745" fmla="*/ 5571972 w 11161712"/>
              <a:gd name="connsiteY745" fmla="*/ 1232669 h 1720659"/>
              <a:gd name="connsiteX746" fmla="*/ 5522441 w 11161712"/>
              <a:gd name="connsiteY746" fmla="*/ 1286987 h 1720659"/>
              <a:gd name="connsiteX747" fmla="*/ 5573064 w 11161712"/>
              <a:gd name="connsiteY747" fmla="*/ 1291375 h 1720659"/>
              <a:gd name="connsiteX748" fmla="*/ 5989867 w 11161712"/>
              <a:gd name="connsiteY748" fmla="*/ 750508 h 1720659"/>
              <a:gd name="connsiteX749" fmla="*/ 6433817 w 11161712"/>
              <a:gd name="connsiteY749" fmla="*/ 180479 h 1720659"/>
              <a:gd name="connsiteX750" fmla="*/ 6558537 w 11161712"/>
              <a:gd name="connsiteY750" fmla="*/ 75468 h 1720659"/>
              <a:gd name="connsiteX751" fmla="*/ 6673396 w 11161712"/>
              <a:gd name="connsiteY751" fmla="*/ 0 h 1720659"/>
              <a:gd name="connsiteX752" fmla="*/ 6683335 w 11161712"/>
              <a:gd name="connsiteY752" fmla="*/ 0 h 1720659"/>
              <a:gd name="connsiteX753" fmla="*/ 6562129 w 11161712"/>
              <a:gd name="connsiteY753" fmla="*/ 80273 h 1720659"/>
              <a:gd name="connsiteX754" fmla="*/ 6437913 w 11161712"/>
              <a:gd name="connsiteY754" fmla="*/ 184856 h 1720659"/>
              <a:gd name="connsiteX755" fmla="*/ 5994864 w 11161712"/>
              <a:gd name="connsiteY755" fmla="*/ 753811 h 1720659"/>
              <a:gd name="connsiteX756" fmla="*/ 5642269 w 11161712"/>
              <a:gd name="connsiteY756" fmla="*/ 1229121 h 1720659"/>
              <a:gd name="connsiteX757" fmla="*/ 5580329 w 11161712"/>
              <a:gd name="connsiteY757" fmla="*/ 1291963 h 1720659"/>
              <a:gd name="connsiteX758" fmla="*/ 5630531 w 11161712"/>
              <a:gd name="connsiteY758" fmla="*/ 1295532 h 1720659"/>
              <a:gd name="connsiteX759" fmla="*/ 6075890 w 11161712"/>
              <a:gd name="connsiteY759" fmla="*/ 765655 h 1720659"/>
              <a:gd name="connsiteX760" fmla="*/ 6521605 w 11161712"/>
              <a:gd name="connsiteY760" fmla="*/ 230650 h 1720659"/>
              <a:gd name="connsiteX761" fmla="*/ 6645862 w 11161712"/>
              <a:gd name="connsiteY761" fmla="*/ 128256 h 1720659"/>
              <a:gd name="connsiteX762" fmla="*/ 6785552 w 11161712"/>
              <a:gd name="connsiteY762" fmla="*/ 36612 h 1720659"/>
              <a:gd name="connsiteX763" fmla="*/ 6857825 w 11161712"/>
              <a:gd name="connsiteY763" fmla="*/ 0 h 1720659"/>
              <a:gd name="connsiteX764" fmla="*/ 6869285 w 11161712"/>
              <a:gd name="connsiteY764" fmla="*/ 0 h 1720659"/>
              <a:gd name="connsiteX765" fmla="*/ 6789167 w 11161712"/>
              <a:gd name="connsiteY765" fmla="*/ 40862 h 1720659"/>
              <a:gd name="connsiteX766" fmla="*/ 6649243 w 11161712"/>
              <a:gd name="connsiteY766" fmla="*/ 132841 h 1720659"/>
              <a:gd name="connsiteX767" fmla="*/ 6525447 w 11161712"/>
              <a:gd name="connsiteY767" fmla="*/ 234870 h 1720659"/>
              <a:gd name="connsiteX768" fmla="*/ 6080530 w 11161712"/>
              <a:gd name="connsiteY768" fmla="*/ 768988 h 1720659"/>
              <a:gd name="connsiteX769" fmla="*/ 5713720 w 11161712"/>
              <a:gd name="connsiteY769" fmla="*/ 1225047 h 1720659"/>
              <a:gd name="connsiteX770" fmla="*/ 5637965 w 11161712"/>
              <a:gd name="connsiteY770" fmla="*/ 1296016 h 1720659"/>
              <a:gd name="connsiteX771" fmla="*/ 5688672 w 11161712"/>
              <a:gd name="connsiteY771" fmla="*/ 1298787 h 1720659"/>
              <a:gd name="connsiteX772" fmla="*/ 6165041 w 11161712"/>
              <a:gd name="connsiteY772" fmla="*/ 779395 h 1720659"/>
              <a:gd name="connsiteX773" fmla="*/ 6609390 w 11161712"/>
              <a:gd name="connsiteY773" fmla="*/ 280825 h 1720659"/>
              <a:gd name="connsiteX774" fmla="*/ 6733187 w 11161712"/>
              <a:gd name="connsiteY774" fmla="*/ 181050 h 1720659"/>
              <a:gd name="connsiteX775" fmla="*/ 7020693 w 11161712"/>
              <a:gd name="connsiteY775" fmla="*/ 13078 h 1720659"/>
              <a:gd name="connsiteX776" fmla="*/ 7053372 w 11161712"/>
              <a:gd name="connsiteY776" fmla="*/ 0 h 1720659"/>
              <a:gd name="connsiteX777" fmla="*/ 7065547 w 11161712"/>
              <a:gd name="connsiteY777" fmla="*/ 0 h 1720659"/>
              <a:gd name="connsiteX778" fmla="*/ 7029270 w 11161712"/>
              <a:gd name="connsiteY778" fmla="*/ 14374 h 1720659"/>
              <a:gd name="connsiteX779" fmla="*/ 6736379 w 11161712"/>
              <a:gd name="connsiteY779" fmla="*/ 185400 h 1720659"/>
              <a:gd name="connsiteX780" fmla="*/ 6612960 w 11161712"/>
              <a:gd name="connsiteY780" fmla="*/ 284871 h 1720659"/>
              <a:gd name="connsiteX781" fmla="*/ 6169282 w 11161712"/>
              <a:gd name="connsiteY781" fmla="*/ 782721 h 1720659"/>
              <a:gd name="connsiteX782" fmla="*/ 5786956 w 11161712"/>
              <a:gd name="connsiteY782" fmla="*/ 1220974 h 1720659"/>
              <a:gd name="connsiteX783" fmla="*/ 5696376 w 11161712"/>
              <a:gd name="connsiteY783" fmla="*/ 1299124 h 1720659"/>
              <a:gd name="connsiteX784" fmla="*/ 5745887 w 11161712"/>
              <a:gd name="connsiteY784" fmla="*/ 1301033 h 1720659"/>
              <a:gd name="connsiteX785" fmla="*/ 6257803 w 11161712"/>
              <a:gd name="connsiteY785" fmla="*/ 790916 h 1720659"/>
              <a:gd name="connsiteX786" fmla="*/ 6697177 w 11161712"/>
              <a:gd name="connsiteY786" fmla="*/ 330995 h 1720659"/>
              <a:gd name="connsiteX787" fmla="*/ 6820511 w 11161712"/>
              <a:gd name="connsiteY787" fmla="*/ 233833 h 1720659"/>
              <a:gd name="connsiteX788" fmla="*/ 7107444 w 11161712"/>
              <a:gd name="connsiteY788" fmla="*/ 64610 h 1720659"/>
              <a:gd name="connsiteX789" fmla="*/ 7261125 w 11161712"/>
              <a:gd name="connsiteY789" fmla="*/ 0 h 1720659"/>
              <a:gd name="connsiteX790" fmla="*/ 7275652 w 11161712"/>
              <a:gd name="connsiteY790" fmla="*/ 0 h 1720659"/>
              <a:gd name="connsiteX791" fmla="*/ 7273034 w 11161712"/>
              <a:gd name="connsiteY791" fmla="*/ 837 h 1720659"/>
              <a:gd name="connsiteX792" fmla="*/ 6823494 w 11161712"/>
              <a:gd name="connsiteY792" fmla="*/ 237965 h 1720659"/>
              <a:gd name="connsiteX793" fmla="*/ 6700474 w 11161712"/>
              <a:gd name="connsiteY793" fmla="*/ 334879 h 1720659"/>
              <a:gd name="connsiteX794" fmla="*/ 6261667 w 11161712"/>
              <a:gd name="connsiteY794" fmla="*/ 794232 h 1720659"/>
              <a:gd name="connsiteX795" fmla="*/ 5861872 w 11161712"/>
              <a:gd name="connsiteY795" fmla="*/ 1215703 h 1720659"/>
              <a:gd name="connsiteX796" fmla="*/ 5753970 w 11161712"/>
              <a:gd name="connsiteY796" fmla="*/ 1301286 h 1720659"/>
              <a:gd name="connsiteX797" fmla="*/ 5802787 w 11161712"/>
              <a:gd name="connsiteY797" fmla="*/ 1302377 h 1720659"/>
              <a:gd name="connsiteX798" fmla="*/ 6355774 w 11161712"/>
              <a:gd name="connsiteY798" fmla="*/ 799799 h 1720659"/>
              <a:gd name="connsiteX799" fmla="*/ 6784964 w 11161712"/>
              <a:gd name="connsiteY799" fmla="*/ 381175 h 1720659"/>
              <a:gd name="connsiteX800" fmla="*/ 6907836 w 11161712"/>
              <a:gd name="connsiteY800" fmla="*/ 286622 h 1720659"/>
              <a:gd name="connsiteX801" fmla="*/ 7384568 w 11161712"/>
              <a:gd name="connsiteY801" fmla="*/ 34165 h 1720659"/>
              <a:gd name="connsiteX802" fmla="*/ 7486630 w 11161712"/>
              <a:gd name="connsiteY802" fmla="*/ 0 h 1720659"/>
              <a:gd name="connsiteX803" fmla="*/ 7502084 w 11161712"/>
              <a:gd name="connsiteY803" fmla="*/ 0 h 1720659"/>
              <a:gd name="connsiteX804" fmla="*/ 7391799 w 11161712"/>
              <a:gd name="connsiteY804" fmla="*/ 36567 h 1720659"/>
              <a:gd name="connsiteX805" fmla="*/ 6910629 w 11161712"/>
              <a:gd name="connsiteY805" fmla="*/ 290528 h 1720659"/>
              <a:gd name="connsiteX806" fmla="*/ 6788008 w 11161712"/>
              <a:gd name="connsiteY806" fmla="*/ 384878 h 1720659"/>
              <a:gd name="connsiteX807" fmla="*/ 6359280 w 11161712"/>
              <a:gd name="connsiteY807" fmla="*/ 803079 h 1720659"/>
              <a:gd name="connsiteX808" fmla="*/ 5811417 w 11161712"/>
              <a:gd name="connsiteY808" fmla="*/ 1302483 h 1720659"/>
              <a:gd name="connsiteX809" fmla="*/ 5859373 w 11161712"/>
              <a:gd name="connsiteY809" fmla="*/ 1302756 h 1720659"/>
              <a:gd name="connsiteX810" fmla="*/ 6461092 w 11161712"/>
              <a:gd name="connsiteY810" fmla="*/ 805116 h 1720659"/>
              <a:gd name="connsiteX811" fmla="*/ 6872751 w 11161712"/>
              <a:gd name="connsiteY811" fmla="*/ 431354 h 1720659"/>
              <a:gd name="connsiteX812" fmla="*/ 6995161 w 11161712"/>
              <a:gd name="connsiteY812" fmla="*/ 339408 h 1720659"/>
              <a:gd name="connsiteX813" fmla="*/ 7552895 w 11161712"/>
              <a:gd name="connsiteY813" fmla="*/ 49594 h 1720659"/>
              <a:gd name="connsiteX814" fmla="*/ 7701527 w 11161712"/>
              <a:gd name="connsiteY814" fmla="*/ 0 h 1720659"/>
              <a:gd name="connsiteX815" fmla="*/ 7722343 w 11161712"/>
              <a:gd name="connsiteY815" fmla="*/ 0 h 1720659"/>
              <a:gd name="connsiteX816" fmla="*/ 7647398 w 11161712"/>
              <a:gd name="connsiteY816" fmla="*/ 21863 h 1720659"/>
              <a:gd name="connsiteX817" fmla="*/ 6997744 w 11161712"/>
              <a:gd name="connsiteY817" fmla="*/ 343093 h 1720659"/>
              <a:gd name="connsiteX818" fmla="*/ 6875544 w 11161712"/>
              <a:gd name="connsiteY818" fmla="*/ 434880 h 1720659"/>
              <a:gd name="connsiteX819" fmla="*/ 6464221 w 11161712"/>
              <a:gd name="connsiteY819" fmla="*/ 808341 h 1720659"/>
              <a:gd name="connsiteX820" fmla="*/ 5868359 w 11161712"/>
              <a:gd name="connsiteY820" fmla="*/ 1302735 h 1720659"/>
              <a:gd name="connsiteX821" fmla="*/ 5915622 w 11161712"/>
              <a:gd name="connsiteY821" fmla="*/ 1302231 h 1720659"/>
              <a:gd name="connsiteX822" fmla="*/ 6577077 w 11161712"/>
              <a:gd name="connsiteY822" fmla="*/ 805418 h 1720659"/>
              <a:gd name="connsiteX823" fmla="*/ 6960517 w 11161712"/>
              <a:gd name="connsiteY823" fmla="*/ 481540 h 1720659"/>
              <a:gd name="connsiteX824" fmla="*/ 7082486 w 11161712"/>
              <a:gd name="connsiteY824" fmla="*/ 392203 h 1720659"/>
              <a:gd name="connsiteX825" fmla="*/ 7635787 w 11161712"/>
              <a:gd name="connsiteY825" fmla="*/ 95007 h 1720659"/>
              <a:gd name="connsiteX826" fmla="*/ 7912464 w 11161712"/>
              <a:gd name="connsiteY826" fmla="*/ 0 h 1720659"/>
              <a:gd name="connsiteX827" fmla="*/ 7932856 w 11161712"/>
              <a:gd name="connsiteY827" fmla="*/ 0 h 1720659"/>
              <a:gd name="connsiteX828" fmla="*/ 7848839 w 11161712"/>
              <a:gd name="connsiteY828" fmla="*/ 24524 h 1720659"/>
              <a:gd name="connsiteX829" fmla="*/ 7084879 w 11161712"/>
              <a:gd name="connsiteY829" fmla="*/ 395654 h 1720659"/>
              <a:gd name="connsiteX830" fmla="*/ 6963078 w 11161712"/>
              <a:gd name="connsiteY830" fmla="*/ 484877 h 1720659"/>
              <a:gd name="connsiteX831" fmla="*/ 6579871 w 11161712"/>
              <a:gd name="connsiteY831" fmla="*/ 808557 h 1720659"/>
              <a:gd name="connsiteX832" fmla="*/ 5925092 w 11161712"/>
              <a:gd name="connsiteY832" fmla="*/ 1302042 h 1720659"/>
              <a:gd name="connsiteX833" fmla="*/ 5971495 w 11161712"/>
              <a:gd name="connsiteY833" fmla="*/ 1300782 h 1720659"/>
              <a:gd name="connsiteX834" fmla="*/ 6709271 w 11161712"/>
              <a:gd name="connsiteY834" fmla="*/ 798185 h 1720659"/>
              <a:gd name="connsiteX835" fmla="*/ 7048303 w 11161712"/>
              <a:gd name="connsiteY835" fmla="*/ 531734 h 1720659"/>
              <a:gd name="connsiteX836" fmla="*/ 7169789 w 11161712"/>
              <a:gd name="connsiteY836" fmla="*/ 444998 h 1720659"/>
              <a:gd name="connsiteX837" fmla="*/ 7732707 w 11161712"/>
              <a:gd name="connsiteY837" fmla="*/ 134210 h 1720659"/>
              <a:gd name="connsiteX838" fmla="*/ 8026769 w 11161712"/>
              <a:gd name="connsiteY838" fmla="*/ 21095 h 1720659"/>
              <a:gd name="connsiteX839" fmla="*/ 8099774 w 11161712"/>
              <a:gd name="connsiteY839" fmla="*/ 0 h 1720659"/>
              <a:gd name="connsiteX840" fmla="*/ 8108300 w 11161712"/>
              <a:gd name="connsiteY840" fmla="*/ 0 h 1720659"/>
              <a:gd name="connsiteX841" fmla="*/ 8090280 w 11161712"/>
              <a:gd name="connsiteY841" fmla="*/ 5251 h 1720659"/>
              <a:gd name="connsiteX842" fmla="*/ 7171994 w 11161712"/>
              <a:gd name="connsiteY842" fmla="*/ 448210 h 1720659"/>
              <a:gd name="connsiteX843" fmla="*/ 7050613 w 11161712"/>
              <a:gd name="connsiteY843" fmla="*/ 534863 h 1720659"/>
              <a:gd name="connsiteX844" fmla="*/ 6711749 w 11161712"/>
              <a:gd name="connsiteY844" fmla="*/ 801204 h 1720659"/>
              <a:gd name="connsiteX845" fmla="*/ 6201849 w 11161712"/>
              <a:gd name="connsiteY845" fmla="*/ 1181227 h 1720659"/>
              <a:gd name="connsiteX846" fmla="*/ 5982476 w 11161712"/>
              <a:gd name="connsiteY846" fmla="*/ 1300383 h 1720659"/>
              <a:gd name="connsiteX847" fmla="*/ 6026947 w 11161712"/>
              <a:gd name="connsiteY847" fmla="*/ 1298430 h 1720659"/>
              <a:gd name="connsiteX848" fmla="*/ 6867690 w 11161712"/>
              <a:gd name="connsiteY848" fmla="*/ 778620 h 1720659"/>
              <a:gd name="connsiteX849" fmla="*/ 7136069 w 11161712"/>
              <a:gd name="connsiteY849" fmla="*/ 581919 h 1720659"/>
              <a:gd name="connsiteX850" fmla="*/ 7257114 w 11161712"/>
              <a:gd name="connsiteY850" fmla="*/ 497785 h 1720659"/>
              <a:gd name="connsiteX851" fmla="*/ 7809576 w 11161712"/>
              <a:gd name="connsiteY851" fmla="*/ 177966 h 1720659"/>
              <a:gd name="connsiteX852" fmla="*/ 8100333 w 11161712"/>
              <a:gd name="connsiteY852" fmla="*/ 48824 h 1720659"/>
              <a:gd name="connsiteX853" fmla="*/ 8237159 w 11161712"/>
              <a:gd name="connsiteY853" fmla="*/ 0 h 1720659"/>
              <a:gd name="connsiteX854" fmla="*/ 8244262 w 11161712"/>
              <a:gd name="connsiteY854" fmla="*/ 0 h 1720659"/>
              <a:gd name="connsiteX855" fmla="*/ 8156420 w 11161712"/>
              <a:gd name="connsiteY855" fmla="*/ 29736 h 1720659"/>
              <a:gd name="connsiteX856" fmla="*/ 7259130 w 11161712"/>
              <a:gd name="connsiteY856" fmla="*/ 500773 h 1720659"/>
              <a:gd name="connsiteX857" fmla="*/ 7138147 w 11161712"/>
              <a:gd name="connsiteY857" fmla="*/ 584854 h 1720659"/>
              <a:gd name="connsiteX858" fmla="*/ 6869831 w 11161712"/>
              <a:gd name="connsiteY858" fmla="*/ 781511 h 1720659"/>
              <a:gd name="connsiteX859" fmla="*/ 6309266 w 11161712"/>
              <a:gd name="connsiteY859" fmla="*/ 1165627 h 1720659"/>
              <a:gd name="connsiteX860" fmla="*/ 6039376 w 11161712"/>
              <a:gd name="connsiteY860" fmla="*/ 1297800 h 1720659"/>
              <a:gd name="connsiteX861" fmla="*/ 6084456 w 11161712"/>
              <a:gd name="connsiteY861" fmla="*/ 1295050 h 1720659"/>
              <a:gd name="connsiteX862" fmla="*/ 7072113 w 11161712"/>
              <a:gd name="connsiteY862" fmla="*/ 736453 h 1720659"/>
              <a:gd name="connsiteX863" fmla="*/ 7223834 w 11161712"/>
              <a:gd name="connsiteY863" fmla="*/ 632117 h 1720659"/>
              <a:gd name="connsiteX864" fmla="*/ 7344439 w 11161712"/>
              <a:gd name="connsiteY864" fmla="*/ 550579 h 1720659"/>
              <a:gd name="connsiteX865" fmla="*/ 8179100 w 11161712"/>
              <a:gd name="connsiteY865" fmla="*/ 86558 h 1720659"/>
              <a:gd name="connsiteX866" fmla="*/ 8390660 w 11161712"/>
              <a:gd name="connsiteY866" fmla="*/ 0 h 1720659"/>
              <a:gd name="connsiteX867" fmla="*/ 8399624 w 11161712"/>
              <a:gd name="connsiteY867" fmla="*/ 0 h 1720659"/>
              <a:gd name="connsiteX868" fmla="*/ 8240062 w 11161712"/>
              <a:gd name="connsiteY868" fmla="*/ 62322 h 1720659"/>
              <a:gd name="connsiteX869" fmla="*/ 7346265 w 11161712"/>
              <a:gd name="connsiteY869" fmla="*/ 553331 h 1720659"/>
              <a:gd name="connsiteX870" fmla="*/ 7225682 w 11161712"/>
              <a:gd name="connsiteY870" fmla="*/ 634842 h 1720659"/>
              <a:gd name="connsiteX871" fmla="*/ 7073982 w 11161712"/>
              <a:gd name="connsiteY871" fmla="*/ 739171 h 1720659"/>
              <a:gd name="connsiteX872" fmla="*/ 6439046 w 11161712"/>
              <a:gd name="connsiteY872" fmla="*/ 1142951 h 1720659"/>
              <a:gd name="connsiteX873" fmla="*/ 6096509 w 11161712"/>
              <a:gd name="connsiteY873" fmla="*/ 1294210 h 1720659"/>
              <a:gd name="connsiteX874" fmla="*/ 6136149 w 11161712"/>
              <a:gd name="connsiteY874" fmla="*/ 1291144 h 1720659"/>
              <a:gd name="connsiteX875" fmla="*/ 7311579 w 11161712"/>
              <a:gd name="connsiteY875" fmla="*/ 682318 h 1720659"/>
              <a:gd name="connsiteX876" fmla="*/ 7332722 w 11161712"/>
              <a:gd name="connsiteY876" fmla="*/ 668412 h 1720659"/>
              <a:gd name="connsiteX877" fmla="*/ 7431742 w 11161712"/>
              <a:gd name="connsiteY877" fmla="*/ 603377 h 1720659"/>
              <a:gd name="connsiteX878" fmla="*/ 8267900 w 11161712"/>
              <a:gd name="connsiteY878" fmla="*/ 111627 h 1720659"/>
              <a:gd name="connsiteX879" fmla="*/ 8504252 w 11161712"/>
              <a:gd name="connsiteY879" fmla="*/ 0 h 1720659"/>
              <a:gd name="connsiteX880" fmla="*/ 8516585 w 11161712"/>
              <a:gd name="connsiteY880" fmla="*/ 0 h 1720659"/>
              <a:gd name="connsiteX881" fmla="*/ 8282734 w 11161712"/>
              <a:gd name="connsiteY881" fmla="*/ 107767 h 1720659"/>
              <a:gd name="connsiteX882" fmla="*/ 7433380 w 11161712"/>
              <a:gd name="connsiteY882" fmla="*/ 605888 h 1720659"/>
              <a:gd name="connsiteX883" fmla="*/ 7334361 w 11161712"/>
              <a:gd name="connsiteY883" fmla="*/ 670914 h 1720659"/>
              <a:gd name="connsiteX884" fmla="*/ 7313238 w 11161712"/>
              <a:gd name="connsiteY884" fmla="*/ 684825 h 1720659"/>
              <a:gd name="connsiteX885" fmla="*/ 6585434 w 11161712"/>
              <a:gd name="connsiteY885" fmla="*/ 1118972 h 1720659"/>
              <a:gd name="connsiteX886" fmla="*/ 6154395 w 11161712"/>
              <a:gd name="connsiteY886" fmla="*/ 1289591 h 1720659"/>
              <a:gd name="connsiteX887" fmla="*/ 6189103 w 11161712"/>
              <a:gd name="connsiteY887" fmla="*/ 1286315 h 1720659"/>
              <a:gd name="connsiteX888" fmla="*/ 7399344 w 11161712"/>
              <a:gd name="connsiteY888" fmla="*/ 732518 h 1720659"/>
              <a:gd name="connsiteX889" fmla="*/ 7519066 w 11161712"/>
              <a:gd name="connsiteY889" fmla="*/ 656170 h 1720659"/>
              <a:gd name="connsiteX890" fmla="*/ 7641813 w 11161712"/>
              <a:gd name="connsiteY890" fmla="*/ 577011 h 1720659"/>
              <a:gd name="connsiteX891" fmla="*/ 8384077 w 11161712"/>
              <a:gd name="connsiteY891" fmla="*/ 119264 h 1720659"/>
              <a:gd name="connsiteX892" fmla="*/ 8609170 w 11161712"/>
              <a:gd name="connsiteY892" fmla="*/ 0 h 1720659"/>
              <a:gd name="connsiteX893" fmla="*/ 8615088 w 11161712"/>
              <a:gd name="connsiteY893" fmla="*/ 0 h 1720659"/>
              <a:gd name="connsiteX894" fmla="*/ 8387129 w 11161712"/>
              <a:gd name="connsiteY894" fmla="*/ 120658 h 1720659"/>
              <a:gd name="connsiteX895" fmla="*/ 7643283 w 11161712"/>
              <a:gd name="connsiteY895" fmla="*/ 579277 h 1720659"/>
              <a:gd name="connsiteX896" fmla="*/ 7520516 w 11161712"/>
              <a:gd name="connsiteY896" fmla="*/ 658440 h 1720659"/>
              <a:gd name="connsiteX897" fmla="*/ 7400793 w 11161712"/>
              <a:gd name="connsiteY897" fmla="*/ 734803 h 1720659"/>
              <a:gd name="connsiteX898" fmla="*/ 6657768 w 11161712"/>
              <a:gd name="connsiteY898" fmla="*/ 1135409 h 1720659"/>
              <a:gd name="connsiteX899" fmla="*/ 6212388 w 11161712"/>
              <a:gd name="connsiteY899" fmla="*/ 1283943 h 1720659"/>
              <a:gd name="connsiteX900" fmla="*/ 6239453 w 11161712"/>
              <a:gd name="connsiteY900" fmla="*/ 1280961 h 1720659"/>
              <a:gd name="connsiteX901" fmla="*/ 7487110 w 11161712"/>
              <a:gd name="connsiteY901" fmla="*/ 782721 h 1720659"/>
              <a:gd name="connsiteX902" fmla="*/ 7606370 w 11161712"/>
              <a:gd name="connsiteY902" fmla="*/ 708966 h 1720659"/>
              <a:gd name="connsiteX903" fmla="*/ 8027540 w 11161712"/>
              <a:gd name="connsiteY903" fmla="*/ 430968 h 1720659"/>
              <a:gd name="connsiteX904" fmla="*/ 8694370 w 11161712"/>
              <a:gd name="connsiteY904" fmla="*/ 3789 h 1720659"/>
              <a:gd name="connsiteX905" fmla="*/ 8683459 w 11161712"/>
              <a:gd name="connsiteY905" fmla="*/ 0 h 1720659"/>
              <a:gd name="connsiteX906" fmla="*/ 8706110 w 11161712"/>
              <a:gd name="connsiteY906" fmla="*/ 0 h 1720659"/>
              <a:gd name="connsiteX907" fmla="*/ 8705351 w 11161712"/>
              <a:gd name="connsiteY907" fmla="*/ 431 h 1720659"/>
              <a:gd name="connsiteX908" fmla="*/ 8757570 w 11161712"/>
              <a:gd name="connsiteY908" fmla="*/ 19101 h 1720659"/>
              <a:gd name="connsiteX909" fmla="*/ 8786762 w 11161712"/>
              <a:gd name="connsiteY909" fmla="*/ 0 h 1720659"/>
              <a:gd name="connsiteX910" fmla="*/ 8790785 w 11161712"/>
              <a:gd name="connsiteY910" fmla="*/ 0 h 1720659"/>
              <a:gd name="connsiteX911" fmla="*/ 8760131 w 11161712"/>
              <a:gd name="connsiteY911" fmla="*/ 20027 h 1720659"/>
              <a:gd name="connsiteX912" fmla="*/ 9235010 w 11161712"/>
              <a:gd name="connsiteY912" fmla="*/ 207224 h 1720659"/>
              <a:gd name="connsiteX913" fmla="*/ 10666891 w 11161712"/>
              <a:gd name="connsiteY913" fmla="*/ 972012 h 1720659"/>
              <a:gd name="connsiteX914" fmla="*/ 10974606 w 11161712"/>
              <a:gd name="connsiteY914" fmla="*/ 1176918 h 1720659"/>
              <a:gd name="connsiteX915" fmla="*/ 11161712 w 11161712"/>
              <a:gd name="connsiteY915" fmla="*/ 1309357 h 1720659"/>
              <a:gd name="connsiteX916" fmla="*/ 11161712 w 11161712"/>
              <a:gd name="connsiteY916" fmla="*/ 1316758 h 1720659"/>
              <a:gd name="connsiteX917" fmla="*/ 11089471 w 11161712"/>
              <a:gd name="connsiteY917" fmla="*/ 1264624 h 1720659"/>
              <a:gd name="connsiteX918" fmla="*/ 9232575 w 11161712"/>
              <a:gd name="connsiteY918" fmla="*/ 213034 h 1720659"/>
              <a:gd name="connsiteX919" fmla="*/ 8753055 w 11161712"/>
              <a:gd name="connsiteY919" fmla="*/ 24682 h 1720659"/>
              <a:gd name="connsiteX920" fmla="*/ 8279079 w 11161712"/>
              <a:gd name="connsiteY920" fmla="*/ 358911 h 1720659"/>
              <a:gd name="connsiteX921" fmla="*/ 7575904 w 11161712"/>
              <a:gd name="connsiteY921" fmla="*/ 834755 h 1720659"/>
              <a:gd name="connsiteX922" fmla="*/ 6873632 w 11161712"/>
              <a:gd name="connsiteY922" fmla="*/ 1146332 h 1720659"/>
              <a:gd name="connsiteX923" fmla="*/ 6811576 w 11161712"/>
              <a:gd name="connsiteY923" fmla="*/ 1162898 h 1720659"/>
              <a:gd name="connsiteX924" fmla="*/ 6938360 w 11161712"/>
              <a:gd name="connsiteY924" fmla="*/ 1123134 h 1720659"/>
              <a:gd name="connsiteX925" fmla="*/ 7574855 w 11161712"/>
              <a:gd name="connsiteY925" fmla="*/ 832930 h 1720659"/>
              <a:gd name="connsiteX926" fmla="*/ 8277861 w 11161712"/>
              <a:gd name="connsiteY926" fmla="*/ 357215 h 1720659"/>
              <a:gd name="connsiteX927" fmla="*/ 8750494 w 11161712"/>
              <a:gd name="connsiteY927" fmla="*/ 23756 h 1720659"/>
              <a:gd name="connsiteX928" fmla="*/ 8697540 w 11161712"/>
              <a:gd name="connsiteY928" fmla="*/ 4904 h 1720659"/>
              <a:gd name="connsiteX929" fmla="*/ 8028884 w 11161712"/>
              <a:gd name="connsiteY929" fmla="*/ 432956 h 1720659"/>
              <a:gd name="connsiteX930" fmla="*/ 7607651 w 11161712"/>
              <a:gd name="connsiteY930" fmla="*/ 710992 h 1720659"/>
              <a:gd name="connsiteX931" fmla="*/ 7488349 w 11161712"/>
              <a:gd name="connsiteY931" fmla="*/ 784776 h 1720659"/>
              <a:gd name="connsiteX932" fmla="*/ 6276512 w 11161712"/>
              <a:gd name="connsiteY932" fmla="*/ 1276489 h 1720659"/>
              <a:gd name="connsiteX933" fmla="*/ 6303984 w 11161712"/>
              <a:gd name="connsiteY933" fmla="*/ 1272312 h 1720659"/>
              <a:gd name="connsiteX934" fmla="*/ 6256019 w 11161712"/>
              <a:gd name="connsiteY934" fmla="*/ 1280373 h 1720659"/>
              <a:gd name="connsiteX935" fmla="*/ 6151729 w 11161712"/>
              <a:gd name="connsiteY935" fmla="*/ 1297842 h 1720659"/>
              <a:gd name="connsiteX936" fmla="*/ 6049077 w 11161712"/>
              <a:gd name="connsiteY936" fmla="*/ 1317958 h 1720659"/>
              <a:gd name="connsiteX937" fmla="*/ 5945627 w 11161712"/>
              <a:gd name="connsiteY937" fmla="*/ 1340550 h 1720659"/>
              <a:gd name="connsiteX938" fmla="*/ 5847468 w 11161712"/>
              <a:gd name="connsiteY938" fmla="*/ 1364003 h 1720659"/>
              <a:gd name="connsiteX939" fmla="*/ 5751934 w 11161712"/>
              <a:gd name="connsiteY939" fmla="*/ 1388485 h 1720659"/>
              <a:gd name="connsiteX940" fmla="*/ 5657827 w 11161712"/>
              <a:gd name="connsiteY940" fmla="*/ 1413932 h 1720659"/>
              <a:gd name="connsiteX941" fmla="*/ 5567206 w 11161712"/>
              <a:gd name="connsiteY941" fmla="*/ 1439611 h 1720659"/>
              <a:gd name="connsiteX942" fmla="*/ 5477908 w 11161712"/>
              <a:gd name="connsiteY942" fmla="*/ 1465878 h 1720659"/>
              <a:gd name="connsiteX943" fmla="*/ 5406309 w 11161712"/>
              <a:gd name="connsiteY943" fmla="*/ 1488029 h 1720659"/>
              <a:gd name="connsiteX944" fmla="*/ 5390436 w 11161712"/>
              <a:gd name="connsiteY944" fmla="*/ 1492396 h 1720659"/>
              <a:gd name="connsiteX945" fmla="*/ 5339919 w 11161712"/>
              <a:gd name="connsiteY945" fmla="*/ 1508816 h 1720659"/>
              <a:gd name="connsiteX946" fmla="*/ 5302272 w 11161712"/>
              <a:gd name="connsiteY946" fmla="*/ 1519798 h 1720659"/>
              <a:gd name="connsiteX947" fmla="*/ 5273527 w 11161712"/>
              <a:gd name="connsiteY947" fmla="*/ 1529582 h 1720659"/>
              <a:gd name="connsiteX948" fmla="*/ 5214506 w 11161712"/>
              <a:gd name="connsiteY948" fmla="*/ 1547723 h 1720659"/>
              <a:gd name="connsiteX949" fmla="*/ 5207136 w 11161712"/>
              <a:gd name="connsiteY949" fmla="*/ 1550368 h 1720659"/>
              <a:gd name="connsiteX950" fmla="*/ 5128882 w 11161712"/>
              <a:gd name="connsiteY950" fmla="*/ 1575438 h 1720659"/>
              <a:gd name="connsiteX951" fmla="*/ 5042018 w 11161712"/>
              <a:gd name="connsiteY951" fmla="*/ 1604162 h 1720659"/>
              <a:gd name="connsiteX952" fmla="*/ 4368678 w 11161712"/>
              <a:gd name="connsiteY952" fmla="*/ 1720091 h 17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Lst>
            <a:rect l="l" t="t" r="r" b="b"/>
            <a:pathLst>
              <a:path w="11161712" h="1720659">
                <a:moveTo>
                  <a:pt x="11161712" y="26688"/>
                </a:moveTo>
                <a:lnTo>
                  <a:pt x="11109137" y="0"/>
                </a:lnTo>
                <a:lnTo>
                  <a:pt x="11115892" y="0"/>
                </a:lnTo>
                <a:lnTo>
                  <a:pt x="11161712" y="23232"/>
                </a:lnTo>
                <a:close/>
                <a:moveTo>
                  <a:pt x="11161712" y="132138"/>
                </a:moveTo>
                <a:lnTo>
                  <a:pt x="10978896" y="31468"/>
                </a:lnTo>
                <a:lnTo>
                  <a:pt x="10911703" y="0"/>
                </a:lnTo>
                <a:lnTo>
                  <a:pt x="10921267" y="0"/>
                </a:lnTo>
                <a:lnTo>
                  <a:pt x="11161712" y="126568"/>
                </a:lnTo>
                <a:close/>
                <a:moveTo>
                  <a:pt x="11161712" y="235220"/>
                </a:moveTo>
                <a:lnTo>
                  <a:pt x="10874818" y="78620"/>
                </a:lnTo>
                <a:cubicBezTo>
                  <a:pt x="10825513" y="53804"/>
                  <a:pt x="10775874" y="29953"/>
                  <a:pt x="10725903" y="7221"/>
                </a:cubicBezTo>
                <a:lnTo>
                  <a:pt x="10709059" y="0"/>
                </a:lnTo>
                <a:lnTo>
                  <a:pt x="10719534" y="0"/>
                </a:lnTo>
                <a:lnTo>
                  <a:pt x="10872574" y="73079"/>
                </a:lnTo>
                <a:lnTo>
                  <a:pt x="11161712" y="230734"/>
                </a:lnTo>
                <a:close/>
                <a:moveTo>
                  <a:pt x="11161712" y="349211"/>
                </a:moveTo>
                <a:lnTo>
                  <a:pt x="11129211" y="329228"/>
                </a:lnTo>
                <a:cubicBezTo>
                  <a:pt x="10931686" y="213958"/>
                  <a:pt x="10732354" y="111110"/>
                  <a:pt x="10529656" y="26805"/>
                </a:cubicBezTo>
                <a:lnTo>
                  <a:pt x="10461056" y="0"/>
                </a:lnTo>
                <a:lnTo>
                  <a:pt x="10470368" y="0"/>
                </a:lnTo>
                <a:lnTo>
                  <a:pt x="10529128" y="22763"/>
                </a:lnTo>
                <a:cubicBezTo>
                  <a:pt x="10638359" y="67970"/>
                  <a:pt x="10749582" y="119725"/>
                  <a:pt x="10863168" y="178141"/>
                </a:cubicBezTo>
                <a:lnTo>
                  <a:pt x="11161712" y="343408"/>
                </a:lnTo>
                <a:close/>
                <a:moveTo>
                  <a:pt x="11161712" y="445746"/>
                </a:moveTo>
                <a:lnTo>
                  <a:pt x="11154687" y="441205"/>
                </a:lnTo>
                <a:cubicBezTo>
                  <a:pt x="10906470" y="288092"/>
                  <a:pt x="10648710" y="149561"/>
                  <a:pt x="10381294" y="43411"/>
                </a:cubicBezTo>
                <a:lnTo>
                  <a:pt x="10263704" y="0"/>
                </a:lnTo>
                <a:lnTo>
                  <a:pt x="10274854" y="0"/>
                </a:lnTo>
                <a:lnTo>
                  <a:pt x="10365980" y="33276"/>
                </a:lnTo>
                <a:cubicBezTo>
                  <a:pt x="10519572" y="93404"/>
                  <a:pt x="10676645" y="166971"/>
                  <a:pt x="10842151" y="256174"/>
                </a:cubicBezTo>
                <a:cubicBezTo>
                  <a:pt x="10946624" y="312484"/>
                  <a:pt x="11049865" y="372649"/>
                  <a:pt x="11151450" y="435179"/>
                </a:cubicBezTo>
                <a:lnTo>
                  <a:pt x="11161712" y="441801"/>
                </a:lnTo>
                <a:close/>
                <a:moveTo>
                  <a:pt x="11161712" y="552681"/>
                </a:moveTo>
                <a:lnTo>
                  <a:pt x="11160475" y="551866"/>
                </a:lnTo>
                <a:cubicBezTo>
                  <a:pt x="10808394" y="329544"/>
                  <a:pt x="10429950" y="128975"/>
                  <a:pt x="10032061" y="3091"/>
                </a:cubicBezTo>
                <a:lnTo>
                  <a:pt x="10021279" y="0"/>
                </a:lnTo>
                <a:lnTo>
                  <a:pt x="10034898" y="0"/>
                </a:lnTo>
                <a:lnTo>
                  <a:pt x="10145710" y="36114"/>
                </a:lnTo>
                <a:cubicBezTo>
                  <a:pt x="10362972" y="112835"/>
                  <a:pt x="10586894" y="215398"/>
                  <a:pt x="10820544" y="344882"/>
                </a:cubicBezTo>
                <a:cubicBezTo>
                  <a:pt x="10920991" y="400548"/>
                  <a:pt x="11019623" y="458972"/>
                  <a:pt x="11117486" y="519992"/>
                </a:cubicBezTo>
                <a:lnTo>
                  <a:pt x="11161712" y="548838"/>
                </a:lnTo>
                <a:close/>
                <a:moveTo>
                  <a:pt x="11161712" y="662474"/>
                </a:moveTo>
                <a:lnTo>
                  <a:pt x="11062969" y="597486"/>
                </a:lnTo>
                <a:cubicBezTo>
                  <a:pt x="10651261" y="338172"/>
                  <a:pt x="10239455" y="129714"/>
                  <a:pt x="9803001" y="7836"/>
                </a:cubicBezTo>
                <a:lnTo>
                  <a:pt x="9771928" y="0"/>
                </a:lnTo>
                <a:lnTo>
                  <a:pt x="9789858" y="0"/>
                </a:lnTo>
                <a:lnTo>
                  <a:pt x="9790231" y="94"/>
                </a:lnTo>
                <a:cubicBezTo>
                  <a:pt x="10112238" y="89281"/>
                  <a:pt x="10444973" y="232534"/>
                  <a:pt x="10798897" y="433836"/>
                </a:cubicBezTo>
                <a:cubicBezTo>
                  <a:pt x="10903365" y="493255"/>
                  <a:pt x="11006077" y="555513"/>
                  <a:pt x="11107562" y="620062"/>
                </a:cubicBezTo>
                <a:lnTo>
                  <a:pt x="11161712" y="656000"/>
                </a:lnTo>
                <a:close/>
                <a:moveTo>
                  <a:pt x="11161712" y="770292"/>
                </a:moveTo>
                <a:lnTo>
                  <a:pt x="11068223" y="707603"/>
                </a:lnTo>
                <a:cubicBezTo>
                  <a:pt x="10599592" y="405890"/>
                  <a:pt x="10118727" y="157723"/>
                  <a:pt x="9603892" y="21172"/>
                </a:cubicBezTo>
                <a:lnTo>
                  <a:pt x="9515263" y="0"/>
                </a:lnTo>
                <a:lnTo>
                  <a:pt x="9536577" y="0"/>
                </a:lnTo>
                <a:lnTo>
                  <a:pt x="9593422" y="13495"/>
                </a:lnTo>
                <a:cubicBezTo>
                  <a:pt x="9971512" y="112635"/>
                  <a:pt x="10360494" y="280195"/>
                  <a:pt x="10777208" y="523038"/>
                </a:cubicBezTo>
                <a:cubicBezTo>
                  <a:pt x="10886096" y="586493"/>
                  <a:pt x="10994215" y="653584"/>
                  <a:pt x="11100808" y="722786"/>
                </a:cubicBezTo>
                <a:lnTo>
                  <a:pt x="11161712" y="763927"/>
                </a:lnTo>
                <a:close/>
                <a:moveTo>
                  <a:pt x="11161712" y="878534"/>
                </a:moveTo>
                <a:lnTo>
                  <a:pt x="11075889" y="819953"/>
                </a:lnTo>
                <a:cubicBezTo>
                  <a:pt x="10549714" y="474061"/>
                  <a:pt x="9992199" y="179629"/>
                  <a:pt x="9391330" y="26511"/>
                </a:cubicBezTo>
                <a:lnTo>
                  <a:pt x="9278604" y="0"/>
                </a:lnTo>
                <a:lnTo>
                  <a:pt x="9300967" y="0"/>
                </a:lnTo>
                <a:lnTo>
                  <a:pt x="9392590" y="21569"/>
                </a:lnTo>
                <a:cubicBezTo>
                  <a:pt x="9829361" y="132864"/>
                  <a:pt x="10275138" y="326147"/>
                  <a:pt x="10755393" y="612455"/>
                </a:cubicBezTo>
                <a:cubicBezTo>
                  <a:pt x="10863767" y="677062"/>
                  <a:pt x="10971197" y="744810"/>
                  <a:pt x="11077437" y="814702"/>
                </a:cubicBezTo>
                <a:lnTo>
                  <a:pt x="11161712" y="872269"/>
                </a:lnTo>
                <a:close/>
                <a:moveTo>
                  <a:pt x="11161712" y="987197"/>
                </a:moveTo>
                <a:lnTo>
                  <a:pt x="11086482" y="934965"/>
                </a:lnTo>
                <a:cubicBezTo>
                  <a:pt x="10555593" y="578972"/>
                  <a:pt x="9975559" y="258286"/>
                  <a:pt x="9351647" y="73151"/>
                </a:cubicBezTo>
                <a:cubicBezTo>
                  <a:pt x="9268542" y="48490"/>
                  <a:pt x="9187043" y="25752"/>
                  <a:pt x="9107136" y="4935"/>
                </a:cubicBezTo>
                <a:lnTo>
                  <a:pt x="9086680" y="0"/>
                </a:lnTo>
                <a:lnTo>
                  <a:pt x="9109920" y="0"/>
                </a:lnTo>
                <a:lnTo>
                  <a:pt x="9110674" y="183"/>
                </a:lnTo>
                <a:cubicBezTo>
                  <a:pt x="9189658" y="20841"/>
                  <a:pt x="9270452" y="43427"/>
                  <a:pt x="9353179" y="67975"/>
                </a:cubicBezTo>
                <a:cubicBezTo>
                  <a:pt x="9798117" y="200006"/>
                  <a:pt x="10249627" y="407422"/>
                  <a:pt x="10733493" y="702085"/>
                </a:cubicBezTo>
                <a:cubicBezTo>
                  <a:pt x="10847205" y="771335"/>
                  <a:pt x="10959749" y="843663"/>
                  <a:pt x="11070331" y="917618"/>
                </a:cubicBezTo>
                <a:lnTo>
                  <a:pt x="11161712" y="980952"/>
                </a:lnTo>
                <a:close/>
                <a:moveTo>
                  <a:pt x="11161712" y="1097405"/>
                </a:moveTo>
                <a:lnTo>
                  <a:pt x="11047087" y="1017287"/>
                </a:lnTo>
                <a:cubicBezTo>
                  <a:pt x="10506577" y="651899"/>
                  <a:pt x="9931033" y="329155"/>
                  <a:pt x="9311962" y="119786"/>
                </a:cubicBezTo>
                <a:cubicBezTo>
                  <a:pt x="9237656" y="94654"/>
                  <a:pt x="9160205" y="69325"/>
                  <a:pt x="9080234" y="44549"/>
                </a:cubicBezTo>
                <a:lnTo>
                  <a:pt x="8927317" y="0"/>
                </a:lnTo>
                <a:lnTo>
                  <a:pt x="8947211" y="0"/>
                </a:lnTo>
                <a:lnTo>
                  <a:pt x="9068565" y="35134"/>
                </a:lnTo>
                <a:cubicBezTo>
                  <a:pt x="9147434" y="59343"/>
                  <a:pt x="9228984" y="85704"/>
                  <a:pt x="9313789" y="114386"/>
                </a:cubicBezTo>
                <a:cubicBezTo>
                  <a:pt x="9767379" y="267788"/>
                  <a:pt x="10224557" y="489407"/>
                  <a:pt x="10711425" y="791905"/>
                </a:cubicBezTo>
                <a:cubicBezTo>
                  <a:pt x="10831273" y="866363"/>
                  <a:pt x="10949559" y="943743"/>
                  <a:pt x="11064921" y="1022101"/>
                </a:cubicBezTo>
                <a:lnTo>
                  <a:pt x="11161712" y="1090114"/>
                </a:lnTo>
                <a:close/>
                <a:moveTo>
                  <a:pt x="11161712" y="1206890"/>
                </a:moveTo>
                <a:lnTo>
                  <a:pt x="11064876" y="1138100"/>
                </a:lnTo>
                <a:cubicBezTo>
                  <a:pt x="10521475" y="763754"/>
                  <a:pt x="9921388" y="412579"/>
                  <a:pt x="9272279" y="166416"/>
                </a:cubicBezTo>
                <a:cubicBezTo>
                  <a:pt x="9204082" y="140555"/>
                  <a:pt x="9129104" y="112735"/>
                  <a:pt x="9048766" y="84299"/>
                </a:cubicBezTo>
                <a:lnTo>
                  <a:pt x="8797594" y="0"/>
                </a:lnTo>
                <a:lnTo>
                  <a:pt x="8817361" y="0"/>
                </a:lnTo>
                <a:lnTo>
                  <a:pt x="9026357" y="70008"/>
                </a:lnTo>
                <a:cubicBezTo>
                  <a:pt x="9104990" y="97630"/>
                  <a:pt x="9187212" y="127740"/>
                  <a:pt x="9274401" y="160802"/>
                </a:cubicBezTo>
                <a:cubicBezTo>
                  <a:pt x="9737311" y="336355"/>
                  <a:pt x="10200097" y="572226"/>
                  <a:pt x="10689232" y="881888"/>
                </a:cubicBezTo>
                <a:cubicBezTo>
                  <a:pt x="10785989" y="943144"/>
                  <a:pt x="10884267" y="1007608"/>
                  <a:pt x="10985012" y="1075962"/>
                </a:cubicBezTo>
                <a:lnTo>
                  <a:pt x="11161712" y="1199657"/>
                </a:lnTo>
                <a:close/>
                <a:moveTo>
                  <a:pt x="6604887" y="1218072"/>
                </a:moveTo>
                <a:lnTo>
                  <a:pt x="6811576" y="1162898"/>
                </a:lnTo>
                <a:lnTo>
                  <a:pt x="6775194" y="1174308"/>
                </a:lnTo>
                <a:cubicBezTo>
                  <a:pt x="6720544" y="1189941"/>
                  <a:pt x="6665636" y="1204147"/>
                  <a:pt x="6610475" y="1216927"/>
                </a:cubicBezTo>
                <a:close/>
                <a:moveTo>
                  <a:pt x="6505290" y="1238479"/>
                </a:moveTo>
                <a:lnTo>
                  <a:pt x="6604887" y="1218072"/>
                </a:lnTo>
                <a:lnTo>
                  <a:pt x="6567794" y="1227974"/>
                </a:lnTo>
                <a:close/>
                <a:moveTo>
                  <a:pt x="6303984" y="1272312"/>
                </a:moveTo>
                <a:lnTo>
                  <a:pt x="6505290" y="1238479"/>
                </a:lnTo>
                <a:lnTo>
                  <a:pt x="6444237" y="1250988"/>
                </a:lnTo>
                <a:close/>
                <a:moveTo>
                  <a:pt x="6187424" y="1289864"/>
                </a:moveTo>
                <a:cubicBezTo>
                  <a:pt x="6197796" y="1288184"/>
                  <a:pt x="6208169" y="1286441"/>
                  <a:pt x="6218540" y="1284656"/>
                </a:cubicBezTo>
                <a:cubicBezTo>
                  <a:pt x="6213060" y="1285244"/>
                  <a:pt x="6207580" y="1285812"/>
                  <a:pt x="6202120" y="1286379"/>
                </a:cubicBezTo>
                <a:cubicBezTo>
                  <a:pt x="6197208" y="1287554"/>
                  <a:pt x="6192315" y="1288730"/>
                  <a:pt x="6187424" y="1289864"/>
                </a:cubicBezTo>
                <a:close/>
                <a:moveTo>
                  <a:pt x="6116433" y="1300446"/>
                </a:moveTo>
                <a:cubicBezTo>
                  <a:pt x="6125315" y="1299228"/>
                  <a:pt x="6134175" y="1297968"/>
                  <a:pt x="6143058" y="1296688"/>
                </a:cubicBezTo>
                <a:cubicBezTo>
                  <a:pt x="6155005" y="1294105"/>
                  <a:pt x="6166909" y="1291439"/>
                  <a:pt x="6178773" y="1288709"/>
                </a:cubicBezTo>
                <a:cubicBezTo>
                  <a:pt x="6169261" y="1289632"/>
                  <a:pt x="6159729" y="1290515"/>
                  <a:pt x="6150196" y="1291334"/>
                </a:cubicBezTo>
                <a:cubicBezTo>
                  <a:pt x="6149399" y="1291417"/>
                  <a:pt x="6148580" y="1291480"/>
                  <a:pt x="6147761" y="1291543"/>
                </a:cubicBezTo>
                <a:cubicBezTo>
                  <a:pt x="6137326" y="1294589"/>
                  <a:pt x="6126869" y="1297548"/>
                  <a:pt x="6116433" y="1300446"/>
                </a:cubicBezTo>
                <a:close/>
                <a:moveTo>
                  <a:pt x="6090797" y="1307353"/>
                </a:moveTo>
                <a:cubicBezTo>
                  <a:pt x="6096215" y="1306304"/>
                  <a:pt x="6101631" y="1305233"/>
                  <a:pt x="6107049" y="1304141"/>
                </a:cubicBezTo>
                <a:cubicBezTo>
                  <a:pt x="6104340" y="1304499"/>
                  <a:pt x="6101631" y="1304855"/>
                  <a:pt x="6098922" y="1305191"/>
                </a:cubicBezTo>
                <a:cubicBezTo>
                  <a:pt x="6096215" y="1305926"/>
                  <a:pt x="6093506" y="1306640"/>
                  <a:pt x="6090797" y="1307353"/>
                </a:cubicBezTo>
                <a:close/>
                <a:moveTo>
                  <a:pt x="6055187" y="1308151"/>
                </a:moveTo>
                <a:cubicBezTo>
                  <a:pt x="6066777" y="1306829"/>
                  <a:pt x="6078367" y="1305401"/>
                  <a:pt x="6089936" y="1303931"/>
                </a:cubicBezTo>
                <a:cubicBezTo>
                  <a:pt x="6103185" y="1300404"/>
                  <a:pt x="6116393" y="1296793"/>
                  <a:pt x="6129515" y="1293055"/>
                </a:cubicBezTo>
                <a:cubicBezTo>
                  <a:pt x="6116896" y="1294084"/>
                  <a:pt x="6104256" y="1295050"/>
                  <a:pt x="6091595" y="1295932"/>
                </a:cubicBezTo>
                <a:cubicBezTo>
                  <a:pt x="6079459" y="1300131"/>
                  <a:pt x="6067323" y="1304204"/>
                  <a:pt x="6055187" y="1308151"/>
                </a:cubicBezTo>
                <a:close/>
                <a:moveTo>
                  <a:pt x="5997614" y="1314199"/>
                </a:moveTo>
                <a:cubicBezTo>
                  <a:pt x="6011514" y="1312876"/>
                  <a:pt x="6025393" y="1311448"/>
                  <a:pt x="6039272" y="1309936"/>
                </a:cubicBezTo>
                <a:cubicBezTo>
                  <a:pt x="6052773" y="1305653"/>
                  <a:pt x="6066210" y="1301244"/>
                  <a:pt x="6079565" y="1296729"/>
                </a:cubicBezTo>
                <a:cubicBezTo>
                  <a:pt x="6064909" y="1297695"/>
                  <a:pt x="6050253" y="1298578"/>
                  <a:pt x="6035555" y="1299354"/>
                </a:cubicBezTo>
                <a:cubicBezTo>
                  <a:pt x="6022915" y="1304456"/>
                  <a:pt x="6010254" y="1309390"/>
                  <a:pt x="5997614" y="1314199"/>
                </a:cubicBezTo>
                <a:close/>
                <a:moveTo>
                  <a:pt x="5941029" y="1319028"/>
                </a:moveTo>
                <a:cubicBezTo>
                  <a:pt x="5954803" y="1317999"/>
                  <a:pt x="5968555" y="1316866"/>
                  <a:pt x="5982308" y="1315627"/>
                </a:cubicBezTo>
                <a:cubicBezTo>
                  <a:pt x="5995976" y="1310546"/>
                  <a:pt x="6009561" y="1305339"/>
                  <a:pt x="6023041" y="1299963"/>
                </a:cubicBezTo>
                <a:cubicBezTo>
                  <a:pt x="6008511" y="1300677"/>
                  <a:pt x="5993940" y="1301306"/>
                  <a:pt x="5979368" y="1301832"/>
                </a:cubicBezTo>
                <a:cubicBezTo>
                  <a:pt x="5966602" y="1307752"/>
                  <a:pt x="5953815" y="1313485"/>
                  <a:pt x="5941029" y="1319028"/>
                </a:cubicBezTo>
                <a:close/>
                <a:moveTo>
                  <a:pt x="6015104" y="1320791"/>
                </a:moveTo>
                <a:cubicBezTo>
                  <a:pt x="6023271" y="1319469"/>
                  <a:pt x="6031419" y="1318125"/>
                  <a:pt x="6039544" y="1316719"/>
                </a:cubicBezTo>
                <a:cubicBezTo>
                  <a:pt x="6050588" y="1314051"/>
                  <a:pt x="6061591" y="1311343"/>
                  <a:pt x="6072530" y="1308509"/>
                </a:cubicBezTo>
                <a:cubicBezTo>
                  <a:pt x="6062998" y="1309663"/>
                  <a:pt x="6053465" y="1310776"/>
                  <a:pt x="6043912" y="1311826"/>
                </a:cubicBezTo>
                <a:cubicBezTo>
                  <a:pt x="6034316" y="1314912"/>
                  <a:pt x="6024700" y="1317873"/>
                  <a:pt x="6015104" y="1320791"/>
                </a:cubicBezTo>
                <a:close/>
                <a:moveTo>
                  <a:pt x="5539427" y="1322450"/>
                </a:moveTo>
                <a:cubicBezTo>
                  <a:pt x="5550304" y="1312708"/>
                  <a:pt x="5561013" y="1302840"/>
                  <a:pt x="5571552" y="1292824"/>
                </a:cubicBezTo>
                <a:cubicBezTo>
                  <a:pt x="5554734" y="1291480"/>
                  <a:pt x="5537915" y="1289990"/>
                  <a:pt x="5521077" y="1288415"/>
                </a:cubicBezTo>
                <a:cubicBezTo>
                  <a:pt x="5510914" y="1299019"/>
                  <a:pt x="5500710" y="1309369"/>
                  <a:pt x="5490442" y="1319490"/>
                </a:cubicBezTo>
                <a:cubicBezTo>
                  <a:pt x="5506799" y="1320582"/>
                  <a:pt x="5523134" y="1321569"/>
                  <a:pt x="5539427" y="1322450"/>
                </a:cubicBezTo>
                <a:close/>
                <a:moveTo>
                  <a:pt x="5884611" y="1322640"/>
                </a:moveTo>
                <a:cubicBezTo>
                  <a:pt x="5899162" y="1321842"/>
                  <a:pt x="5913691" y="1320938"/>
                  <a:pt x="5928179" y="1319952"/>
                </a:cubicBezTo>
                <a:cubicBezTo>
                  <a:pt x="5941659" y="1314199"/>
                  <a:pt x="5955033" y="1308277"/>
                  <a:pt x="5968304" y="1302231"/>
                </a:cubicBezTo>
                <a:cubicBezTo>
                  <a:pt x="5953039" y="1302735"/>
                  <a:pt x="5937753" y="1303113"/>
                  <a:pt x="5922447" y="1303428"/>
                </a:cubicBezTo>
                <a:cubicBezTo>
                  <a:pt x="5909954" y="1309957"/>
                  <a:pt x="5897335" y="1316361"/>
                  <a:pt x="5884611" y="1322640"/>
                </a:cubicBezTo>
                <a:close/>
                <a:moveTo>
                  <a:pt x="5595635" y="1324970"/>
                </a:moveTo>
                <a:cubicBezTo>
                  <a:pt x="5606889" y="1315774"/>
                  <a:pt x="5618017" y="1306410"/>
                  <a:pt x="5628957" y="1296897"/>
                </a:cubicBezTo>
                <a:cubicBezTo>
                  <a:pt x="5612265" y="1295848"/>
                  <a:pt x="5595572" y="1294651"/>
                  <a:pt x="5578859" y="1293370"/>
                </a:cubicBezTo>
                <a:cubicBezTo>
                  <a:pt x="5568340" y="1303428"/>
                  <a:pt x="5557799" y="1313274"/>
                  <a:pt x="5547196" y="1322870"/>
                </a:cubicBezTo>
                <a:cubicBezTo>
                  <a:pt x="5563364" y="1323689"/>
                  <a:pt x="5579510" y="1324382"/>
                  <a:pt x="5595635" y="1324970"/>
                </a:cubicBezTo>
                <a:close/>
                <a:moveTo>
                  <a:pt x="5829117" y="1325138"/>
                </a:moveTo>
                <a:cubicBezTo>
                  <a:pt x="5844067" y="1324592"/>
                  <a:pt x="5858995" y="1323962"/>
                  <a:pt x="5873882" y="1323207"/>
                </a:cubicBezTo>
                <a:cubicBezTo>
                  <a:pt x="5887046" y="1316823"/>
                  <a:pt x="5900064" y="1310294"/>
                  <a:pt x="5912977" y="1303616"/>
                </a:cubicBezTo>
                <a:cubicBezTo>
                  <a:pt x="5897377" y="1303868"/>
                  <a:pt x="5881756" y="1304015"/>
                  <a:pt x="5866113" y="1304057"/>
                </a:cubicBezTo>
                <a:cubicBezTo>
                  <a:pt x="5853914" y="1311238"/>
                  <a:pt x="5841567" y="1318251"/>
                  <a:pt x="5829117" y="1325138"/>
                </a:cubicBezTo>
                <a:close/>
                <a:moveTo>
                  <a:pt x="5652514" y="1326586"/>
                </a:moveTo>
                <a:cubicBezTo>
                  <a:pt x="5664168" y="1317915"/>
                  <a:pt x="5675674" y="1309096"/>
                  <a:pt x="5687013" y="1300110"/>
                </a:cubicBezTo>
                <a:cubicBezTo>
                  <a:pt x="5680546" y="1299817"/>
                  <a:pt x="5674100" y="1299522"/>
                  <a:pt x="5667633" y="1299165"/>
                </a:cubicBezTo>
                <a:cubicBezTo>
                  <a:pt x="5657218" y="1298619"/>
                  <a:pt x="5646804" y="1298032"/>
                  <a:pt x="5636389" y="1297381"/>
                </a:cubicBezTo>
                <a:cubicBezTo>
                  <a:pt x="5625513" y="1306913"/>
                  <a:pt x="5614596" y="1316214"/>
                  <a:pt x="5603656" y="1325264"/>
                </a:cubicBezTo>
                <a:cubicBezTo>
                  <a:pt x="5619970" y="1325810"/>
                  <a:pt x="5636263" y="1326272"/>
                  <a:pt x="5652514" y="1326586"/>
                </a:cubicBezTo>
                <a:close/>
                <a:moveTo>
                  <a:pt x="5773435" y="1326650"/>
                </a:moveTo>
                <a:cubicBezTo>
                  <a:pt x="5788698" y="1326377"/>
                  <a:pt x="5803921" y="1325978"/>
                  <a:pt x="5819102" y="1325494"/>
                </a:cubicBezTo>
                <a:cubicBezTo>
                  <a:pt x="5831889" y="1318504"/>
                  <a:pt x="5844529" y="1311365"/>
                  <a:pt x="5857063" y="1304100"/>
                </a:cubicBezTo>
                <a:cubicBezTo>
                  <a:pt x="5841190" y="1304100"/>
                  <a:pt x="5825316" y="1304015"/>
                  <a:pt x="5809401" y="1303806"/>
                </a:cubicBezTo>
                <a:cubicBezTo>
                  <a:pt x="5797537" y="1311553"/>
                  <a:pt x="5785569" y="1319174"/>
                  <a:pt x="5773435" y="1326650"/>
                </a:cubicBezTo>
                <a:close/>
                <a:moveTo>
                  <a:pt x="5708408" y="1327175"/>
                </a:moveTo>
                <a:cubicBezTo>
                  <a:pt x="5720439" y="1319048"/>
                  <a:pt x="5732343" y="1310776"/>
                  <a:pt x="5744060" y="1302357"/>
                </a:cubicBezTo>
                <a:cubicBezTo>
                  <a:pt x="5727619" y="1301832"/>
                  <a:pt x="5711158" y="1301223"/>
                  <a:pt x="5694676" y="1300487"/>
                </a:cubicBezTo>
                <a:cubicBezTo>
                  <a:pt x="5683443" y="1309454"/>
                  <a:pt x="5672168" y="1318209"/>
                  <a:pt x="5660851" y="1326712"/>
                </a:cubicBezTo>
                <a:cubicBezTo>
                  <a:pt x="5676745" y="1326985"/>
                  <a:pt x="5692597" y="1327132"/>
                  <a:pt x="5708408" y="1327175"/>
                </a:cubicBezTo>
                <a:close/>
                <a:moveTo>
                  <a:pt x="5717269" y="1327196"/>
                </a:moveTo>
                <a:cubicBezTo>
                  <a:pt x="5732868" y="1327175"/>
                  <a:pt x="5748406" y="1327049"/>
                  <a:pt x="5763943" y="1326818"/>
                </a:cubicBezTo>
                <a:cubicBezTo>
                  <a:pt x="5776353" y="1319259"/>
                  <a:pt x="5788635" y="1311532"/>
                  <a:pt x="5800750" y="1303680"/>
                </a:cubicBezTo>
                <a:cubicBezTo>
                  <a:pt x="5784584" y="1303428"/>
                  <a:pt x="5768374" y="1303070"/>
                  <a:pt x="5752165" y="1302609"/>
                </a:cubicBezTo>
                <a:cubicBezTo>
                  <a:pt x="5740553" y="1311028"/>
                  <a:pt x="5728943" y="1319217"/>
                  <a:pt x="5717269" y="1327196"/>
                </a:cubicBezTo>
                <a:close/>
                <a:moveTo>
                  <a:pt x="5991714" y="1327742"/>
                </a:moveTo>
                <a:cubicBezTo>
                  <a:pt x="5993856" y="1327279"/>
                  <a:pt x="5995997" y="1326776"/>
                  <a:pt x="5998139" y="1326313"/>
                </a:cubicBezTo>
                <a:cubicBezTo>
                  <a:pt x="5997068" y="1326482"/>
                  <a:pt x="5995976" y="1326650"/>
                  <a:pt x="5994905" y="1326818"/>
                </a:cubicBezTo>
                <a:cubicBezTo>
                  <a:pt x="5993835" y="1327132"/>
                  <a:pt x="5992785" y="1327426"/>
                  <a:pt x="5991714" y="1327742"/>
                </a:cubicBezTo>
                <a:close/>
                <a:moveTo>
                  <a:pt x="5955012" y="1329779"/>
                </a:moveTo>
                <a:cubicBezTo>
                  <a:pt x="5967065" y="1328141"/>
                  <a:pt x="5979074" y="1326377"/>
                  <a:pt x="5991063" y="1324550"/>
                </a:cubicBezTo>
                <a:cubicBezTo>
                  <a:pt x="6003262" y="1321023"/>
                  <a:pt x="6015377" y="1317369"/>
                  <a:pt x="6027429" y="1313611"/>
                </a:cubicBezTo>
                <a:cubicBezTo>
                  <a:pt x="6014663" y="1314976"/>
                  <a:pt x="6001877" y="1316235"/>
                  <a:pt x="5989090" y="1317412"/>
                </a:cubicBezTo>
                <a:cubicBezTo>
                  <a:pt x="5977730" y="1321652"/>
                  <a:pt x="5966372" y="1325789"/>
                  <a:pt x="5955012" y="1329779"/>
                </a:cubicBezTo>
                <a:close/>
                <a:moveTo>
                  <a:pt x="5898510" y="1336854"/>
                </a:moveTo>
                <a:cubicBezTo>
                  <a:pt x="5910836" y="1335468"/>
                  <a:pt x="5923098" y="1333936"/>
                  <a:pt x="5935338" y="1332360"/>
                </a:cubicBezTo>
                <a:cubicBezTo>
                  <a:pt x="5948231" y="1327951"/>
                  <a:pt x="5961039" y="1323437"/>
                  <a:pt x="5973763" y="1318775"/>
                </a:cubicBezTo>
                <a:cubicBezTo>
                  <a:pt x="5961731" y="1319825"/>
                  <a:pt x="5949700" y="1320812"/>
                  <a:pt x="5937647" y="1321715"/>
                </a:cubicBezTo>
                <a:cubicBezTo>
                  <a:pt x="5936535" y="1321778"/>
                  <a:pt x="5935401" y="1321863"/>
                  <a:pt x="5934289" y="1321925"/>
                </a:cubicBezTo>
                <a:cubicBezTo>
                  <a:pt x="5922362" y="1327070"/>
                  <a:pt x="5910458" y="1332025"/>
                  <a:pt x="5898510" y="1336854"/>
                </a:cubicBezTo>
                <a:close/>
                <a:moveTo>
                  <a:pt x="5842870" y="1342502"/>
                </a:moveTo>
                <a:cubicBezTo>
                  <a:pt x="5852234" y="1341641"/>
                  <a:pt x="5861598" y="1340760"/>
                  <a:pt x="5870942" y="1339815"/>
                </a:cubicBezTo>
                <a:cubicBezTo>
                  <a:pt x="5874974" y="1339416"/>
                  <a:pt x="5879004" y="1338953"/>
                  <a:pt x="5883036" y="1338512"/>
                </a:cubicBezTo>
                <a:cubicBezTo>
                  <a:pt x="5895970" y="1333411"/>
                  <a:pt x="5908799" y="1328183"/>
                  <a:pt x="5921523" y="1322807"/>
                </a:cubicBezTo>
                <a:cubicBezTo>
                  <a:pt x="5907435" y="1323732"/>
                  <a:pt x="5893325" y="1324571"/>
                  <a:pt x="5879173" y="1325306"/>
                </a:cubicBezTo>
                <a:cubicBezTo>
                  <a:pt x="5867184" y="1331164"/>
                  <a:pt x="5855068" y="1336895"/>
                  <a:pt x="5842870" y="1342502"/>
                </a:cubicBezTo>
                <a:close/>
                <a:moveTo>
                  <a:pt x="5916841" y="1342754"/>
                </a:moveTo>
                <a:cubicBezTo>
                  <a:pt x="5925807" y="1341116"/>
                  <a:pt x="5934729" y="1339437"/>
                  <a:pt x="5943632" y="1337694"/>
                </a:cubicBezTo>
                <a:cubicBezTo>
                  <a:pt x="5952660" y="1335301"/>
                  <a:pt x="5961626" y="1332885"/>
                  <a:pt x="5970570" y="1330387"/>
                </a:cubicBezTo>
                <a:cubicBezTo>
                  <a:pt x="5961080" y="1331752"/>
                  <a:pt x="5951569" y="1333032"/>
                  <a:pt x="5942079" y="1334271"/>
                </a:cubicBezTo>
                <a:cubicBezTo>
                  <a:pt x="5933659" y="1337168"/>
                  <a:pt x="5925261" y="1340004"/>
                  <a:pt x="5916841" y="1342754"/>
                </a:cubicBezTo>
                <a:close/>
                <a:moveTo>
                  <a:pt x="5788300" y="1346932"/>
                </a:moveTo>
                <a:cubicBezTo>
                  <a:pt x="5802262" y="1345945"/>
                  <a:pt x="5816205" y="1344853"/>
                  <a:pt x="5830083" y="1343657"/>
                </a:cubicBezTo>
                <a:cubicBezTo>
                  <a:pt x="5842953" y="1337861"/>
                  <a:pt x="5855698" y="1331940"/>
                  <a:pt x="5868317" y="1325873"/>
                </a:cubicBezTo>
                <a:cubicBezTo>
                  <a:pt x="5853725" y="1326586"/>
                  <a:pt x="5839111" y="1327196"/>
                  <a:pt x="5824456" y="1327699"/>
                </a:cubicBezTo>
                <a:cubicBezTo>
                  <a:pt x="5812530" y="1334250"/>
                  <a:pt x="5800478" y="1340655"/>
                  <a:pt x="5788300" y="1346932"/>
                </a:cubicBezTo>
                <a:close/>
                <a:moveTo>
                  <a:pt x="5893724" y="1350187"/>
                </a:moveTo>
                <a:cubicBezTo>
                  <a:pt x="5894753" y="1349955"/>
                  <a:pt x="5895781" y="1349704"/>
                  <a:pt x="5896809" y="1349473"/>
                </a:cubicBezTo>
                <a:cubicBezTo>
                  <a:pt x="5896243" y="1349557"/>
                  <a:pt x="5895676" y="1349662"/>
                  <a:pt x="5895109" y="1349746"/>
                </a:cubicBezTo>
                <a:cubicBezTo>
                  <a:pt x="5894648" y="1349893"/>
                  <a:pt x="5894185" y="1350040"/>
                  <a:pt x="5893724" y="1350187"/>
                </a:cubicBezTo>
                <a:close/>
                <a:moveTo>
                  <a:pt x="5733730" y="1350292"/>
                </a:moveTo>
                <a:cubicBezTo>
                  <a:pt x="5748133" y="1349535"/>
                  <a:pt x="5762494" y="1348696"/>
                  <a:pt x="5776815" y="1347730"/>
                </a:cubicBezTo>
                <a:cubicBezTo>
                  <a:pt x="5789496" y="1341305"/>
                  <a:pt x="5802031" y="1334755"/>
                  <a:pt x="5814419" y="1328035"/>
                </a:cubicBezTo>
                <a:cubicBezTo>
                  <a:pt x="5799449" y="1328518"/>
                  <a:pt x="5784437" y="1328875"/>
                  <a:pt x="5769382" y="1329127"/>
                </a:cubicBezTo>
                <a:cubicBezTo>
                  <a:pt x="5757644" y="1336329"/>
                  <a:pt x="5745761" y="1343384"/>
                  <a:pt x="5733730" y="1350292"/>
                </a:cubicBezTo>
                <a:close/>
                <a:moveTo>
                  <a:pt x="5678886" y="1352581"/>
                </a:moveTo>
                <a:cubicBezTo>
                  <a:pt x="5693689" y="1352098"/>
                  <a:pt x="5708428" y="1351510"/>
                  <a:pt x="5723126" y="1350817"/>
                </a:cubicBezTo>
                <a:cubicBezTo>
                  <a:pt x="5735536" y="1343782"/>
                  <a:pt x="5747797" y="1336602"/>
                  <a:pt x="5759912" y="1329274"/>
                </a:cubicBezTo>
                <a:cubicBezTo>
                  <a:pt x="5744563" y="1329484"/>
                  <a:pt x="5729173" y="1329589"/>
                  <a:pt x="5713741" y="1329589"/>
                </a:cubicBezTo>
                <a:cubicBezTo>
                  <a:pt x="5702172" y="1337462"/>
                  <a:pt x="5690560" y="1345126"/>
                  <a:pt x="5678886" y="1352581"/>
                </a:cubicBezTo>
                <a:close/>
                <a:moveTo>
                  <a:pt x="5857735" y="1352749"/>
                </a:moveTo>
                <a:cubicBezTo>
                  <a:pt x="5867939" y="1351173"/>
                  <a:pt x="5878102" y="1349515"/>
                  <a:pt x="5888243" y="1347794"/>
                </a:cubicBezTo>
                <a:cubicBezTo>
                  <a:pt x="5899665" y="1344224"/>
                  <a:pt x="5911025" y="1340550"/>
                  <a:pt x="5922320" y="1336771"/>
                </a:cubicBezTo>
                <a:cubicBezTo>
                  <a:pt x="5911318" y="1338114"/>
                  <a:pt x="5900295" y="1339373"/>
                  <a:pt x="5889271" y="1340570"/>
                </a:cubicBezTo>
                <a:cubicBezTo>
                  <a:pt x="5878774" y="1344749"/>
                  <a:pt x="5868255" y="1348801"/>
                  <a:pt x="5857735" y="1352749"/>
                </a:cubicBezTo>
                <a:close/>
                <a:moveTo>
                  <a:pt x="5503986" y="1353148"/>
                </a:moveTo>
                <a:cubicBezTo>
                  <a:pt x="5515135" y="1343825"/>
                  <a:pt x="5526094" y="1334335"/>
                  <a:pt x="5536887" y="1324718"/>
                </a:cubicBezTo>
                <a:cubicBezTo>
                  <a:pt x="5520678" y="1323836"/>
                  <a:pt x="5504427" y="1322828"/>
                  <a:pt x="5488154" y="1321715"/>
                </a:cubicBezTo>
                <a:cubicBezTo>
                  <a:pt x="5477740" y="1331920"/>
                  <a:pt x="5467262" y="1341851"/>
                  <a:pt x="5456722" y="1351572"/>
                </a:cubicBezTo>
                <a:cubicBezTo>
                  <a:pt x="5472511" y="1352203"/>
                  <a:pt x="5488280" y="1352749"/>
                  <a:pt x="5503986" y="1353148"/>
                </a:cubicBezTo>
                <a:close/>
                <a:moveTo>
                  <a:pt x="5623518" y="1353861"/>
                </a:moveTo>
                <a:cubicBezTo>
                  <a:pt x="5638720" y="1353651"/>
                  <a:pt x="5653879" y="1353336"/>
                  <a:pt x="5668997" y="1352895"/>
                </a:cubicBezTo>
                <a:cubicBezTo>
                  <a:pt x="5681113" y="1345273"/>
                  <a:pt x="5693059" y="1337484"/>
                  <a:pt x="5704881" y="1329547"/>
                </a:cubicBezTo>
                <a:cubicBezTo>
                  <a:pt x="5689197" y="1329506"/>
                  <a:pt x="5673490" y="1329337"/>
                  <a:pt x="5657764" y="1329064"/>
                </a:cubicBezTo>
                <a:cubicBezTo>
                  <a:pt x="5646405" y="1337568"/>
                  <a:pt x="5634983" y="1345798"/>
                  <a:pt x="5623518" y="1353861"/>
                </a:cubicBezTo>
                <a:close/>
                <a:moveTo>
                  <a:pt x="5558891" y="1354050"/>
                </a:moveTo>
                <a:cubicBezTo>
                  <a:pt x="5570377" y="1345295"/>
                  <a:pt x="5581672" y="1336350"/>
                  <a:pt x="5592801" y="1327279"/>
                </a:cubicBezTo>
                <a:cubicBezTo>
                  <a:pt x="5576780" y="1326691"/>
                  <a:pt x="5560739" y="1325957"/>
                  <a:pt x="5544656" y="1325117"/>
                </a:cubicBezTo>
                <a:cubicBezTo>
                  <a:pt x="5533905" y="1334775"/>
                  <a:pt x="5523113" y="1344161"/>
                  <a:pt x="5512258" y="1353336"/>
                </a:cubicBezTo>
                <a:cubicBezTo>
                  <a:pt x="5527837" y="1353693"/>
                  <a:pt x="5543395" y="1353924"/>
                  <a:pt x="5558891" y="1354050"/>
                </a:cubicBezTo>
                <a:close/>
                <a:moveTo>
                  <a:pt x="5567479" y="1354114"/>
                </a:moveTo>
                <a:cubicBezTo>
                  <a:pt x="5583183" y="1354197"/>
                  <a:pt x="5598848" y="1354134"/>
                  <a:pt x="5614491" y="1353966"/>
                </a:cubicBezTo>
                <a:cubicBezTo>
                  <a:pt x="5626289" y="1345778"/>
                  <a:pt x="5637901" y="1337400"/>
                  <a:pt x="5649387" y="1328896"/>
                </a:cubicBezTo>
                <a:cubicBezTo>
                  <a:pt x="5633240" y="1328581"/>
                  <a:pt x="5617073" y="1328120"/>
                  <a:pt x="5600864" y="1327552"/>
                </a:cubicBezTo>
                <a:cubicBezTo>
                  <a:pt x="5589777" y="1336644"/>
                  <a:pt x="5578649" y="1345484"/>
                  <a:pt x="5567479" y="1354114"/>
                </a:cubicBezTo>
                <a:close/>
                <a:moveTo>
                  <a:pt x="5801716" y="1360664"/>
                </a:moveTo>
                <a:cubicBezTo>
                  <a:pt x="5802619" y="1360538"/>
                  <a:pt x="5803501" y="1360433"/>
                  <a:pt x="5804403" y="1360328"/>
                </a:cubicBezTo>
                <a:cubicBezTo>
                  <a:pt x="5815448" y="1358901"/>
                  <a:pt x="5826450" y="1357367"/>
                  <a:pt x="5837410" y="1355772"/>
                </a:cubicBezTo>
                <a:cubicBezTo>
                  <a:pt x="5849484" y="1351384"/>
                  <a:pt x="5861472" y="1346890"/>
                  <a:pt x="5873378" y="1342272"/>
                </a:cubicBezTo>
                <a:cubicBezTo>
                  <a:pt x="5872664" y="1342355"/>
                  <a:pt x="5871928" y="1342439"/>
                  <a:pt x="5871215" y="1342502"/>
                </a:cubicBezTo>
                <a:cubicBezTo>
                  <a:pt x="5859309" y="1343720"/>
                  <a:pt x="5847363" y="1344812"/>
                  <a:pt x="5835396" y="1345883"/>
                </a:cubicBezTo>
                <a:cubicBezTo>
                  <a:pt x="5824266" y="1350921"/>
                  <a:pt x="5813034" y="1355835"/>
                  <a:pt x="5801716" y="1360664"/>
                </a:cubicBezTo>
                <a:close/>
                <a:moveTo>
                  <a:pt x="5820971" y="1366040"/>
                </a:moveTo>
                <a:cubicBezTo>
                  <a:pt x="5827186" y="1364800"/>
                  <a:pt x="5833400" y="1363561"/>
                  <a:pt x="5839594" y="1362260"/>
                </a:cubicBezTo>
                <a:cubicBezTo>
                  <a:pt x="5848665" y="1359698"/>
                  <a:pt x="5857713" y="1357094"/>
                  <a:pt x="5866700" y="1354407"/>
                </a:cubicBezTo>
                <a:cubicBezTo>
                  <a:pt x="5859100" y="1355582"/>
                  <a:pt x="5851499" y="1356759"/>
                  <a:pt x="5843877" y="1357872"/>
                </a:cubicBezTo>
                <a:cubicBezTo>
                  <a:pt x="5836256" y="1360643"/>
                  <a:pt x="5828613" y="1363373"/>
                  <a:pt x="5820971" y="1366040"/>
                </a:cubicBezTo>
                <a:close/>
                <a:moveTo>
                  <a:pt x="5748049" y="1366963"/>
                </a:moveTo>
                <a:cubicBezTo>
                  <a:pt x="5760857" y="1365598"/>
                  <a:pt x="5773603" y="1364150"/>
                  <a:pt x="5786305" y="1362595"/>
                </a:cubicBezTo>
                <a:cubicBezTo>
                  <a:pt x="5798546" y="1357514"/>
                  <a:pt x="5810682" y="1352308"/>
                  <a:pt x="5822713" y="1346975"/>
                </a:cubicBezTo>
                <a:cubicBezTo>
                  <a:pt x="5809254" y="1348108"/>
                  <a:pt x="5795754" y="1349138"/>
                  <a:pt x="5782232" y="1350061"/>
                </a:cubicBezTo>
                <a:cubicBezTo>
                  <a:pt x="5770957" y="1355814"/>
                  <a:pt x="5759556" y="1361441"/>
                  <a:pt x="5748049" y="1366963"/>
                </a:cubicBezTo>
                <a:close/>
                <a:moveTo>
                  <a:pt x="5694550" y="1372065"/>
                </a:moveTo>
                <a:cubicBezTo>
                  <a:pt x="5707946" y="1370931"/>
                  <a:pt x="5721299" y="1369672"/>
                  <a:pt x="5734591" y="1368349"/>
                </a:cubicBezTo>
                <a:cubicBezTo>
                  <a:pt x="5746747" y="1362638"/>
                  <a:pt x="5758779" y="1356801"/>
                  <a:pt x="5770684" y="1350817"/>
                </a:cubicBezTo>
                <a:cubicBezTo>
                  <a:pt x="5756700" y="1351719"/>
                  <a:pt x="5742675" y="1352538"/>
                  <a:pt x="5728606" y="1353252"/>
                </a:cubicBezTo>
                <a:cubicBezTo>
                  <a:pt x="5717374" y="1359635"/>
                  <a:pt x="5706035" y="1365914"/>
                  <a:pt x="5694550" y="1372065"/>
                </a:cubicBezTo>
                <a:close/>
                <a:moveTo>
                  <a:pt x="5640842" y="1376076"/>
                </a:moveTo>
                <a:cubicBezTo>
                  <a:pt x="5654720" y="1375194"/>
                  <a:pt x="5668535" y="1374186"/>
                  <a:pt x="5682288" y="1373094"/>
                </a:cubicBezTo>
                <a:cubicBezTo>
                  <a:pt x="5694299" y="1366774"/>
                  <a:pt x="5706161" y="1360328"/>
                  <a:pt x="5717898" y="1353735"/>
                </a:cubicBezTo>
                <a:cubicBezTo>
                  <a:pt x="5703452" y="1354407"/>
                  <a:pt x="5688986" y="1354995"/>
                  <a:pt x="5674456" y="1355436"/>
                </a:cubicBezTo>
                <a:cubicBezTo>
                  <a:pt x="5663307" y="1362512"/>
                  <a:pt x="5652094" y="1369378"/>
                  <a:pt x="5640842" y="1376076"/>
                </a:cubicBezTo>
                <a:close/>
                <a:moveTo>
                  <a:pt x="5762138" y="1376894"/>
                </a:moveTo>
                <a:cubicBezTo>
                  <a:pt x="5771986" y="1375214"/>
                  <a:pt x="5781770" y="1373472"/>
                  <a:pt x="5791533" y="1371688"/>
                </a:cubicBezTo>
                <a:cubicBezTo>
                  <a:pt x="5802241" y="1368139"/>
                  <a:pt x="5812866" y="1364506"/>
                  <a:pt x="5823427" y="1360790"/>
                </a:cubicBezTo>
                <a:cubicBezTo>
                  <a:pt x="5817212" y="1361629"/>
                  <a:pt x="5810997" y="1362491"/>
                  <a:pt x="5804782" y="1363288"/>
                </a:cubicBezTo>
                <a:cubicBezTo>
                  <a:pt x="5800436" y="1363856"/>
                  <a:pt x="5796047" y="1364380"/>
                  <a:pt x="5791680" y="1364905"/>
                </a:cubicBezTo>
                <a:cubicBezTo>
                  <a:pt x="5781917" y="1369000"/>
                  <a:pt x="5772048" y="1372968"/>
                  <a:pt x="5762138" y="1376894"/>
                </a:cubicBezTo>
                <a:close/>
                <a:moveTo>
                  <a:pt x="5586480" y="1379057"/>
                </a:moveTo>
                <a:cubicBezTo>
                  <a:pt x="5600885" y="1378407"/>
                  <a:pt x="5615246" y="1377650"/>
                  <a:pt x="5629544" y="1376790"/>
                </a:cubicBezTo>
                <a:cubicBezTo>
                  <a:pt x="5641345" y="1369903"/>
                  <a:pt x="5652977" y="1362868"/>
                  <a:pt x="5664484" y="1355709"/>
                </a:cubicBezTo>
                <a:cubicBezTo>
                  <a:pt x="5649553" y="1356108"/>
                  <a:pt x="5634605" y="1356444"/>
                  <a:pt x="5619591" y="1356633"/>
                </a:cubicBezTo>
                <a:cubicBezTo>
                  <a:pt x="5608611" y="1364297"/>
                  <a:pt x="5597567" y="1371771"/>
                  <a:pt x="5586480" y="1379057"/>
                </a:cubicBezTo>
                <a:close/>
                <a:moveTo>
                  <a:pt x="5531575" y="1380926"/>
                </a:moveTo>
                <a:cubicBezTo>
                  <a:pt x="5546566" y="1380548"/>
                  <a:pt x="5561516" y="1380065"/>
                  <a:pt x="5576381" y="1379456"/>
                </a:cubicBezTo>
                <a:cubicBezTo>
                  <a:pt x="5587929" y="1372023"/>
                  <a:pt x="5599289" y="1364423"/>
                  <a:pt x="5610522" y="1356695"/>
                </a:cubicBezTo>
                <a:cubicBezTo>
                  <a:pt x="5595068" y="1356843"/>
                  <a:pt x="5579551" y="1356885"/>
                  <a:pt x="5563993" y="1356801"/>
                </a:cubicBezTo>
                <a:cubicBezTo>
                  <a:pt x="5553264" y="1365031"/>
                  <a:pt x="5542450" y="1373073"/>
                  <a:pt x="5531575" y="1380926"/>
                </a:cubicBezTo>
                <a:close/>
                <a:moveTo>
                  <a:pt x="5477488" y="1381724"/>
                </a:moveTo>
                <a:cubicBezTo>
                  <a:pt x="5492395" y="1381660"/>
                  <a:pt x="5507260" y="1381472"/>
                  <a:pt x="5522042" y="1381157"/>
                </a:cubicBezTo>
                <a:cubicBezTo>
                  <a:pt x="5533317" y="1373136"/>
                  <a:pt x="5544425" y="1365010"/>
                  <a:pt x="5555363" y="1356717"/>
                </a:cubicBezTo>
                <a:cubicBezTo>
                  <a:pt x="5539995" y="1356570"/>
                  <a:pt x="5524604" y="1356318"/>
                  <a:pt x="5509130" y="1355961"/>
                </a:cubicBezTo>
                <a:cubicBezTo>
                  <a:pt x="5498653" y="1364758"/>
                  <a:pt x="5488112" y="1373367"/>
                  <a:pt x="5477488" y="1381724"/>
                </a:cubicBezTo>
                <a:close/>
                <a:moveTo>
                  <a:pt x="5468438" y="1381766"/>
                </a:moveTo>
                <a:cubicBezTo>
                  <a:pt x="5479399" y="1373241"/>
                  <a:pt x="5490191" y="1364570"/>
                  <a:pt x="5500814" y="1355751"/>
                </a:cubicBezTo>
                <a:cubicBezTo>
                  <a:pt x="5485235" y="1355331"/>
                  <a:pt x="5469593" y="1354785"/>
                  <a:pt x="5453929" y="1354134"/>
                </a:cubicBezTo>
                <a:cubicBezTo>
                  <a:pt x="5443725" y="1363478"/>
                  <a:pt x="5433437" y="1372611"/>
                  <a:pt x="5423086" y="1381534"/>
                </a:cubicBezTo>
                <a:cubicBezTo>
                  <a:pt x="5438266" y="1381724"/>
                  <a:pt x="5453383" y="1381807"/>
                  <a:pt x="5468438" y="1381766"/>
                </a:cubicBezTo>
                <a:close/>
                <a:moveTo>
                  <a:pt x="5708471" y="1385209"/>
                </a:moveTo>
                <a:cubicBezTo>
                  <a:pt x="5718297" y="1383803"/>
                  <a:pt x="5728103" y="1382353"/>
                  <a:pt x="5737846" y="1380842"/>
                </a:cubicBezTo>
                <a:cubicBezTo>
                  <a:pt x="5739273" y="1380611"/>
                  <a:pt x="5740658" y="1380380"/>
                  <a:pt x="5742086" y="1380149"/>
                </a:cubicBezTo>
                <a:cubicBezTo>
                  <a:pt x="5753445" y="1375824"/>
                  <a:pt x="5764700" y="1371393"/>
                  <a:pt x="5775869" y="1366858"/>
                </a:cubicBezTo>
                <a:cubicBezTo>
                  <a:pt x="5763943" y="1368265"/>
                  <a:pt x="5751954" y="1369566"/>
                  <a:pt x="5739924" y="1370805"/>
                </a:cubicBezTo>
                <a:cubicBezTo>
                  <a:pt x="5729530" y="1375719"/>
                  <a:pt x="5719053" y="1380506"/>
                  <a:pt x="5708471" y="1385209"/>
                </a:cubicBezTo>
                <a:close/>
                <a:moveTo>
                  <a:pt x="5727262" y="1390185"/>
                </a:moveTo>
                <a:cubicBezTo>
                  <a:pt x="5733499" y="1388841"/>
                  <a:pt x="5739713" y="1387476"/>
                  <a:pt x="5745887" y="1386070"/>
                </a:cubicBezTo>
                <a:cubicBezTo>
                  <a:pt x="5753487" y="1383803"/>
                  <a:pt x="5761068" y="1381493"/>
                  <a:pt x="5768604" y="1379120"/>
                </a:cubicBezTo>
                <a:cubicBezTo>
                  <a:pt x="5761529" y="1380316"/>
                  <a:pt x="5754453" y="1381493"/>
                  <a:pt x="5747357" y="1382626"/>
                </a:cubicBezTo>
                <a:cubicBezTo>
                  <a:pt x="5740700" y="1385188"/>
                  <a:pt x="5734003" y="1387708"/>
                  <a:pt x="5727262" y="1390185"/>
                </a:cubicBezTo>
                <a:close/>
                <a:moveTo>
                  <a:pt x="5655496" y="1392180"/>
                </a:moveTo>
                <a:cubicBezTo>
                  <a:pt x="5667716" y="1390710"/>
                  <a:pt x="5679874" y="1389157"/>
                  <a:pt x="5691989" y="1387519"/>
                </a:cubicBezTo>
                <a:cubicBezTo>
                  <a:pt x="5703578" y="1382500"/>
                  <a:pt x="5715064" y="1377377"/>
                  <a:pt x="5726423" y="1372128"/>
                </a:cubicBezTo>
                <a:cubicBezTo>
                  <a:pt x="5713573" y="1373388"/>
                  <a:pt x="5700702" y="1374564"/>
                  <a:pt x="5687789" y="1375634"/>
                </a:cubicBezTo>
                <a:cubicBezTo>
                  <a:pt x="5677124" y="1381261"/>
                  <a:pt x="5666372" y="1386783"/>
                  <a:pt x="5655496" y="1392180"/>
                </a:cubicBezTo>
                <a:close/>
                <a:moveTo>
                  <a:pt x="5602795" y="1397912"/>
                </a:moveTo>
                <a:cubicBezTo>
                  <a:pt x="5615645" y="1396652"/>
                  <a:pt x="5628452" y="1395309"/>
                  <a:pt x="5641198" y="1393860"/>
                </a:cubicBezTo>
                <a:cubicBezTo>
                  <a:pt x="5652787" y="1388233"/>
                  <a:pt x="5664273" y="1382479"/>
                  <a:pt x="5675611" y="1376600"/>
                </a:cubicBezTo>
                <a:cubicBezTo>
                  <a:pt x="5662193" y="1377629"/>
                  <a:pt x="5648715" y="1378575"/>
                  <a:pt x="5635192" y="1379414"/>
                </a:cubicBezTo>
                <a:cubicBezTo>
                  <a:pt x="5624442" y="1385755"/>
                  <a:pt x="5613649" y="1391907"/>
                  <a:pt x="5602795" y="1397912"/>
                </a:cubicBezTo>
                <a:close/>
                <a:moveTo>
                  <a:pt x="5670404" y="1401503"/>
                </a:moveTo>
                <a:cubicBezTo>
                  <a:pt x="5670698" y="1401439"/>
                  <a:pt x="5670992" y="1401398"/>
                  <a:pt x="5671286" y="1401356"/>
                </a:cubicBezTo>
                <a:cubicBezTo>
                  <a:pt x="5680125" y="1399739"/>
                  <a:pt x="5688902" y="1398037"/>
                  <a:pt x="5697657" y="1396316"/>
                </a:cubicBezTo>
                <a:cubicBezTo>
                  <a:pt x="5707526" y="1392894"/>
                  <a:pt x="5717310" y="1389366"/>
                  <a:pt x="5727053" y="1385776"/>
                </a:cubicBezTo>
                <a:cubicBezTo>
                  <a:pt x="5717226" y="1387267"/>
                  <a:pt x="5707379" y="1388694"/>
                  <a:pt x="5697490" y="1390059"/>
                </a:cubicBezTo>
                <a:cubicBezTo>
                  <a:pt x="5688545" y="1393965"/>
                  <a:pt x="5679495" y="1397765"/>
                  <a:pt x="5670404" y="1401503"/>
                </a:cubicBezTo>
                <a:close/>
                <a:moveTo>
                  <a:pt x="5549316" y="1402531"/>
                </a:moveTo>
                <a:cubicBezTo>
                  <a:pt x="5562901" y="1401503"/>
                  <a:pt x="5576424" y="1400368"/>
                  <a:pt x="5589883" y="1399129"/>
                </a:cubicBezTo>
                <a:cubicBezTo>
                  <a:pt x="5601346" y="1392936"/>
                  <a:pt x="5612663" y="1386595"/>
                  <a:pt x="5623834" y="1380128"/>
                </a:cubicBezTo>
                <a:cubicBezTo>
                  <a:pt x="5609808" y="1380947"/>
                  <a:pt x="5595719" y="1381619"/>
                  <a:pt x="5581568" y="1382227"/>
                </a:cubicBezTo>
                <a:cubicBezTo>
                  <a:pt x="5572896" y="1387854"/>
                  <a:pt x="5564183" y="1393398"/>
                  <a:pt x="5555427" y="1398815"/>
                </a:cubicBezTo>
                <a:cubicBezTo>
                  <a:pt x="5553390" y="1400075"/>
                  <a:pt x="5551353" y="1401292"/>
                  <a:pt x="5549316" y="1402531"/>
                </a:cubicBezTo>
                <a:close/>
                <a:moveTo>
                  <a:pt x="5495377" y="1406059"/>
                </a:moveTo>
                <a:cubicBezTo>
                  <a:pt x="5509634" y="1405282"/>
                  <a:pt x="5523827" y="1404400"/>
                  <a:pt x="5537958" y="1403392"/>
                </a:cubicBezTo>
                <a:cubicBezTo>
                  <a:pt x="5549296" y="1396610"/>
                  <a:pt x="5560445" y="1389682"/>
                  <a:pt x="5571469" y="1382626"/>
                </a:cubicBezTo>
                <a:cubicBezTo>
                  <a:pt x="5556771" y="1383193"/>
                  <a:pt x="5542010" y="1383697"/>
                  <a:pt x="5527208" y="1384033"/>
                </a:cubicBezTo>
                <a:cubicBezTo>
                  <a:pt x="5516667" y="1391550"/>
                  <a:pt x="5506064" y="1398899"/>
                  <a:pt x="5495377" y="1406059"/>
                </a:cubicBezTo>
                <a:close/>
                <a:moveTo>
                  <a:pt x="5442360" y="1408431"/>
                </a:moveTo>
                <a:cubicBezTo>
                  <a:pt x="5456617" y="1407927"/>
                  <a:pt x="5470790" y="1407319"/>
                  <a:pt x="5484921" y="1406605"/>
                </a:cubicBezTo>
                <a:cubicBezTo>
                  <a:pt x="5496028" y="1399276"/>
                  <a:pt x="5506946" y="1391802"/>
                  <a:pt x="5517759" y="1384202"/>
                </a:cubicBezTo>
                <a:cubicBezTo>
                  <a:pt x="5503103" y="1384495"/>
                  <a:pt x="5488406" y="1384663"/>
                  <a:pt x="5473645" y="1384727"/>
                </a:cubicBezTo>
                <a:cubicBezTo>
                  <a:pt x="5463294" y="1392809"/>
                  <a:pt x="5452858" y="1400705"/>
                  <a:pt x="5442360" y="1408431"/>
                </a:cubicBezTo>
                <a:close/>
                <a:moveTo>
                  <a:pt x="5389029" y="1409754"/>
                </a:moveTo>
                <a:cubicBezTo>
                  <a:pt x="5403580" y="1409523"/>
                  <a:pt x="5418088" y="1409208"/>
                  <a:pt x="5432513" y="1408746"/>
                </a:cubicBezTo>
                <a:cubicBezTo>
                  <a:pt x="5443368" y="1400914"/>
                  <a:pt x="5454035" y="1392894"/>
                  <a:pt x="5464575" y="1384768"/>
                </a:cubicBezTo>
                <a:cubicBezTo>
                  <a:pt x="5449646" y="1384789"/>
                  <a:pt x="5434655" y="1384663"/>
                  <a:pt x="5419642" y="1384454"/>
                </a:cubicBezTo>
                <a:cubicBezTo>
                  <a:pt x="5409522" y="1393082"/>
                  <a:pt x="5399318" y="1401503"/>
                  <a:pt x="5389029" y="1409754"/>
                </a:cubicBezTo>
                <a:close/>
                <a:moveTo>
                  <a:pt x="5617220" y="1410489"/>
                </a:moveTo>
                <a:cubicBezTo>
                  <a:pt x="5627865" y="1408830"/>
                  <a:pt x="5638447" y="1407087"/>
                  <a:pt x="5648988" y="1405282"/>
                </a:cubicBezTo>
                <a:cubicBezTo>
                  <a:pt x="5659675" y="1401061"/>
                  <a:pt x="5670299" y="1396736"/>
                  <a:pt x="5680797" y="1392306"/>
                </a:cubicBezTo>
                <a:cubicBezTo>
                  <a:pt x="5669501" y="1393775"/>
                  <a:pt x="5658143" y="1395183"/>
                  <a:pt x="5646740" y="1396505"/>
                </a:cubicBezTo>
                <a:cubicBezTo>
                  <a:pt x="5636999" y="1401271"/>
                  <a:pt x="5627151" y="1405912"/>
                  <a:pt x="5617220" y="1410489"/>
                </a:cubicBezTo>
                <a:close/>
                <a:moveTo>
                  <a:pt x="5637062" y="1414772"/>
                </a:moveTo>
                <a:cubicBezTo>
                  <a:pt x="5642310" y="1413554"/>
                  <a:pt x="5647559" y="1412336"/>
                  <a:pt x="5652767" y="1411097"/>
                </a:cubicBezTo>
                <a:cubicBezTo>
                  <a:pt x="5659359" y="1409040"/>
                  <a:pt x="5665932" y="1406920"/>
                  <a:pt x="5672462" y="1404777"/>
                </a:cubicBezTo>
                <a:cubicBezTo>
                  <a:pt x="5672293" y="1404820"/>
                  <a:pt x="5672126" y="1404862"/>
                  <a:pt x="5671936" y="1404883"/>
                </a:cubicBezTo>
                <a:cubicBezTo>
                  <a:pt x="5666058" y="1405954"/>
                  <a:pt x="5660158" y="1407004"/>
                  <a:pt x="5654257" y="1408032"/>
                </a:cubicBezTo>
                <a:cubicBezTo>
                  <a:pt x="5648547" y="1410321"/>
                  <a:pt x="5642815" y="1412547"/>
                  <a:pt x="5637062" y="1414772"/>
                </a:cubicBezTo>
                <a:close/>
                <a:moveTo>
                  <a:pt x="5565128" y="1417985"/>
                </a:moveTo>
                <a:cubicBezTo>
                  <a:pt x="5576697" y="1416451"/>
                  <a:pt x="5588202" y="1414856"/>
                  <a:pt x="5599667" y="1413155"/>
                </a:cubicBezTo>
                <a:cubicBezTo>
                  <a:pt x="5610648" y="1408264"/>
                  <a:pt x="5621503" y="1403266"/>
                  <a:pt x="5632231" y="1398143"/>
                </a:cubicBezTo>
                <a:cubicBezTo>
                  <a:pt x="5620097" y="1399487"/>
                  <a:pt x="5607875" y="1400705"/>
                  <a:pt x="5595635" y="1401880"/>
                </a:cubicBezTo>
                <a:cubicBezTo>
                  <a:pt x="5585515" y="1407403"/>
                  <a:pt x="5575332" y="1412756"/>
                  <a:pt x="5565128" y="1417985"/>
                </a:cubicBezTo>
                <a:close/>
                <a:moveTo>
                  <a:pt x="5512216" y="1424368"/>
                </a:moveTo>
                <a:cubicBezTo>
                  <a:pt x="5524751" y="1423003"/>
                  <a:pt x="5537222" y="1421555"/>
                  <a:pt x="5549653" y="1420000"/>
                </a:cubicBezTo>
                <a:cubicBezTo>
                  <a:pt x="5560697" y="1414478"/>
                  <a:pt x="5571636" y="1408851"/>
                  <a:pt x="5582428" y="1403098"/>
                </a:cubicBezTo>
                <a:cubicBezTo>
                  <a:pt x="5569368" y="1404253"/>
                  <a:pt x="5556267" y="1405345"/>
                  <a:pt x="5543081" y="1406311"/>
                </a:cubicBezTo>
                <a:cubicBezTo>
                  <a:pt x="5532856" y="1412505"/>
                  <a:pt x="5522547" y="1418509"/>
                  <a:pt x="5512216" y="1424368"/>
                </a:cubicBezTo>
                <a:close/>
                <a:moveTo>
                  <a:pt x="5580622" y="1426719"/>
                </a:moveTo>
                <a:cubicBezTo>
                  <a:pt x="5588685" y="1425123"/>
                  <a:pt x="5596728" y="1423528"/>
                  <a:pt x="5604726" y="1421848"/>
                </a:cubicBezTo>
                <a:cubicBezTo>
                  <a:pt x="5605042" y="1421785"/>
                  <a:pt x="5605335" y="1421722"/>
                  <a:pt x="5605650" y="1421659"/>
                </a:cubicBezTo>
                <a:cubicBezTo>
                  <a:pt x="5614658" y="1418426"/>
                  <a:pt x="5623582" y="1415087"/>
                  <a:pt x="5632442" y="1411707"/>
                </a:cubicBezTo>
                <a:cubicBezTo>
                  <a:pt x="5623371" y="1413198"/>
                  <a:pt x="5614259" y="1414625"/>
                  <a:pt x="5605104" y="1415990"/>
                </a:cubicBezTo>
                <a:cubicBezTo>
                  <a:pt x="5597000" y="1419644"/>
                  <a:pt x="5588853" y="1423213"/>
                  <a:pt x="5580622" y="1426719"/>
                </a:cubicBezTo>
                <a:close/>
                <a:moveTo>
                  <a:pt x="5459157" y="1429511"/>
                </a:moveTo>
                <a:cubicBezTo>
                  <a:pt x="5472533" y="1428378"/>
                  <a:pt x="5485823" y="1427118"/>
                  <a:pt x="5499072" y="1425753"/>
                </a:cubicBezTo>
                <a:cubicBezTo>
                  <a:pt x="5510075" y="1419665"/>
                  <a:pt x="5520930" y="1413450"/>
                  <a:pt x="5531659" y="1407130"/>
                </a:cubicBezTo>
                <a:cubicBezTo>
                  <a:pt x="5517843" y="1408074"/>
                  <a:pt x="5503964" y="1408893"/>
                  <a:pt x="5490044" y="1409649"/>
                </a:cubicBezTo>
                <a:cubicBezTo>
                  <a:pt x="5489036" y="1410300"/>
                  <a:pt x="5488050" y="1410971"/>
                  <a:pt x="5487062" y="1411643"/>
                </a:cubicBezTo>
                <a:cubicBezTo>
                  <a:pt x="5477803" y="1417754"/>
                  <a:pt x="5468501" y="1423696"/>
                  <a:pt x="5459157" y="1429511"/>
                </a:cubicBezTo>
                <a:close/>
                <a:moveTo>
                  <a:pt x="5407086" y="1433438"/>
                </a:moveTo>
                <a:cubicBezTo>
                  <a:pt x="5420524" y="1432557"/>
                  <a:pt x="5433898" y="1431591"/>
                  <a:pt x="5447232" y="1430520"/>
                </a:cubicBezTo>
                <a:cubicBezTo>
                  <a:pt x="5458108" y="1423863"/>
                  <a:pt x="5468837" y="1417103"/>
                  <a:pt x="5479420" y="1410195"/>
                </a:cubicBezTo>
                <a:cubicBezTo>
                  <a:pt x="5465520" y="1410888"/>
                  <a:pt x="5451578" y="1411476"/>
                  <a:pt x="5437552" y="1411959"/>
                </a:cubicBezTo>
                <a:cubicBezTo>
                  <a:pt x="5431631" y="1416263"/>
                  <a:pt x="5425690" y="1420525"/>
                  <a:pt x="5419705" y="1424725"/>
                </a:cubicBezTo>
                <a:cubicBezTo>
                  <a:pt x="5415506" y="1427664"/>
                  <a:pt x="5411286" y="1430562"/>
                  <a:pt x="5407086" y="1433438"/>
                </a:cubicBezTo>
                <a:close/>
                <a:moveTo>
                  <a:pt x="5354742" y="1436294"/>
                </a:moveTo>
                <a:cubicBezTo>
                  <a:pt x="5368578" y="1435664"/>
                  <a:pt x="5382331" y="1434950"/>
                  <a:pt x="5396021" y="1434131"/>
                </a:cubicBezTo>
                <a:cubicBezTo>
                  <a:pt x="5406730" y="1426971"/>
                  <a:pt x="5417269" y="1419665"/>
                  <a:pt x="5427642" y="1412232"/>
                </a:cubicBezTo>
                <a:cubicBezTo>
                  <a:pt x="5413406" y="1412652"/>
                  <a:pt x="5399128" y="1412967"/>
                  <a:pt x="5384767" y="1413155"/>
                </a:cubicBezTo>
                <a:cubicBezTo>
                  <a:pt x="5374836" y="1421050"/>
                  <a:pt x="5364841" y="1428756"/>
                  <a:pt x="5354742" y="1436294"/>
                </a:cubicBezTo>
                <a:close/>
                <a:moveTo>
                  <a:pt x="5527858" y="1436377"/>
                </a:moveTo>
                <a:cubicBezTo>
                  <a:pt x="5537853" y="1434677"/>
                  <a:pt x="5547805" y="1432892"/>
                  <a:pt x="5557716" y="1431066"/>
                </a:cubicBezTo>
                <a:cubicBezTo>
                  <a:pt x="5567689" y="1427013"/>
                  <a:pt x="5577536" y="1422856"/>
                  <a:pt x="5587300" y="1418614"/>
                </a:cubicBezTo>
                <a:cubicBezTo>
                  <a:pt x="5576718" y="1420105"/>
                  <a:pt x="5566094" y="1421555"/>
                  <a:pt x="5555427" y="1422919"/>
                </a:cubicBezTo>
                <a:cubicBezTo>
                  <a:pt x="5546272" y="1427496"/>
                  <a:pt x="5537097" y="1432011"/>
                  <a:pt x="5527858" y="1436377"/>
                </a:cubicBezTo>
                <a:close/>
                <a:moveTo>
                  <a:pt x="5548792" y="1439821"/>
                </a:moveTo>
                <a:cubicBezTo>
                  <a:pt x="5553012" y="1438813"/>
                  <a:pt x="5557253" y="1437785"/>
                  <a:pt x="5561453" y="1436735"/>
                </a:cubicBezTo>
                <a:cubicBezTo>
                  <a:pt x="5567184" y="1434887"/>
                  <a:pt x="5572896" y="1432997"/>
                  <a:pt x="5578565" y="1431087"/>
                </a:cubicBezTo>
                <a:cubicBezTo>
                  <a:pt x="5573463" y="1432073"/>
                  <a:pt x="5568340" y="1433039"/>
                  <a:pt x="5563195" y="1434005"/>
                </a:cubicBezTo>
                <a:cubicBezTo>
                  <a:pt x="5558430" y="1435957"/>
                  <a:pt x="5553622" y="1437911"/>
                  <a:pt x="5548792" y="1439821"/>
                </a:cubicBezTo>
                <a:close/>
                <a:moveTo>
                  <a:pt x="5475031" y="1444672"/>
                </a:moveTo>
                <a:cubicBezTo>
                  <a:pt x="5486306" y="1443055"/>
                  <a:pt x="5497518" y="1441334"/>
                  <a:pt x="5508689" y="1439548"/>
                </a:cubicBezTo>
                <a:cubicBezTo>
                  <a:pt x="5519186" y="1434761"/>
                  <a:pt x="5529581" y="1429848"/>
                  <a:pt x="5539869" y="1424851"/>
                </a:cubicBezTo>
                <a:cubicBezTo>
                  <a:pt x="5528068" y="1426278"/>
                  <a:pt x="5516205" y="1427623"/>
                  <a:pt x="5504280" y="1428861"/>
                </a:cubicBezTo>
                <a:cubicBezTo>
                  <a:pt x="5494579" y="1434278"/>
                  <a:pt x="5484836" y="1439527"/>
                  <a:pt x="5475031" y="1444672"/>
                </a:cubicBezTo>
                <a:close/>
                <a:moveTo>
                  <a:pt x="5422329" y="1451684"/>
                </a:moveTo>
                <a:cubicBezTo>
                  <a:pt x="5434675" y="1450194"/>
                  <a:pt x="5446937" y="1448597"/>
                  <a:pt x="5459157" y="1446918"/>
                </a:cubicBezTo>
                <a:cubicBezTo>
                  <a:pt x="5469866" y="1441480"/>
                  <a:pt x="5480427" y="1435937"/>
                  <a:pt x="5490883" y="1430247"/>
                </a:cubicBezTo>
                <a:cubicBezTo>
                  <a:pt x="5478076" y="1431527"/>
                  <a:pt x="5465225" y="1432704"/>
                  <a:pt x="5452312" y="1433795"/>
                </a:cubicBezTo>
                <a:cubicBezTo>
                  <a:pt x="5442360" y="1439905"/>
                  <a:pt x="5432387" y="1445868"/>
                  <a:pt x="5422329" y="1451684"/>
                </a:cubicBezTo>
                <a:close/>
                <a:moveTo>
                  <a:pt x="5492752" y="1452377"/>
                </a:moveTo>
                <a:cubicBezTo>
                  <a:pt x="5500290" y="1450802"/>
                  <a:pt x="5507828" y="1449207"/>
                  <a:pt x="5515324" y="1447548"/>
                </a:cubicBezTo>
                <a:cubicBezTo>
                  <a:pt x="5523554" y="1444504"/>
                  <a:pt x="5531722" y="1441375"/>
                  <a:pt x="5539848" y="1438205"/>
                </a:cubicBezTo>
                <a:cubicBezTo>
                  <a:pt x="5531554" y="1439653"/>
                  <a:pt x="5523261" y="1441061"/>
                  <a:pt x="5514904" y="1442424"/>
                </a:cubicBezTo>
                <a:cubicBezTo>
                  <a:pt x="5507555" y="1445805"/>
                  <a:pt x="5500164" y="1449122"/>
                  <a:pt x="5492752" y="1452377"/>
                </a:cubicBezTo>
                <a:close/>
                <a:moveTo>
                  <a:pt x="5370867" y="1457312"/>
                </a:moveTo>
                <a:cubicBezTo>
                  <a:pt x="5383381" y="1456094"/>
                  <a:pt x="5395853" y="1454770"/>
                  <a:pt x="5408241" y="1453364"/>
                </a:cubicBezTo>
                <a:cubicBezTo>
                  <a:pt x="5419033" y="1447296"/>
                  <a:pt x="5429658" y="1441102"/>
                  <a:pt x="5440156" y="1434782"/>
                </a:cubicBezTo>
                <a:cubicBezTo>
                  <a:pt x="5427180" y="1435811"/>
                  <a:pt x="5414142" y="1436735"/>
                  <a:pt x="5401039" y="1437554"/>
                </a:cubicBezTo>
                <a:cubicBezTo>
                  <a:pt x="5391024" y="1444314"/>
                  <a:pt x="5380987" y="1450907"/>
                  <a:pt x="5370867" y="1457312"/>
                </a:cubicBezTo>
                <a:close/>
                <a:moveTo>
                  <a:pt x="5319236" y="1461804"/>
                </a:moveTo>
                <a:cubicBezTo>
                  <a:pt x="5332255" y="1460817"/>
                  <a:pt x="5345209" y="1459725"/>
                  <a:pt x="5358101" y="1458529"/>
                </a:cubicBezTo>
                <a:cubicBezTo>
                  <a:pt x="5368852" y="1451894"/>
                  <a:pt x="5379434" y="1445133"/>
                  <a:pt x="5389848" y="1438225"/>
                </a:cubicBezTo>
                <a:cubicBezTo>
                  <a:pt x="5376389" y="1439024"/>
                  <a:pt x="5362889" y="1439717"/>
                  <a:pt x="5349304" y="1440304"/>
                </a:cubicBezTo>
                <a:cubicBezTo>
                  <a:pt x="5339330" y="1447652"/>
                  <a:pt x="5329315" y="1454834"/>
                  <a:pt x="5319236" y="1461804"/>
                </a:cubicBezTo>
                <a:close/>
                <a:moveTo>
                  <a:pt x="5439127" y="1462834"/>
                </a:moveTo>
                <a:cubicBezTo>
                  <a:pt x="5448722" y="1461090"/>
                  <a:pt x="5458297" y="1459285"/>
                  <a:pt x="5467808" y="1457417"/>
                </a:cubicBezTo>
                <a:cubicBezTo>
                  <a:pt x="5477131" y="1453532"/>
                  <a:pt x="5486348" y="1449542"/>
                  <a:pt x="5495482" y="1445491"/>
                </a:cubicBezTo>
                <a:cubicBezTo>
                  <a:pt x="5485361" y="1447023"/>
                  <a:pt x="5475178" y="1448493"/>
                  <a:pt x="5464952" y="1449921"/>
                </a:cubicBezTo>
                <a:cubicBezTo>
                  <a:pt x="5456386" y="1454309"/>
                  <a:pt x="5447777" y="1458634"/>
                  <a:pt x="5439127" y="1462834"/>
                </a:cubicBezTo>
                <a:close/>
                <a:moveTo>
                  <a:pt x="5462770" y="1465122"/>
                </a:moveTo>
                <a:cubicBezTo>
                  <a:pt x="5465708" y="1464366"/>
                  <a:pt x="5468648" y="1463652"/>
                  <a:pt x="5471588" y="1462896"/>
                </a:cubicBezTo>
                <a:cubicBezTo>
                  <a:pt x="5471735" y="1462854"/>
                  <a:pt x="5471882" y="1462813"/>
                  <a:pt x="5472028" y="1462770"/>
                </a:cubicBezTo>
                <a:cubicBezTo>
                  <a:pt x="5476626" y="1461237"/>
                  <a:pt x="5481225" y="1459684"/>
                  <a:pt x="5485802" y="1458110"/>
                </a:cubicBezTo>
                <a:cubicBezTo>
                  <a:pt x="5481792" y="1458927"/>
                  <a:pt x="5477782" y="1459725"/>
                  <a:pt x="5473772" y="1460524"/>
                </a:cubicBezTo>
                <a:cubicBezTo>
                  <a:pt x="5470097" y="1462077"/>
                  <a:pt x="5466443" y="1463611"/>
                  <a:pt x="5462770" y="1465122"/>
                </a:cubicBezTo>
                <a:close/>
                <a:moveTo>
                  <a:pt x="5386531" y="1471631"/>
                </a:moveTo>
                <a:cubicBezTo>
                  <a:pt x="5397554" y="1469931"/>
                  <a:pt x="5408514" y="1468167"/>
                  <a:pt x="5419432" y="1466298"/>
                </a:cubicBezTo>
                <a:cubicBezTo>
                  <a:pt x="5429363" y="1461657"/>
                  <a:pt x="5439169" y="1456912"/>
                  <a:pt x="5448891" y="1452084"/>
                </a:cubicBezTo>
                <a:cubicBezTo>
                  <a:pt x="5437363" y="1453595"/>
                  <a:pt x="5425773" y="1455022"/>
                  <a:pt x="5414142" y="1456366"/>
                </a:cubicBezTo>
                <a:cubicBezTo>
                  <a:pt x="5404987" y="1461574"/>
                  <a:pt x="5395790" y="1466676"/>
                  <a:pt x="5386531" y="1471631"/>
                </a:cubicBezTo>
                <a:close/>
                <a:moveTo>
                  <a:pt x="5405218" y="1478685"/>
                </a:moveTo>
                <a:cubicBezTo>
                  <a:pt x="5412251" y="1477132"/>
                  <a:pt x="5419264" y="1475558"/>
                  <a:pt x="5426235" y="1473941"/>
                </a:cubicBezTo>
                <a:cubicBezTo>
                  <a:pt x="5433604" y="1471148"/>
                  <a:pt x="5440912" y="1468335"/>
                  <a:pt x="5448155" y="1465437"/>
                </a:cubicBezTo>
                <a:cubicBezTo>
                  <a:pt x="5440429" y="1466864"/>
                  <a:pt x="5432681" y="1468272"/>
                  <a:pt x="5424912" y="1469615"/>
                </a:cubicBezTo>
                <a:cubicBezTo>
                  <a:pt x="5418383" y="1472681"/>
                  <a:pt x="5411811" y="1475725"/>
                  <a:pt x="5405218" y="1478685"/>
                </a:cubicBezTo>
                <a:close/>
                <a:moveTo>
                  <a:pt x="5335508" y="1478896"/>
                </a:moveTo>
                <a:cubicBezTo>
                  <a:pt x="5346973" y="1477405"/>
                  <a:pt x="5358374" y="1475831"/>
                  <a:pt x="5369734" y="1474171"/>
                </a:cubicBezTo>
                <a:cubicBezTo>
                  <a:pt x="5379959" y="1468881"/>
                  <a:pt x="5390037" y="1463464"/>
                  <a:pt x="5400010" y="1457963"/>
                </a:cubicBezTo>
                <a:cubicBezTo>
                  <a:pt x="5388063" y="1459264"/>
                  <a:pt x="5376053" y="1460461"/>
                  <a:pt x="5364001" y="1461595"/>
                </a:cubicBezTo>
                <a:cubicBezTo>
                  <a:pt x="5354574" y="1467495"/>
                  <a:pt x="5345083" y="1473290"/>
                  <a:pt x="5335508" y="1478896"/>
                </a:cubicBezTo>
                <a:close/>
                <a:moveTo>
                  <a:pt x="5284487" y="1484964"/>
                </a:moveTo>
                <a:cubicBezTo>
                  <a:pt x="5296581" y="1483662"/>
                  <a:pt x="5308613" y="1482297"/>
                  <a:pt x="5320602" y="1480807"/>
                </a:cubicBezTo>
                <a:cubicBezTo>
                  <a:pt x="5330952" y="1474907"/>
                  <a:pt x="5341179" y="1468901"/>
                  <a:pt x="5351256" y="1462749"/>
                </a:cubicBezTo>
                <a:cubicBezTo>
                  <a:pt x="5338701" y="1463862"/>
                  <a:pt x="5326082" y="1464870"/>
                  <a:pt x="5313378" y="1465793"/>
                </a:cubicBezTo>
                <a:cubicBezTo>
                  <a:pt x="5303825" y="1472345"/>
                  <a:pt x="5294188" y="1478728"/>
                  <a:pt x="5284487" y="1484964"/>
                </a:cubicBezTo>
                <a:close/>
                <a:moveTo>
                  <a:pt x="5351509" y="1489688"/>
                </a:moveTo>
                <a:cubicBezTo>
                  <a:pt x="5360726" y="1487925"/>
                  <a:pt x="5369902" y="1486118"/>
                  <a:pt x="5379034" y="1484250"/>
                </a:cubicBezTo>
                <a:cubicBezTo>
                  <a:pt x="5387685" y="1480575"/>
                  <a:pt x="5396253" y="1476817"/>
                  <a:pt x="5404734" y="1472996"/>
                </a:cubicBezTo>
                <a:cubicBezTo>
                  <a:pt x="5394929" y="1474613"/>
                  <a:pt x="5385082" y="1476125"/>
                  <a:pt x="5375192" y="1477593"/>
                </a:cubicBezTo>
                <a:cubicBezTo>
                  <a:pt x="5367340" y="1481709"/>
                  <a:pt x="5359446" y="1485762"/>
                  <a:pt x="5351509" y="1489688"/>
                </a:cubicBezTo>
                <a:close/>
                <a:moveTo>
                  <a:pt x="5376578" y="1491158"/>
                </a:moveTo>
                <a:cubicBezTo>
                  <a:pt x="5379014" y="1490506"/>
                  <a:pt x="5381450" y="1489856"/>
                  <a:pt x="5383906" y="1489205"/>
                </a:cubicBezTo>
                <a:cubicBezTo>
                  <a:pt x="5387371" y="1488029"/>
                  <a:pt x="5390856" y="1486833"/>
                  <a:pt x="5394299" y="1485636"/>
                </a:cubicBezTo>
                <a:cubicBezTo>
                  <a:pt x="5391234" y="1486287"/>
                  <a:pt x="5388148" y="1486916"/>
                  <a:pt x="5385082" y="1487546"/>
                </a:cubicBezTo>
                <a:cubicBezTo>
                  <a:pt x="5382248" y="1488765"/>
                  <a:pt x="5379413" y="1489960"/>
                  <a:pt x="5376578" y="1491158"/>
                </a:cubicBezTo>
                <a:close/>
                <a:moveTo>
                  <a:pt x="5300403" y="1498737"/>
                </a:moveTo>
                <a:cubicBezTo>
                  <a:pt x="5310481" y="1497079"/>
                  <a:pt x="5320496" y="1495357"/>
                  <a:pt x="5330470" y="1493573"/>
                </a:cubicBezTo>
                <a:cubicBezTo>
                  <a:pt x="5339771" y="1489163"/>
                  <a:pt x="5348947" y="1484670"/>
                  <a:pt x="5358038" y="1480093"/>
                </a:cubicBezTo>
                <a:cubicBezTo>
                  <a:pt x="5347435" y="1481583"/>
                  <a:pt x="5336790" y="1483011"/>
                  <a:pt x="5326082" y="1484355"/>
                </a:cubicBezTo>
                <a:cubicBezTo>
                  <a:pt x="5317578" y="1489247"/>
                  <a:pt x="5309012" y="1494055"/>
                  <a:pt x="5300403" y="1498737"/>
                </a:cubicBezTo>
                <a:close/>
                <a:moveTo>
                  <a:pt x="5318082" y="1505624"/>
                </a:moveTo>
                <a:cubicBezTo>
                  <a:pt x="5324653" y="1504112"/>
                  <a:pt x="5331184" y="1502559"/>
                  <a:pt x="5337713" y="1500984"/>
                </a:cubicBezTo>
                <a:cubicBezTo>
                  <a:pt x="5344537" y="1498359"/>
                  <a:pt x="5351298" y="1495672"/>
                  <a:pt x="5358017" y="1492963"/>
                </a:cubicBezTo>
                <a:cubicBezTo>
                  <a:pt x="5350857" y="1494349"/>
                  <a:pt x="5343677" y="1495672"/>
                  <a:pt x="5336474" y="1496995"/>
                </a:cubicBezTo>
                <a:cubicBezTo>
                  <a:pt x="5330386" y="1499913"/>
                  <a:pt x="5324254" y="1502790"/>
                  <a:pt x="5318082" y="1505624"/>
                </a:cubicBezTo>
                <a:close/>
                <a:moveTo>
                  <a:pt x="5249781" y="1506401"/>
                </a:moveTo>
                <a:cubicBezTo>
                  <a:pt x="5260761" y="1504869"/>
                  <a:pt x="5271659" y="1503273"/>
                  <a:pt x="5282514" y="1501593"/>
                </a:cubicBezTo>
                <a:cubicBezTo>
                  <a:pt x="5292130" y="1496553"/>
                  <a:pt x="5301621" y="1491410"/>
                  <a:pt x="5310985" y="1486182"/>
                </a:cubicBezTo>
                <a:cubicBezTo>
                  <a:pt x="5299542" y="1487546"/>
                  <a:pt x="5288057" y="1488827"/>
                  <a:pt x="5276509" y="1490024"/>
                </a:cubicBezTo>
                <a:cubicBezTo>
                  <a:pt x="5267649" y="1495610"/>
                  <a:pt x="5258767" y="1501068"/>
                  <a:pt x="5249781" y="1506401"/>
                </a:cubicBezTo>
                <a:close/>
                <a:moveTo>
                  <a:pt x="5265360" y="1517025"/>
                </a:moveTo>
                <a:cubicBezTo>
                  <a:pt x="5273527" y="1515387"/>
                  <a:pt x="5281695" y="1513687"/>
                  <a:pt x="5289820" y="1511944"/>
                </a:cubicBezTo>
                <a:cubicBezTo>
                  <a:pt x="5298303" y="1508291"/>
                  <a:pt x="5306723" y="1504575"/>
                  <a:pt x="5315059" y="1500753"/>
                </a:cubicBezTo>
                <a:cubicBezTo>
                  <a:pt x="5306218" y="1502265"/>
                  <a:pt x="5297358" y="1503735"/>
                  <a:pt x="5288435" y="1505141"/>
                </a:cubicBezTo>
                <a:cubicBezTo>
                  <a:pt x="5280792" y="1509193"/>
                  <a:pt x="5273086" y="1513162"/>
                  <a:pt x="5265360" y="1517025"/>
                </a:cubicBezTo>
                <a:close/>
                <a:moveTo>
                  <a:pt x="5291101" y="1517592"/>
                </a:moveTo>
                <a:cubicBezTo>
                  <a:pt x="5293012" y="1517068"/>
                  <a:pt x="5294923" y="1516522"/>
                  <a:pt x="5296833" y="1515997"/>
                </a:cubicBezTo>
                <a:cubicBezTo>
                  <a:pt x="5298870" y="1515283"/>
                  <a:pt x="5300885" y="1514568"/>
                  <a:pt x="5302922" y="1513834"/>
                </a:cubicBezTo>
                <a:cubicBezTo>
                  <a:pt x="5300802" y="1514317"/>
                  <a:pt x="5298660" y="1514800"/>
                  <a:pt x="5296519" y="1515261"/>
                </a:cubicBezTo>
                <a:cubicBezTo>
                  <a:pt x="5294734" y="1516059"/>
                  <a:pt x="5292906" y="1516816"/>
                  <a:pt x="5291101" y="1517592"/>
                </a:cubicBezTo>
                <a:close/>
                <a:moveTo>
                  <a:pt x="5214275" y="1526641"/>
                </a:moveTo>
                <a:cubicBezTo>
                  <a:pt x="5223786" y="1524983"/>
                  <a:pt x="5233276" y="1523262"/>
                  <a:pt x="5242704" y="1521456"/>
                </a:cubicBezTo>
                <a:cubicBezTo>
                  <a:pt x="5251985" y="1517025"/>
                  <a:pt x="5261181" y="1512512"/>
                  <a:pt x="5270251" y="1507913"/>
                </a:cubicBezTo>
                <a:cubicBezTo>
                  <a:pt x="5260194" y="1509404"/>
                  <a:pt x="5250074" y="1510831"/>
                  <a:pt x="5239912" y="1512196"/>
                </a:cubicBezTo>
                <a:cubicBezTo>
                  <a:pt x="5231429" y="1517130"/>
                  <a:pt x="5222884" y="1521938"/>
                  <a:pt x="5214275" y="1526641"/>
                </a:cubicBezTo>
                <a:close/>
                <a:moveTo>
                  <a:pt x="5233948" y="1532227"/>
                </a:moveTo>
                <a:cubicBezTo>
                  <a:pt x="5239407" y="1530926"/>
                  <a:pt x="5244846" y="1529582"/>
                  <a:pt x="5250284" y="1528217"/>
                </a:cubicBezTo>
                <a:cubicBezTo>
                  <a:pt x="5256122" y="1525928"/>
                  <a:pt x="5261916" y="1523618"/>
                  <a:pt x="5267670" y="1521267"/>
                </a:cubicBezTo>
                <a:cubicBezTo>
                  <a:pt x="5261643" y="1522464"/>
                  <a:pt x="5255617" y="1523682"/>
                  <a:pt x="5249549" y="1524836"/>
                </a:cubicBezTo>
                <a:cubicBezTo>
                  <a:pt x="5244363" y="1527334"/>
                  <a:pt x="5239176" y="1529791"/>
                  <a:pt x="5233948" y="1532227"/>
                </a:cubicBezTo>
                <a:close/>
                <a:moveTo>
                  <a:pt x="5208270" y="1543796"/>
                </a:moveTo>
                <a:cubicBezTo>
                  <a:pt x="5208711" y="1543691"/>
                  <a:pt x="5209152" y="1543566"/>
                  <a:pt x="5209572" y="1543439"/>
                </a:cubicBezTo>
                <a:cubicBezTo>
                  <a:pt x="5209971" y="1543293"/>
                  <a:pt x="5210349" y="1543145"/>
                  <a:pt x="5210747" y="1543020"/>
                </a:cubicBezTo>
                <a:cubicBezTo>
                  <a:pt x="5210306" y="1543103"/>
                  <a:pt x="5209866" y="1543208"/>
                  <a:pt x="5209425" y="1543293"/>
                </a:cubicBezTo>
                <a:cubicBezTo>
                  <a:pt x="5209047" y="1543460"/>
                  <a:pt x="5208668" y="1543628"/>
                  <a:pt x="5208270" y="1543796"/>
                </a:cubicBezTo>
                <a:close/>
                <a:moveTo>
                  <a:pt x="5181457" y="1543964"/>
                </a:moveTo>
                <a:cubicBezTo>
                  <a:pt x="5189015" y="1542389"/>
                  <a:pt x="5196554" y="1540752"/>
                  <a:pt x="5204092" y="1539093"/>
                </a:cubicBezTo>
                <a:cubicBezTo>
                  <a:pt x="5211588" y="1535817"/>
                  <a:pt x="5219020" y="1532500"/>
                  <a:pt x="5226369" y="1529119"/>
                </a:cubicBezTo>
                <a:cubicBezTo>
                  <a:pt x="5218264" y="1530568"/>
                  <a:pt x="5210138" y="1531975"/>
                  <a:pt x="5201971" y="1533340"/>
                </a:cubicBezTo>
                <a:cubicBezTo>
                  <a:pt x="5195189" y="1536951"/>
                  <a:pt x="5188344" y="1540479"/>
                  <a:pt x="5181457" y="1543964"/>
                </a:cubicBezTo>
                <a:close/>
                <a:moveTo>
                  <a:pt x="5150277" y="1559228"/>
                </a:moveTo>
                <a:cubicBezTo>
                  <a:pt x="5154896" y="1558074"/>
                  <a:pt x="5159474" y="1556898"/>
                  <a:pt x="5164072" y="1555722"/>
                </a:cubicBezTo>
                <a:cubicBezTo>
                  <a:pt x="5168817" y="1553853"/>
                  <a:pt x="5173563" y="1551964"/>
                  <a:pt x="5178266" y="1550032"/>
                </a:cubicBezTo>
                <a:cubicBezTo>
                  <a:pt x="5173143" y="1551102"/>
                  <a:pt x="5167998" y="1552174"/>
                  <a:pt x="5162833" y="1553203"/>
                </a:cubicBezTo>
                <a:cubicBezTo>
                  <a:pt x="5158675" y="1555239"/>
                  <a:pt x="5154497" y="1557234"/>
                  <a:pt x="5150277" y="1559228"/>
                </a:cubicBezTo>
                <a:close/>
                <a:moveTo>
                  <a:pt x="4368678" y="1720091"/>
                </a:moveTo>
                <a:cubicBezTo>
                  <a:pt x="4291841" y="1721616"/>
                  <a:pt x="4214781" y="1720020"/>
                  <a:pt x="4137950" y="1715968"/>
                </a:cubicBezTo>
                <a:cubicBezTo>
                  <a:pt x="3909864" y="1703937"/>
                  <a:pt x="3683815" y="1670237"/>
                  <a:pt x="3471539" y="1632276"/>
                </a:cubicBezTo>
                <a:cubicBezTo>
                  <a:pt x="3133285" y="1571743"/>
                  <a:pt x="2785140" y="1487042"/>
                  <a:pt x="2407224" y="1373283"/>
                </a:cubicBezTo>
                <a:cubicBezTo>
                  <a:pt x="2092276" y="1278504"/>
                  <a:pt x="1753244" y="1162163"/>
                  <a:pt x="1370707" y="1017628"/>
                </a:cubicBezTo>
                <a:cubicBezTo>
                  <a:pt x="839874" y="817053"/>
                  <a:pt x="411317" y="636055"/>
                  <a:pt x="31249" y="450837"/>
                </a:cubicBezTo>
                <a:lnTo>
                  <a:pt x="0" y="434823"/>
                </a:lnTo>
                <a:lnTo>
                  <a:pt x="0" y="427746"/>
                </a:lnTo>
                <a:lnTo>
                  <a:pt x="34050" y="445195"/>
                </a:lnTo>
                <a:cubicBezTo>
                  <a:pt x="413932" y="630319"/>
                  <a:pt x="842310" y="811240"/>
                  <a:pt x="1372954" y="1011737"/>
                </a:cubicBezTo>
                <a:cubicBezTo>
                  <a:pt x="2202675" y="1325243"/>
                  <a:pt x="2850251" y="1514716"/>
                  <a:pt x="3472652" y="1626061"/>
                </a:cubicBezTo>
                <a:cubicBezTo>
                  <a:pt x="3935417" y="1708850"/>
                  <a:pt x="4463858" y="1771252"/>
                  <a:pt x="4934936" y="1632821"/>
                </a:cubicBezTo>
                <a:cubicBezTo>
                  <a:pt x="4759867" y="1673932"/>
                  <a:pt x="4567917" y="1692137"/>
                  <a:pt x="4353794" y="1688105"/>
                </a:cubicBezTo>
                <a:cubicBezTo>
                  <a:pt x="4317008" y="1687412"/>
                  <a:pt x="4280201" y="1686047"/>
                  <a:pt x="4243625" y="1684116"/>
                </a:cubicBezTo>
                <a:cubicBezTo>
                  <a:pt x="3982176" y="1670321"/>
                  <a:pt x="3730783" y="1627593"/>
                  <a:pt x="3556450" y="1594839"/>
                </a:cubicBezTo>
                <a:cubicBezTo>
                  <a:pt x="3216220" y="1529917"/>
                  <a:pt x="2864444" y="1439086"/>
                  <a:pt x="2481027" y="1317117"/>
                </a:cubicBezTo>
                <a:cubicBezTo>
                  <a:pt x="2166036" y="1216942"/>
                  <a:pt x="1833850" y="1097325"/>
                  <a:pt x="1435650" y="940712"/>
                </a:cubicBezTo>
                <a:cubicBezTo>
                  <a:pt x="1207117" y="850836"/>
                  <a:pt x="1001180" y="766911"/>
                  <a:pt x="806072" y="684142"/>
                </a:cubicBezTo>
                <a:cubicBezTo>
                  <a:pt x="633475" y="610934"/>
                  <a:pt x="461617" y="535153"/>
                  <a:pt x="291685" y="457345"/>
                </a:cubicBezTo>
                <a:lnTo>
                  <a:pt x="0" y="318725"/>
                </a:lnTo>
                <a:lnTo>
                  <a:pt x="0" y="312083"/>
                </a:lnTo>
                <a:lnTo>
                  <a:pt x="294184" y="451892"/>
                </a:lnTo>
                <a:cubicBezTo>
                  <a:pt x="464064" y="529677"/>
                  <a:pt x="635869" y="605433"/>
                  <a:pt x="808413" y="678620"/>
                </a:cubicBezTo>
                <a:cubicBezTo>
                  <a:pt x="1003475" y="761365"/>
                  <a:pt x="1209364" y="845272"/>
                  <a:pt x="1437854" y="935133"/>
                </a:cubicBezTo>
                <a:cubicBezTo>
                  <a:pt x="2011208" y="1160630"/>
                  <a:pt x="2770275" y="1438730"/>
                  <a:pt x="3557562" y="1588939"/>
                </a:cubicBezTo>
                <a:cubicBezTo>
                  <a:pt x="4019235" y="1675697"/>
                  <a:pt x="4549292" y="1742486"/>
                  <a:pt x="5028077" y="1602040"/>
                </a:cubicBezTo>
                <a:cubicBezTo>
                  <a:pt x="4847549" y="1644181"/>
                  <a:pt x="4649950" y="1661965"/>
                  <a:pt x="4429277" y="1656149"/>
                </a:cubicBezTo>
                <a:cubicBezTo>
                  <a:pt x="4400491" y="1655393"/>
                  <a:pt x="4371389" y="1654238"/>
                  <a:pt x="4341909" y="1652685"/>
                </a:cubicBezTo>
                <a:cubicBezTo>
                  <a:pt x="4135261" y="1641787"/>
                  <a:pt x="3909969" y="1611049"/>
                  <a:pt x="3641317" y="1557381"/>
                </a:cubicBezTo>
                <a:cubicBezTo>
                  <a:pt x="3299934" y="1489205"/>
                  <a:pt x="2944505" y="1392474"/>
                  <a:pt x="2554703" y="1261665"/>
                </a:cubicBezTo>
                <a:cubicBezTo>
                  <a:pt x="2244353" y="1157522"/>
                  <a:pt x="1919242" y="1034816"/>
                  <a:pt x="1500592" y="863803"/>
                </a:cubicBezTo>
                <a:cubicBezTo>
                  <a:pt x="1274564" y="771473"/>
                  <a:pt x="1066586" y="684110"/>
                  <a:pt x="864797" y="596715"/>
                </a:cubicBezTo>
                <a:cubicBezTo>
                  <a:pt x="694376" y="522920"/>
                  <a:pt x="523437" y="446650"/>
                  <a:pt x="351279" y="368600"/>
                </a:cubicBezTo>
                <a:lnTo>
                  <a:pt x="0" y="207540"/>
                </a:lnTo>
                <a:lnTo>
                  <a:pt x="0" y="201268"/>
                </a:lnTo>
                <a:lnTo>
                  <a:pt x="353616" y="363401"/>
                </a:lnTo>
                <a:cubicBezTo>
                  <a:pt x="525754" y="441441"/>
                  <a:pt x="696670" y="517699"/>
                  <a:pt x="867062" y="591481"/>
                </a:cubicBezTo>
                <a:cubicBezTo>
                  <a:pt x="1068815" y="678863"/>
                  <a:pt x="1276747" y="766213"/>
                  <a:pt x="1502734" y="858527"/>
                </a:cubicBezTo>
                <a:cubicBezTo>
                  <a:pt x="2164335" y="1128769"/>
                  <a:pt x="2881452" y="1399802"/>
                  <a:pt x="3642452" y="1551795"/>
                </a:cubicBezTo>
                <a:cubicBezTo>
                  <a:pt x="4061522" y="1635510"/>
                  <a:pt x="4593511" y="1711139"/>
                  <a:pt x="5078091" y="1583626"/>
                </a:cubicBezTo>
                <a:cubicBezTo>
                  <a:pt x="5081933" y="1582094"/>
                  <a:pt x="5085755" y="1580582"/>
                  <a:pt x="5089534" y="1579029"/>
                </a:cubicBezTo>
                <a:cubicBezTo>
                  <a:pt x="4912386" y="1616948"/>
                  <a:pt x="4719449" y="1631835"/>
                  <a:pt x="4504949" y="1624339"/>
                </a:cubicBezTo>
                <a:cubicBezTo>
                  <a:pt x="4485505" y="1623646"/>
                  <a:pt x="4465937" y="1622785"/>
                  <a:pt x="4446241" y="1621757"/>
                </a:cubicBezTo>
                <a:cubicBezTo>
                  <a:pt x="4232098" y="1610460"/>
                  <a:pt x="4001429" y="1577768"/>
                  <a:pt x="3726227" y="1519965"/>
                </a:cubicBezTo>
                <a:cubicBezTo>
                  <a:pt x="3382829" y="1447821"/>
                  <a:pt x="3023746" y="1345043"/>
                  <a:pt x="2628464" y="1205772"/>
                </a:cubicBezTo>
                <a:cubicBezTo>
                  <a:pt x="2239881" y="1068862"/>
                  <a:pt x="1856295" y="909998"/>
                  <a:pt x="1565534" y="786893"/>
                </a:cubicBezTo>
                <a:cubicBezTo>
                  <a:pt x="1348220" y="694888"/>
                  <a:pt x="1132224" y="601489"/>
                  <a:pt x="923529" y="509287"/>
                </a:cubicBezTo>
                <a:cubicBezTo>
                  <a:pt x="782882" y="447162"/>
                  <a:pt x="639758" y="382770"/>
                  <a:pt x="501345" y="320498"/>
                </a:cubicBezTo>
                <a:cubicBezTo>
                  <a:pt x="398050" y="274027"/>
                  <a:pt x="292997" y="226764"/>
                  <a:pt x="187632" y="179841"/>
                </a:cubicBezTo>
                <a:lnTo>
                  <a:pt x="0" y="97422"/>
                </a:lnTo>
                <a:lnTo>
                  <a:pt x="0" y="91532"/>
                </a:lnTo>
                <a:lnTo>
                  <a:pt x="189815" y="174907"/>
                </a:lnTo>
                <a:cubicBezTo>
                  <a:pt x="295192" y="221835"/>
                  <a:pt x="400253" y="269102"/>
                  <a:pt x="503557" y="315579"/>
                </a:cubicBezTo>
                <a:cubicBezTo>
                  <a:pt x="641960" y="377846"/>
                  <a:pt x="785075" y="442234"/>
                  <a:pt x="925706" y="504349"/>
                </a:cubicBezTo>
                <a:cubicBezTo>
                  <a:pt x="1134378" y="596545"/>
                  <a:pt x="1350362" y="689931"/>
                  <a:pt x="1567634" y="781923"/>
                </a:cubicBezTo>
                <a:cubicBezTo>
                  <a:pt x="2352905" y="1114391"/>
                  <a:pt x="3020700" y="1366228"/>
                  <a:pt x="3727319" y="1514674"/>
                </a:cubicBezTo>
                <a:cubicBezTo>
                  <a:pt x="4099232" y="1592802"/>
                  <a:pt x="4631452" y="1677944"/>
                  <a:pt x="5118090" y="1566871"/>
                </a:cubicBezTo>
                <a:cubicBezTo>
                  <a:pt x="5124641" y="1563995"/>
                  <a:pt x="5131129" y="1561055"/>
                  <a:pt x="5137574" y="1558074"/>
                </a:cubicBezTo>
                <a:cubicBezTo>
                  <a:pt x="4967397" y="1589779"/>
                  <a:pt x="4783425" y="1600969"/>
                  <a:pt x="4580515" y="1592130"/>
                </a:cubicBezTo>
                <a:cubicBezTo>
                  <a:pt x="4570814" y="1591710"/>
                  <a:pt x="4561051" y="1591227"/>
                  <a:pt x="4551287" y="1590724"/>
                </a:cubicBezTo>
                <a:cubicBezTo>
                  <a:pt x="4330928" y="1579091"/>
                  <a:pt x="4088439" y="1543628"/>
                  <a:pt x="3811116" y="1482528"/>
                </a:cubicBezTo>
                <a:cubicBezTo>
                  <a:pt x="3465472" y="1406374"/>
                  <a:pt x="3102756" y="1297527"/>
                  <a:pt x="2702226" y="1149817"/>
                </a:cubicBezTo>
                <a:cubicBezTo>
                  <a:pt x="2326428" y="1011235"/>
                  <a:pt x="1965036" y="856528"/>
                  <a:pt x="1630476" y="709987"/>
                </a:cubicBezTo>
                <a:cubicBezTo>
                  <a:pt x="1423451" y="619305"/>
                  <a:pt x="1211411" y="525058"/>
                  <a:pt x="982256" y="421862"/>
                </a:cubicBezTo>
                <a:cubicBezTo>
                  <a:pt x="916074" y="392066"/>
                  <a:pt x="848648" y="361530"/>
                  <a:pt x="783440" y="332002"/>
                </a:cubicBezTo>
                <a:cubicBezTo>
                  <a:pt x="641032" y="267511"/>
                  <a:pt x="496199" y="201922"/>
                  <a:pt x="350657" y="137829"/>
                </a:cubicBezTo>
                <a:lnTo>
                  <a:pt x="25395" y="0"/>
                </a:lnTo>
                <a:lnTo>
                  <a:pt x="38470" y="0"/>
                </a:lnTo>
                <a:lnTo>
                  <a:pt x="352685" y="133148"/>
                </a:lnTo>
                <a:cubicBezTo>
                  <a:pt x="498257" y="197254"/>
                  <a:pt x="643114" y="262855"/>
                  <a:pt x="785546" y="327356"/>
                </a:cubicBezTo>
                <a:cubicBezTo>
                  <a:pt x="850753" y="356885"/>
                  <a:pt x="918179" y="387421"/>
                  <a:pt x="984353" y="417212"/>
                </a:cubicBezTo>
                <a:cubicBezTo>
                  <a:pt x="1213491" y="520403"/>
                  <a:pt x="1425508" y="614641"/>
                  <a:pt x="1632514" y="705321"/>
                </a:cubicBezTo>
                <a:cubicBezTo>
                  <a:pt x="2311186" y="1002574"/>
                  <a:pt x="3038506" y="1307060"/>
                  <a:pt x="3812229" y="1477552"/>
                </a:cubicBezTo>
                <a:cubicBezTo>
                  <a:pt x="4168520" y="1556058"/>
                  <a:pt x="4677078" y="1642816"/>
                  <a:pt x="5156870" y="1548961"/>
                </a:cubicBezTo>
                <a:cubicBezTo>
                  <a:pt x="5165206" y="1544909"/>
                  <a:pt x="5173478" y="1540814"/>
                  <a:pt x="5181646" y="1536615"/>
                </a:cubicBezTo>
                <a:cubicBezTo>
                  <a:pt x="5134383" y="1544027"/>
                  <a:pt x="5086132" y="1549927"/>
                  <a:pt x="5037106" y="1554295"/>
                </a:cubicBezTo>
                <a:cubicBezTo>
                  <a:pt x="4917426" y="1564960"/>
                  <a:pt x="4789242" y="1566829"/>
                  <a:pt x="4656082" y="1559858"/>
                </a:cubicBezTo>
                <a:cubicBezTo>
                  <a:pt x="4655682" y="1559838"/>
                  <a:pt x="4655242" y="1559817"/>
                  <a:pt x="4654843" y="1559796"/>
                </a:cubicBezTo>
                <a:cubicBezTo>
                  <a:pt x="4426799" y="1547764"/>
                  <a:pt x="4178599" y="1510244"/>
                  <a:pt x="3896027" y="1445091"/>
                </a:cubicBezTo>
                <a:cubicBezTo>
                  <a:pt x="3131961" y="1268909"/>
                  <a:pt x="2419107" y="960459"/>
                  <a:pt x="1695419" y="633079"/>
                </a:cubicBezTo>
                <a:cubicBezTo>
                  <a:pt x="1470336" y="531250"/>
                  <a:pt x="1239605" y="425534"/>
                  <a:pt x="1040996" y="334434"/>
                </a:cubicBezTo>
                <a:cubicBezTo>
                  <a:pt x="1012242" y="321250"/>
                  <a:pt x="983451" y="308029"/>
                  <a:pt x="954634" y="294796"/>
                </a:cubicBezTo>
                <a:cubicBezTo>
                  <a:pt x="791546" y="219911"/>
                  <a:pt x="625682" y="143751"/>
                  <a:pt x="458593" y="70547"/>
                </a:cubicBezTo>
                <a:lnTo>
                  <a:pt x="292959" y="0"/>
                </a:lnTo>
                <a:lnTo>
                  <a:pt x="305206" y="0"/>
                </a:lnTo>
                <a:lnTo>
                  <a:pt x="460466" y="66128"/>
                </a:lnTo>
                <a:cubicBezTo>
                  <a:pt x="627605" y="139353"/>
                  <a:pt x="793508" y="215532"/>
                  <a:pt x="956634" y="290434"/>
                </a:cubicBezTo>
                <a:cubicBezTo>
                  <a:pt x="985450" y="303669"/>
                  <a:pt x="1014238" y="316887"/>
                  <a:pt x="1042997" y="330073"/>
                </a:cubicBezTo>
                <a:cubicBezTo>
                  <a:pt x="1241599" y="421167"/>
                  <a:pt x="1472330" y="526882"/>
                  <a:pt x="1697392" y="628707"/>
                </a:cubicBezTo>
                <a:cubicBezTo>
                  <a:pt x="2420850" y="955985"/>
                  <a:pt x="3133473" y="1264332"/>
                  <a:pt x="3897098" y="1440409"/>
                </a:cubicBezTo>
                <a:cubicBezTo>
                  <a:pt x="4415335" y="1559900"/>
                  <a:pt x="4834131" y="1589380"/>
                  <a:pt x="5194161" y="1530064"/>
                </a:cubicBezTo>
                <a:cubicBezTo>
                  <a:pt x="5203839" y="1524962"/>
                  <a:pt x="5213371" y="1519755"/>
                  <a:pt x="5222799" y="1514443"/>
                </a:cubicBezTo>
                <a:cubicBezTo>
                  <a:pt x="5077293" y="1532773"/>
                  <a:pt x="4921982" y="1537686"/>
                  <a:pt x="4758440" y="1529057"/>
                </a:cubicBezTo>
                <a:cubicBezTo>
                  <a:pt x="4749516" y="1528573"/>
                  <a:pt x="4740614" y="1528070"/>
                  <a:pt x="4731648" y="1527524"/>
                </a:cubicBezTo>
                <a:cubicBezTo>
                  <a:pt x="4503205" y="1513478"/>
                  <a:pt x="4257651" y="1474276"/>
                  <a:pt x="3980916" y="1407654"/>
                </a:cubicBezTo>
                <a:cubicBezTo>
                  <a:pt x="3630294" y="1323227"/>
                  <a:pt x="3260293" y="1202224"/>
                  <a:pt x="2849810" y="1037758"/>
                </a:cubicBezTo>
                <a:cubicBezTo>
                  <a:pt x="2476260" y="888073"/>
                  <a:pt x="2106784" y="717775"/>
                  <a:pt x="1760382" y="556168"/>
                </a:cubicBezTo>
                <a:cubicBezTo>
                  <a:pt x="1645909" y="502766"/>
                  <a:pt x="1529441" y="448191"/>
                  <a:pt x="1416816" y="395415"/>
                </a:cubicBezTo>
                <a:cubicBezTo>
                  <a:pt x="1312946" y="346728"/>
                  <a:pt x="1205512" y="296388"/>
                  <a:pt x="1099734" y="247004"/>
                </a:cubicBezTo>
                <a:lnTo>
                  <a:pt x="1082229" y="238835"/>
                </a:lnTo>
                <a:lnTo>
                  <a:pt x="559232" y="0"/>
                </a:lnTo>
                <a:lnTo>
                  <a:pt x="570071" y="0"/>
                </a:lnTo>
                <a:lnTo>
                  <a:pt x="1084134" y="234755"/>
                </a:lnTo>
                <a:lnTo>
                  <a:pt x="1101640" y="242926"/>
                </a:lnTo>
                <a:cubicBezTo>
                  <a:pt x="1207421" y="292309"/>
                  <a:pt x="1314856" y="342650"/>
                  <a:pt x="1418726" y="391335"/>
                </a:cubicBezTo>
                <a:cubicBezTo>
                  <a:pt x="1531352" y="444113"/>
                  <a:pt x="1647820" y="498688"/>
                  <a:pt x="1762272" y="552091"/>
                </a:cubicBezTo>
                <a:cubicBezTo>
                  <a:pt x="2529969" y="910225"/>
                  <a:pt x="3226887" y="1221456"/>
                  <a:pt x="3981987" y="1403266"/>
                </a:cubicBezTo>
                <a:cubicBezTo>
                  <a:pt x="4467112" y="1520071"/>
                  <a:pt x="4879107" y="1555008"/>
                  <a:pt x="5232836" y="1508690"/>
                </a:cubicBezTo>
                <a:cubicBezTo>
                  <a:pt x="5242536" y="1503084"/>
                  <a:pt x="5252110" y="1497352"/>
                  <a:pt x="5261559" y="1491515"/>
                </a:cubicBezTo>
                <a:cubicBezTo>
                  <a:pt x="5136125" y="1503651"/>
                  <a:pt x="5004225" y="1506087"/>
                  <a:pt x="4865228" y="1498758"/>
                </a:cubicBezTo>
                <a:cubicBezTo>
                  <a:pt x="4621688" y="1485888"/>
                  <a:pt x="4356355" y="1443096"/>
                  <a:pt x="4065826" y="1370197"/>
                </a:cubicBezTo>
                <a:cubicBezTo>
                  <a:pt x="3712495" y="1281549"/>
                  <a:pt x="3338862" y="1154435"/>
                  <a:pt x="2923634" y="981636"/>
                </a:cubicBezTo>
                <a:cubicBezTo>
                  <a:pt x="2560246" y="830409"/>
                  <a:pt x="2211241" y="664645"/>
                  <a:pt x="1825346" y="479258"/>
                </a:cubicBezTo>
                <a:cubicBezTo>
                  <a:pt x="1772896" y="454062"/>
                  <a:pt x="1720426" y="428826"/>
                  <a:pt x="1667934" y="403584"/>
                </a:cubicBezTo>
                <a:cubicBezTo>
                  <a:pt x="1501138" y="323348"/>
                  <a:pt x="1328651" y="240380"/>
                  <a:pt x="1158476" y="159579"/>
                </a:cubicBezTo>
                <a:cubicBezTo>
                  <a:pt x="1073077" y="119041"/>
                  <a:pt x="984829" y="77150"/>
                  <a:pt x="894379" y="35136"/>
                </a:cubicBezTo>
                <a:lnTo>
                  <a:pt x="816547" y="0"/>
                </a:lnTo>
                <a:lnTo>
                  <a:pt x="826748" y="0"/>
                </a:lnTo>
                <a:lnTo>
                  <a:pt x="896085" y="31301"/>
                </a:lnTo>
                <a:cubicBezTo>
                  <a:pt x="986568" y="73330"/>
                  <a:pt x="1074846" y="115234"/>
                  <a:pt x="1160275" y="155785"/>
                </a:cubicBezTo>
                <a:cubicBezTo>
                  <a:pt x="1330457" y="236594"/>
                  <a:pt x="1502944" y="319562"/>
                  <a:pt x="1669762" y="399800"/>
                </a:cubicBezTo>
                <a:cubicBezTo>
                  <a:pt x="1722252" y="425040"/>
                  <a:pt x="1774702" y="450278"/>
                  <a:pt x="1827152" y="475476"/>
                </a:cubicBezTo>
                <a:cubicBezTo>
                  <a:pt x="2498516" y="797986"/>
                  <a:pt x="3259432" y="1163528"/>
                  <a:pt x="4066854" y="1366123"/>
                </a:cubicBezTo>
                <a:cubicBezTo>
                  <a:pt x="4526512" y="1481479"/>
                  <a:pt x="4922948" y="1521330"/>
                  <a:pt x="5269705" y="1486476"/>
                </a:cubicBezTo>
                <a:cubicBezTo>
                  <a:pt x="5279994" y="1480029"/>
                  <a:pt x="5290094" y="1473436"/>
                  <a:pt x="5300088" y="1466738"/>
                </a:cubicBezTo>
                <a:cubicBezTo>
                  <a:pt x="5193845" y="1473877"/>
                  <a:pt x="5083340" y="1474444"/>
                  <a:pt x="4969202" y="1468419"/>
                </a:cubicBezTo>
                <a:cubicBezTo>
                  <a:pt x="4940605" y="1466907"/>
                  <a:pt x="4911819" y="1464996"/>
                  <a:pt x="4882782" y="1462666"/>
                </a:cubicBezTo>
                <a:cubicBezTo>
                  <a:pt x="4657844" y="1444566"/>
                  <a:pt x="4411556" y="1400873"/>
                  <a:pt x="4150736" y="1332759"/>
                </a:cubicBezTo>
                <a:cubicBezTo>
                  <a:pt x="3350998" y="1123987"/>
                  <a:pt x="2608413" y="757133"/>
                  <a:pt x="1890288" y="402358"/>
                </a:cubicBezTo>
                <a:lnTo>
                  <a:pt x="1840253" y="377628"/>
                </a:lnTo>
                <a:cubicBezTo>
                  <a:pt x="1636398" y="276898"/>
                  <a:pt x="1425592" y="172733"/>
                  <a:pt x="1217216" y="72155"/>
                </a:cubicBezTo>
                <a:lnTo>
                  <a:pt x="1065568" y="0"/>
                </a:lnTo>
                <a:lnTo>
                  <a:pt x="1074646" y="0"/>
                </a:lnTo>
                <a:lnTo>
                  <a:pt x="1218913" y="68642"/>
                </a:lnTo>
                <a:cubicBezTo>
                  <a:pt x="1427293" y="169225"/>
                  <a:pt x="1638098" y="273393"/>
                  <a:pt x="1841975" y="374130"/>
                </a:cubicBezTo>
                <a:lnTo>
                  <a:pt x="1892031" y="398860"/>
                </a:lnTo>
                <a:cubicBezTo>
                  <a:pt x="2609966" y="753548"/>
                  <a:pt x="3352362" y="1120312"/>
                  <a:pt x="4151723" y="1329001"/>
                </a:cubicBezTo>
                <a:cubicBezTo>
                  <a:pt x="4586246" y="1442424"/>
                  <a:pt x="4966894" y="1486769"/>
                  <a:pt x="5305904" y="1462813"/>
                </a:cubicBezTo>
                <a:cubicBezTo>
                  <a:pt x="5316507" y="1455589"/>
                  <a:pt x="5326942" y="1448262"/>
                  <a:pt x="5337210" y="1440788"/>
                </a:cubicBezTo>
                <a:cubicBezTo>
                  <a:pt x="5252740" y="1444020"/>
                  <a:pt x="5165878" y="1443328"/>
                  <a:pt x="5076979" y="1438625"/>
                </a:cubicBezTo>
                <a:cubicBezTo>
                  <a:pt x="5037820" y="1436567"/>
                  <a:pt x="4998283" y="1433732"/>
                  <a:pt x="4958347" y="1430121"/>
                </a:cubicBezTo>
                <a:cubicBezTo>
                  <a:pt x="4733769" y="1409817"/>
                  <a:pt x="4490629" y="1364485"/>
                  <a:pt x="4235647" y="1295344"/>
                </a:cubicBezTo>
                <a:cubicBezTo>
                  <a:pt x="3879985" y="1198885"/>
                  <a:pt x="3503392" y="1061390"/>
                  <a:pt x="3084320" y="875001"/>
                </a:cubicBezTo>
                <a:cubicBezTo>
                  <a:pt x="2710876" y="708912"/>
                  <a:pt x="2339636" y="520512"/>
                  <a:pt x="1980615" y="338318"/>
                </a:cubicBezTo>
                <a:lnTo>
                  <a:pt x="1955272" y="325453"/>
                </a:lnTo>
                <a:cubicBezTo>
                  <a:pt x="1850762" y="272423"/>
                  <a:pt x="1739286" y="215855"/>
                  <a:pt x="1624763" y="158238"/>
                </a:cubicBezTo>
                <a:lnTo>
                  <a:pt x="1306663" y="0"/>
                </a:lnTo>
                <a:lnTo>
                  <a:pt x="1314729" y="0"/>
                </a:lnTo>
                <a:lnTo>
                  <a:pt x="1626367" y="155023"/>
                </a:lnTo>
                <a:cubicBezTo>
                  <a:pt x="1740898" y="212643"/>
                  <a:pt x="1852379" y="269213"/>
                  <a:pt x="1956889" y="322247"/>
                </a:cubicBezTo>
                <a:lnTo>
                  <a:pt x="1982253" y="335112"/>
                </a:lnTo>
                <a:cubicBezTo>
                  <a:pt x="2700902" y="699812"/>
                  <a:pt x="3444012" y="1076925"/>
                  <a:pt x="4236591" y="1291859"/>
                </a:cubicBezTo>
                <a:cubicBezTo>
                  <a:pt x="4640607" y="1401419"/>
                  <a:pt x="5011133" y="1449858"/>
                  <a:pt x="5342669" y="1436776"/>
                </a:cubicBezTo>
                <a:cubicBezTo>
                  <a:pt x="5353104" y="1429091"/>
                  <a:pt x="5363392" y="1421282"/>
                  <a:pt x="5373534" y="1413324"/>
                </a:cubicBezTo>
                <a:cubicBezTo>
                  <a:pt x="5312350" y="1413953"/>
                  <a:pt x="5250116" y="1412631"/>
                  <a:pt x="5186937" y="1409292"/>
                </a:cubicBezTo>
                <a:cubicBezTo>
                  <a:pt x="5136503" y="1406647"/>
                  <a:pt x="5085503" y="1402720"/>
                  <a:pt x="5033936" y="1397534"/>
                </a:cubicBezTo>
                <a:cubicBezTo>
                  <a:pt x="4809797" y="1374984"/>
                  <a:pt x="4569786" y="1328015"/>
                  <a:pt x="4320577" y="1257906"/>
                </a:cubicBezTo>
                <a:cubicBezTo>
                  <a:pt x="3967079" y="1158467"/>
                  <a:pt x="3593298" y="1017811"/>
                  <a:pt x="3177860" y="827905"/>
                </a:cubicBezTo>
                <a:cubicBezTo>
                  <a:pt x="2807606" y="658661"/>
                  <a:pt x="2439747" y="467054"/>
                  <a:pt x="2083981" y="281757"/>
                </a:cubicBezTo>
                <a:lnTo>
                  <a:pt x="2020236" y="248558"/>
                </a:lnTo>
                <a:lnTo>
                  <a:pt x="1535114" y="0"/>
                </a:lnTo>
                <a:lnTo>
                  <a:pt x="1542338" y="0"/>
                </a:lnTo>
                <a:lnTo>
                  <a:pt x="2021748" y="245635"/>
                </a:lnTo>
                <a:lnTo>
                  <a:pt x="2085514" y="278835"/>
                </a:lnTo>
                <a:cubicBezTo>
                  <a:pt x="2797487" y="649671"/>
                  <a:pt x="3533710" y="1033137"/>
                  <a:pt x="4321459" y="1254736"/>
                </a:cubicBezTo>
                <a:cubicBezTo>
                  <a:pt x="4701497" y="1361629"/>
                  <a:pt x="5055289" y="1413513"/>
                  <a:pt x="5377880" y="1409901"/>
                </a:cubicBezTo>
                <a:cubicBezTo>
                  <a:pt x="5388483" y="1401503"/>
                  <a:pt x="5398939" y="1392978"/>
                  <a:pt x="5409207" y="1384285"/>
                </a:cubicBezTo>
                <a:cubicBezTo>
                  <a:pt x="5373534" y="1383656"/>
                  <a:pt x="5337588" y="1382417"/>
                  <a:pt x="5301305" y="1380506"/>
                </a:cubicBezTo>
                <a:cubicBezTo>
                  <a:pt x="5019910" y="1365662"/>
                  <a:pt x="4720310" y="1312204"/>
                  <a:pt x="4405487" y="1220470"/>
                </a:cubicBezTo>
                <a:cubicBezTo>
                  <a:pt x="4053418" y="1117878"/>
                  <a:pt x="3681652" y="973821"/>
                  <a:pt x="3268902" y="780077"/>
                </a:cubicBezTo>
                <a:cubicBezTo>
                  <a:pt x="2901020" y="607391"/>
                  <a:pt x="2535702" y="412268"/>
                  <a:pt x="2182414" y="223572"/>
                </a:cubicBezTo>
                <a:cubicBezTo>
                  <a:pt x="2150016" y="206258"/>
                  <a:pt x="2117618" y="188951"/>
                  <a:pt x="2085199" y="171658"/>
                </a:cubicBezTo>
                <a:lnTo>
                  <a:pt x="1761476" y="0"/>
                </a:lnTo>
                <a:lnTo>
                  <a:pt x="1767886" y="0"/>
                </a:lnTo>
                <a:lnTo>
                  <a:pt x="2086627" y="169008"/>
                </a:lnTo>
                <a:cubicBezTo>
                  <a:pt x="2119025" y="186301"/>
                  <a:pt x="2151422" y="203611"/>
                  <a:pt x="2183841" y="220920"/>
                </a:cubicBezTo>
                <a:cubicBezTo>
                  <a:pt x="2890774" y="598510"/>
                  <a:pt x="3621749" y="988956"/>
                  <a:pt x="4406327" y="1217593"/>
                </a:cubicBezTo>
                <a:cubicBezTo>
                  <a:pt x="4762723" y="1321443"/>
                  <a:pt x="5099634" y="1376180"/>
                  <a:pt x="5412609" y="1381367"/>
                </a:cubicBezTo>
                <a:cubicBezTo>
                  <a:pt x="5423274" y="1372296"/>
                  <a:pt x="5433730" y="1363079"/>
                  <a:pt x="5444040" y="1353735"/>
                </a:cubicBezTo>
                <a:cubicBezTo>
                  <a:pt x="5435242" y="1353336"/>
                  <a:pt x="5426424" y="1352916"/>
                  <a:pt x="5417585" y="1352455"/>
                </a:cubicBezTo>
                <a:cubicBezTo>
                  <a:pt x="5123276" y="1336938"/>
                  <a:pt x="4813052" y="1280311"/>
                  <a:pt x="4490418" y="1183033"/>
                </a:cubicBezTo>
                <a:cubicBezTo>
                  <a:pt x="4139167" y="1077131"/>
                  <a:pt x="3768725" y="929468"/>
                  <a:pt x="3357906" y="731616"/>
                </a:cubicBezTo>
                <a:cubicBezTo>
                  <a:pt x="2991704" y="555259"/>
                  <a:pt x="2628275" y="356367"/>
                  <a:pt x="2276835" y="164027"/>
                </a:cubicBezTo>
                <a:cubicBezTo>
                  <a:pt x="2234610" y="140925"/>
                  <a:pt x="2192407" y="117827"/>
                  <a:pt x="2150184" y="94762"/>
                </a:cubicBezTo>
                <a:lnTo>
                  <a:pt x="1976130" y="0"/>
                </a:lnTo>
                <a:lnTo>
                  <a:pt x="1981782" y="0"/>
                </a:lnTo>
                <a:lnTo>
                  <a:pt x="2151485" y="92391"/>
                </a:lnTo>
                <a:cubicBezTo>
                  <a:pt x="2193688" y="115457"/>
                  <a:pt x="2235913" y="138557"/>
                  <a:pt x="2278116" y="161659"/>
                </a:cubicBezTo>
                <a:cubicBezTo>
                  <a:pt x="2981312" y="546497"/>
                  <a:pt x="3708444" y="944434"/>
                  <a:pt x="4491196" y="1180451"/>
                </a:cubicBezTo>
                <a:cubicBezTo>
                  <a:pt x="4824285" y="1280877"/>
                  <a:pt x="5144168" y="1337925"/>
                  <a:pt x="5446896" y="1351152"/>
                </a:cubicBezTo>
                <a:cubicBezTo>
                  <a:pt x="5457730" y="1341284"/>
                  <a:pt x="5468397" y="1331248"/>
                  <a:pt x="5478874" y="1321085"/>
                </a:cubicBezTo>
                <a:cubicBezTo>
                  <a:pt x="5187398" y="1300341"/>
                  <a:pt x="4885069" y="1241698"/>
                  <a:pt x="4575349" y="1145596"/>
                </a:cubicBezTo>
                <a:cubicBezTo>
                  <a:pt x="4222943" y="1035291"/>
                  <a:pt x="3851640" y="882889"/>
                  <a:pt x="3440254" y="679695"/>
                </a:cubicBezTo>
                <a:cubicBezTo>
                  <a:pt x="3073549" y="498562"/>
                  <a:pt x="2709762" y="294820"/>
                  <a:pt x="2357965" y="97783"/>
                </a:cubicBezTo>
                <a:cubicBezTo>
                  <a:pt x="2310367" y="71127"/>
                  <a:pt x="2262767" y="44471"/>
                  <a:pt x="2215168" y="17862"/>
                </a:cubicBezTo>
                <a:lnTo>
                  <a:pt x="2182901" y="0"/>
                </a:lnTo>
                <a:lnTo>
                  <a:pt x="2187837" y="0"/>
                </a:lnTo>
                <a:lnTo>
                  <a:pt x="2216322" y="15769"/>
                </a:lnTo>
                <a:cubicBezTo>
                  <a:pt x="2263943" y="42376"/>
                  <a:pt x="2311542" y="69033"/>
                  <a:pt x="2359142" y="95693"/>
                </a:cubicBezTo>
                <a:cubicBezTo>
                  <a:pt x="3062925" y="489870"/>
                  <a:pt x="3790686" y="897469"/>
                  <a:pt x="4576063" y="1143307"/>
                </a:cubicBezTo>
                <a:cubicBezTo>
                  <a:pt x="4886351" y="1239577"/>
                  <a:pt x="5189226" y="1298241"/>
                  <a:pt x="5481162" y="1318839"/>
                </a:cubicBezTo>
                <a:cubicBezTo>
                  <a:pt x="5491681" y="1308571"/>
                  <a:pt x="5502032" y="1298136"/>
                  <a:pt x="5512216" y="1287575"/>
                </a:cubicBezTo>
                <a:cubicBezTo>
                  <a:pt x="5478411" y="1284342"/>
                  <a:pt x="5444565" y="1280625"/>
                  <a:pt x="5410719" y="1276426"/>
                </a:cubicBezTo>
                <a:cubicBezTo>
                  <a:pt x="5164660" y="1245834"/>
                  <a:pt x="4912176" y="1189227"/>
                  <a:pt x="4660260" y="1108170"/>
                </a:cubicBezTo>
                <a:cubicBezTo>
                  <a:pt x="4309176" y="995195"/>
                  <a:pt x="3939741" y="839777"/>
                  <a:pt x="3530854" y="633017"/>
                </a:cubicBezTo>
                <a:cubicBezTo>
                  <a:pt x="3166333" y="448706"/>
                  <a:pt x="2805004" y="241638"/>
                  <a:pt x="2455557" y="41387"/>
                </a:cubicBezTo>
                <a:lnTo>
                  <a:pt x="2382838" y="0"/>
                </a:lnTo>
                <a:lnTo>
                  <a:pt x="2387092" y="0"/>
                </a:lnTo>
                <a:lnTo>
                  <a:pt x="2456607" y="39563"/>
                </a:lnTo>
                <a:cubicBezTo>
                  <a:pt x="3155646" y="440160"/>
                  <a:pt x="3878473" y="854393"/>
                  <a:pt x="4660910" y="1106171"/>
                </a:cubicBezTo>
                <a:cubicBezTo>
                  <a:pt x="4949802" y="1199138"/>
                  <a:pt x="5234242" y="1259083"/>
                  <a:pt x="5513644" y="1286126"/>
                </a:cubicBezTo>
                <a:cubicBezTo>
                  <a:pt x="5671139" y="1122588"/>
                  <a:pt x="5789707" y="926438"/>
                  <a:pt x="5906028" y="733996"/>
                </a:cubicBezTo>
                <a:cubicBezTo>
                  <a:pt x="6061066" y="477452"/>
                  <a:pt x="6221396" y="212173"/>
                  <a:pt x="6471213" y="22687"/>
                </a:cubicBezTo>
                <a:lnTo>
                  <a:pt x="6505689" y="0"/>
                </a:lnTo>
                <a:lnTo>
                  <a:pt x="6517654" y="0"/>
                </a:lnTo>
                <a:lnTo>
                  <a:pt x="6475012" y="27706"/>
                </a:lnTo>
                <a:cubicBezTo>
                  <a:pt x="6226141" y="216464"/>
                  <a:pt x="6066147" y="481221"/>
                  <a:pt x="5911402" y="737260"/>
                </a:cubicBezTo>
                <a:cubicBezTo>
                  <a:pt x="5808708" y="907191"/>
                  <a:pt x="5702507" y="1082914"/>
                  <a:pt x="5571972" y="1232669"/>
                </a:cubicBezTo>
                <a:cubicBezTo>
                  <a:pt x="5555553" y="1251503"/>
                  <a:pt x="5539050" y="1269582"/>
                  <a:pt x="5522441" y="1286987"/>
                </a:cubicBezTo>
                <a:cubicBezTo>
                  <a:pt x="5539323" y="1288562"/>
                  <a:pt x="5556204" y="1290031"/>
                  <a:pt x="5573064" y="1291375"/>
                </a:cubicBezTo>
                <a:cubicBezTo>
                  <a:pt x="5735683" y="1136253"/>
                  <a:pt x="5860717" y="946516"/>
                  <a:pt x="5989867" y="750508"/>
                </a:cubicBezTo>
                <a:cubicBezTo>
                  <a:pt x="6120213" y="552685"/>
                  <a:pt x="6255011" y="348126"/>
                  <a:pt x="6433817" y="180479"/>
                </a:cubicBezTo>
                <a:cubicBezTo>
                  <a:pt x="6474173" y="142597"/>
                  <a:pt x="6516124" y="107264"/>
                  <a:pt x="6558537" y="75468"/>
                </a:cubicBezTo>
                <a:lnTo>
                  <a:pt x="6673396" y="0"/>
                </a:lnTo>
                <a:lnTo>
                  <a:pt x="6683335" y="0"/>
                </a:lnTo>
                <a:lnTo>
                  <a:pt x="6562129" y="80273"/>
                </a:lnTo>
                <a:cubicBezTo>
                  <a:pt x="6519904" y="111937"/>
                  <a:pt x="6478100" y="147121"/>
                  <a:pt x="6437913" y="184856"/>
                </a:cubicBezTo>
                <a:cubicBezTo>
                  <a:pt x="6259631" y="352022"/>
                  <a:pt x="6125021" y="556279"/>
                  <a:pt x="5994864" y="753811"/>
                </a:cubicBezTo>
                <a:cubicBezTo>
                  <a:pt x="5887298" y="917078"/>
                  <a:pt x="5776037" y="1085903"/>
                  <a:pt x="5642269" y="1229121"/>
                </a:cubicBezTo>
                <a:cubicBezTo>
                  <a:pt x="5621735" y="1251104"/>
                  <a:pt x="5601115" y="1272016"/>
                  <a:pt x="5580329" y="1291963"/>
                </a:cubicBezTo>
                <a:cubicBezTo>
                  <a:pt x="5597084" y="1293265"/>
                  <a:pt x="5613817" y="1294462"/>
                  <a:pt x="5630531" y="1295532"/>
                </a:cubicBezTo>
                <a:cubicBezTo>
                  <a:pt x="5803019" y="1145155"/>
                  <a:pt x="5937186" y="958578"/>
                  <a:pt x="6075890" y="765655"/>
                </a:cubicBezTo>
                <a:cubicBezTo>
                  <a:pt x="6208525" y="581166"/>
                  <a:pt x="6345695" y="390398"/>
                  <a:pt x="6521605" y="230650"/>
                </a:cubicBezTo>
                <a:cubicBezTo>
                  <a:pt x="6562065" y="193808"/>
                  <a:pt x="6603869" y="159356"/>
                  <a:pt x="6645862" y="128256"/>
                </a:cubicBezTo>
                <a:cubicBezTo>
                  <a:pt x="6690422" y="95239"/>
                  <a:pt x="6737016" y="64678"/>
                  <a:pt x="6785552" y="36612"/>
                </a:cubicBezTo>
                <a:lnTo>
                  <a:pt x="6857825" y="0"/>
                </a:lnTo>
                <a:lnTo>
                  <a:pt x="6869285" y="0"/>
                </a:lnTo>
                <a:lnTo>
                  <a:pt x="6789167" y="40862"/>
                </a:lnTo>
                <a:cubicBezTo>
                  <a:pt x="6741321" y="68612"/>
                  <a:pt x="6694629" y="99210"/>
                  <a:pt x="6649243" y="132841"/>
                </a:cubicBezTo>
                <a:cubicBezTo>
                  <a:pt x="6607417" y="163824"/>
                  <a:pt x="6565761" y="198154"/>
                  <a:pt x="6525447" y="234870"/>
                </a:cubicBezTo>
                <a:cubicBezTo>
                  <a:pt x="6349957" y="394216"/>
                  <a:pt x="6212976" y="584738"/>
                  <a:pt x="6080530" y="768988"/>
                </a:cubicBezTo>
                <a:cubicBezTo>
                  <a:pt x="5967716" y="925882"/>
                  <a:pt x="5851079" y="1088121"/>
                  <a:pt x="5713720" y="1225047"/>
                </a:cubicBezTo>
                <a:cubicBezTo>
                  <a:pt x="5688545" y="1250117"/>
                  <a:pt x="5663349" y="1273718"/>
                  <a:pt x="5637965" y="1296016"/>
                </a:cubicBezTo>
                <a:cubicBezTo>
                  <a:pt x="5654887" y="1297066"/>
                  <a:pt x="5671790" y="1297989"/>
                  <a:pt x="5688672" y="1298787"/>
                </a:cubicBezTo>
                <a:cubicBezTo>
                  <a:pt x="5871845" y="1153323"/>
                  <a:pt x="6015945" y="969567"/>
                  <a:pt x="6165041" y="779395"/>
                </a:cubicBezTo>
                <a:cubicBezTo>
                  <a:pt x="6298936" y="608592"/>
                  <a:pt x="6437408" y="431979"/>
                  <a:pt x="6609390" y="280825"/>
                </a:cubicBezTo>
                <a:cubicBezTo>
                  <a:pt x="6649957" y="245037"/>
                  <a:pt x="6691613" y="211463"/>
                  <a:pt x="6733187" y="181050"/>
                </a:cubicBezTo>
                <a:cubicBezTo>
                  <a:pt x="6821719" y="116244"/>
                  <a:pt x="6917794" y="60144"/>
                  <a:pt x="7020693" y="13078"/>
                </a:cubicBezTo>
                <a:lnTo>
                  <a:pt x="7053372" y="0"/>
                </a:lnTo>
                <a:lnTo>
                  <a:pt x="7065547" y="0"/>
                </a:lnTo>
                <a:lnTo>
                  <a:pt x="7029270" y="14374"/>
                </a:lnTo>
                <a:cubicBezTo>
                  <a:pt x="6924804" y="61885"/>
                  <a:pt x="6827236" y="118891"/>
                  <a:pt x="6736379" y="185400"/>
                </a:cubicBezTo>
                <a:cubicBezTo>
                  <a:pt x="6694931" y="215720"/>
                  <a:pt x="6653421" y="249186"/>
                  <a:pt x="6612960" y="284871"/>
                </a:cubicBezTo>
                <a:cubicBezTo>
                  <a:pt x="6441355" y="435698"/>
                  <a:pt x="6303051" y="612111"/>
                  <a:pt x="6169282" y="782721"/>
                </a:cubicBezTo>
                <a:cubicBezTo>
                  <a:pt x="6045382" y="940758"/>
                  <a:pt x="5928347" y="1090029"/>
                  <a:pt x="5786956" y="1220974"/>
                </a:cubicBezTo>
                <a:cubicBezTo>
                  <a:pt x="5756806" y="1248899"/>
                  <a:pt x="5726695" y="1274851"/>
                  <a:pt x="5696376" y="1299124"/>
                </a:cubicBezTo>
                <a:cubicBezTo>
                  <a:pt x="5712901" y="1299879"/>
                  <a:pt x="5729404" y="1300509"/>
                  <a:pt x="5745887" y="1301033"/>
                </a:cubicBezTo>
                <a:cubicBezTo>
                  <a:pt x="5941322" y="1160273"/>
                  <a:pt x="6096781" y="978850"/>
                  <a:pt x="6257803" y="790916"/>
                </a:cubicBezTo>
                <a:cubicBezTo>
                  <a:pt x="6391825" y="634500"/>
                  <a:pt x="6530403" y="472757"/>
                  <a:pt x="6697177" y="330995"/>
                </a:cubicBezTo>
                <a:cubicBezTo>
                  <a:pt x="6737891" y="296242"/>
                  <a:pt x="6779380" y="263548"/>
                  <a:pt x="6820511" y="233833"/>
                </a:cubicBezTo>
                <a:cubicBezTo>
                  <a:pt x="6909825" y="169274"/>
                  <a:pt x="7005497" y="112864"/>
                  <a:pt x="7107444" y="64610"/>
                </a:cubicBezTo>
                <a:lnTo>
                  <a:pt x="7261125" y="0"/>
                </a:lnTo>
                <a:lnTo>
                  <a:pt x="7275652" y="0"/>
                </a:lnTo>
                <a:lnTo>
                  <a:pt x="7273034" y="837"/>
                </a:lnTo>
                <a:cubicBezTo>
                  <a:pt x="7108732" y="61116"/>
                  <a:pt x="6958787" y="140167"/>
                  <a:pt x="6823494" y="237965"/>
                </a:cubicBezTo>
                <a:cubicBezTo>
                  <a:pt x="6782466" y="267604"/>
                  <a:pt x="6741081" y="300205"/>
                  <a:pt x="6700474" y="334879"/>
                </a:cubicBezTo>
                <a:cubicBezTo>
                  <a:pt x="6534014" y="476383"/>
                  <a:pt x="6395562" y="637967"/>
                  <a:pt x="6261667" y="794232"/>
                </a:cubicBezTo>
                <a:cubicBezTo>
                  <a:pt x="6131174" y="946532"/>
                  <a:pt x="6007923" y="1090384"/>
                  <a:pt x="5861872" y="1215703"/>
                </a:cubicBezTo>
                <a:cubicBezTo>
                  <a:pt x="5826009" y="1246484"/>
                  <a:pt x="5790126" y="1274956"/>
                  <a:pt x="5753970" y="1301286"/>
                </a:cubicBezTo>
                <a:cubicBezTo>
                  <a:pt x="5770263" y="1301769"/>
                  <a:pt x="5786536" y="1302125"/>
                  <a:pt x="5802787" y="1302377"/>
                </a:cubicBezTo>
                <a:cubicBezTo>
                  <a:pt x="6012333" y="1166152"/>
                  <a:pt x="6180956" y="986292"/>
                  <a:pt x="6355774" y="799799"/>
                </a:cubicBezTo>
                <a:cubicBezTo>
                  <a:pt x="6488198" y="658527"/>
                  <a:pt x="6625138" y="512447"/>
                  <a:pt x="6784964" y="381175"/>
                </a:cubicBezTo>
                <a:cubicBezTo>
                  <a:pt x="6825824" y="347429"/>
                  <a:pt x="6867166" y="315619"/>
                  <a:pt x="6907836" y="286622"/>
                </a:cubicBezTo>
                <a:cubicBezTo>
                  <a:pt x="7057405" y="179899"/>
                  <a:pt x="7217802" y="97109"/>
                  <a:pt x="7384568" y="34165"/>
                </a:cubicBezTo>
                <a:lnTo>
                  <a:pt x="7486630" y="0"/>
                </a:lnTo>
                <a:lnTo>
                  <a:pt x="7502084" y="0"/>
                </a:lnTo>
                <a:lnTo>
                  <a:pt x="7391799" y="36567"/>
                </a:lnTo>
                <a:cubicBezTo>
                  <a:pt x="7223424" y="99625"/>
                  <a:pt x="7061505" y="182874"/>
                  <a:pt x="6910629" y="290528"/>
                </a:cubicBezTo>
                <a:cubicBezTo>
                  <a:pt x="6870042" y="319457"/>
                  <a:pt x="6828805" y="351204"/>
                  <a:pt x="6788008" y="384878"/>
                </a:cubicBezTo>
                <a:cubicBezTo>
                  <a:pt x="6628435" y="515958"/>
                  <a:pt x="6491600" y="661921"/>
                  <a:pt x="6359280" y="803079"/>
                </a:cubicBezTo>
                <a:cubicBezTo>
                  <a:pt x="6185890" y="988043"/>
                  <a:pt x="6018589" y="1166467"/>
                  <a:pt x="5811417" y="1302483"/>
                </a:cubicBezTo>
                <a:cubicBezTo>
                  <a:pt x="5827416" y="1302692"/>
                  <a:pt x="5843395" y="1302776"/>
                  <a:pt x="5859373" y="1302756"/>
                </a:cubicBezTo>
                <a:cubicBezTo>
                  <a:pt x="6085716" y="1170750"/>
                  <a:pt x="6269898" y="991354"/>
                  <a:pt x="6461092" y="805116"/>
                </a:cubicBezTo>
                <a:cubicBezTo>
                  <a:pt x="6589528" y="680008"/>
                  <a:pt x="6722331" y="550641"/>
                  <a:pt x="6872751" y="431354"/>
                </a:cubicBezTo>
                <a:cubicBezTo>
                  <a:pt x="6913800" y="398604"/>
                  <a:pt x="6954995" y="367669"/>
                  <a:pt x="6995161" y="339408"/>
                </a:cubicBezTo>
                <a:cubicBezTo>
                  <a:pt x="7163134" y="221151"/>
                  <a:pt x="7349520" y="124372"/>
                  <a:pt x="7552895" y="49594"/>
                </a:cubicBezTo>
                <a:lnTo>
                  <a:pt x="7701527" y="0"/>
                </a:lnTo>
                <a:lnTo>
                  <a:pt x="7722343" y="0"/>
                </a:lnTo>
                <a:lnTo>
                  <a:pt x="7647398" y="21863"/>
                </a:lnTo>
                <a:cubicBezTo>
                  <a:pt x="7423076" y="94992"/>
                  <a:pt x="7202649" y="198834"/>
                  <a:pt x="6997744" y="343093"/>
                </a:cubicBezTo>
                <a:cubicBezTo>
                  <a:pt x="6957661" y="371302"/>
                  <a:pt x="6916529" y="402181"/>
                  <a:pt x="6875544" y="434880"/>
                </a:cubicBezTo>
                <a:cubicBezTo>
                  <a:pt x="6725292" y="554028"/>
                  <a:pt x="6592573" y="683313"/>
                  <a:pt x="6464221" y="808341"/>
                </a:cubicBezTo>
                <a:cubicBezTo>
                  <a:pt x="6274685" y="992970"/>
                  <a:pt x="6092036" y="1170897"/>
                  <a:pt x="5868359" y="1302735"/>
                </a:cubicBezTo>
                <a:cubicBezTo>
                  <a:pt x="5884128" y="1302671"/>
                  <a:pt x="5899875" y="1302503"/>
                  <a:pt x="5915622" y="1302231"/>
                </a:cubicBezTo>
                <a:cubicBezTo>
                  <a:pt x="6162521" y="1174005"/>
                  <a:pt x="6365811" y="993281"/>
                  <a:pt x="6577077" y="805418"/>
                </a:cubicBezTo>
                <a:cubicBezTo>
                  <a:pt x="6697976" y="697904"/>
                  <a:pt x="6823010" y="586729"/>
                  <a:pt x="6960517" y="481540"/>
                </a:cubicBezTo>
                <a:cubicBezTo>
                  <a:pt x="7002447" y="449273"/>
                  <a:pt x="7042340" y="420049"/>
                  <a:pt x="7082486" y="392203"/>
                </a:cubicBezTo>
                <a:cubicBezTo>
                  <a:pt x="7252054" y="274463"/>
                  <a:pt x="7436949" y="175211"/>
                  <a:pt x="7635787" y="95007"/>
                </a:cubicBezTo>
                <a:lnTo>
                  <a:pt x="7912464" y="0"/>
                </a:lnTo>
                <a:lnTo>
                  <a:pt x="7932856" y="0"/>
                </a:lnTo>
                <a:lnTo>
                  <a:pt x="7848839" y="24524"/>
                </a:lnTo>
                <a:cubicBezTo>
                  <a:pt x="7568777" y="114441"/>
                  <a:pt x="7310671" y="238870"/>
                  <a:pt x="7084879" y="395654"/>
                </a:cubicBezTo>
                <a:cubicBezTo>
                  <a:pt x="7044797" y="423462"/>
                  <a:pt x="7004945" y="452645"/>
                  <a:pt x="6963078" y="484877"/>
                </a:cubicBezTo>
                <a:cubicBezTo>
                  <a:pt x="6825677" y="589971"/>
                  <a:pt x="6700726" y="701093"/>
                  <a:pt x="6579871" y="808557"/>
                </a:cubicBezTo>
                <a:cubicBezTo>
                  <a:pt x="6370514" y="994713"/>
                  <a:pt x="6169009" y="1173879"/>
                  <a:pt x="5925092" y="1302042"/>
                </a:cubicBezTo>
                <a:cubicBezTo>
                  <a:pt x="5940567" y="1301726"/>
                  <a:pt x="5956041" y="1301306"/>
                  <a:pt x="5971495" y="1300782"/>
                </a:cubicBezTo>
                <a:cubicBezTo>
                  <a:pt x="6244722" y="1175601"/>
                  <a:pt x="6472368" y="990677"/>
                  <a:pt x="6709271" y="798185"/>
                </a:cubicBezTo>
                <a:cubicBezTo>
                  <a:pt x="6817298" y="710427"/>
                  <a:pt x="6928980" y="619687"/>
                  <a:pt x="7048303" y="531734"/>
                </a:cubicBezTo>
                <a:cubicBezTo>
                  <a:pt x="7090674" y="500313"/>
                  <a:pt x="7130400" y="471940"/>
                  <a:pt x="7169789" y="444998"/>
                </a:cubicBezTo>
                <a:cubicBezTo>
                  <a:pt x="7344270" y="325560"/>
                  <a:pt x="7533681" y="220998"/>
                  <a:pt x="7732707" y="134210"/>
                </a:cubicBezTo>
                <a:cubicBezTo>
                  <a:pt x="7828252" y="92551"/>
                  <a:pt x="7926505" y="54768"/>
                  <a:pt x="8026769" y="21095"/>
                </a:cubicBezTo>
                <a:lnTo>
                  <a:pt x="8099774" y="0"/>
                </a:lnTo>
                <a:lnTo>
                  <a:pt x="8108300" y="0"/>
                </a:lnTo>
                <a:lnTo>
                  <a:pt x="8090280" y="5251"/>
                </a:lnTo>
                <a:cubicBezTo>
                  <a:pt x="7760215" y="109741"/>
                  <a:pt x="7448803" y="258741"/>
                  <a:pt x="7171994" y="448210"/>
                </a:cubicBezTo>
                <a:cubicBezTo>
                  <a:pt x="7132647" y="475123"/>
                  <a:pt x="7092942" y="503466"/>
                  <a:pt x="7050613" y="534863"/>
                </a:cubicBezTo>
                <a:cubicBezTo>
                  <a:pt x="6931353" y="622763"/>
                  <a:pt x="6819714" y="713479"/>
                  <a:pt x="6711749" y="801204"/>
                </a:cubicBezTo>
                <a:cubicBezTo>
                  <a:pt x="6540752" y="940139"/>
                  <a:pt x="6379227" y="1071361"/>
                  <a:pt x="6201849" y="1181227"/>
                </a:cubicBezTo>
                <a:cubicBezTo>
                  <a:pt x="6127793" y="1227084"/>
                  <a:pt x="6055145" y="1266600"/>
                  <a:pt x="5982476" y="1300383"/>
                </a:cubicBezTo>
                <a:cubicBezTo>
                  <a:pt x="5997321" y="1299837"/>
                  <a:pt x="6012143" y="1299186"/>
                  <a:pt x="6026947" y="1298430"/>
                </a:cubicBezTo>
                <a:cubicBezTo>
                  <a:pt x="6335681" y="1175097"/>
                  <a:pt x="6596142" y="980983"/>
                  <a:pt x="6867690" y="778620"/>
                </a:cubicBezTo>
                <a:cubicBezTo>
                  <a:pt x="6954050" y="714249"/>
                  <a:pt x="7043368" y="647686"/>
                  <a:pt x="7136069" y="581919"/>
                </a:cubicBezTo>
                <a:cubicBezTo>
                  <a:pt x="7179195" y="551133"/>
                  <a:pt x="7218796" y="523613"/>
                  <a:pt x="7257114" y="497785"/>
                </a:cubicBezTo>
                <a:cubicBezTo>
                  <a:pt x="7435039" y="377788"/>
                  <a:pt x="7620900" y="270184"/>
                  <a:pt x="7809576" y="177966"/>
                </a:cubicBezTo>
                <a:cubicBezTo>
                  <a:pt x="7905635" y="131014"/>
                  <a:pt x="8002780" y="87876"/>
                  <a:pt x="8100333" y="48824"/>
                </a:cubicBezTo>
                <a:lnTo>
                  <a:pt x="8237159" y="0"/>
                </a:lnTo>
                <a:lnTo>
                  <a:pt x="8244262" y="0"/>
                </a:lnTo>
                <a:lnTo>
                  <a:pt x="8156420" y="29736"/>
                </a:lnTo>
                <a:cubicBezTo>
                  <a:pt x="7852067" y="146667"/>
                  <a:pt x="7550048" y="304553"/>
                  <a:pt x="7259130" y="500773"/>
                </a:cubicBezTo>
                <a:cubicBezTo>
                  <a:pt x="7220833" y="526583"/>
                  <a:pt x="7181253" y="554090"/>
                  <a:pt x="7138147" y="584854"/>
                </a:cubicBezTo>
                <a:cubicBezTo>
                  <a:pt x="7045490" y="650605"/>
                  <a:pt x="6956191" y="717155"/>
                  <a:pt x="6869831" y="781511"/>
                </a:cubicBezTo>
                <a:cubicBezTo>
                  <a:pt x="6680548" y="922569"/>
                  <a:pt x="6501763" y="1055804"/>
                  <a:pt x="6309266" y="1165627"/>
                </a:cubicBezTo>
                <a:cubicBezTo>
                  <a:pt x="6217595" y="1217908"/>
                  <a:pt x="6128401" y="1261645"/>
                  <a:pt x="6039376" y="1297800"/>
                </a:cubicBezTo>
                <a:cubicBezTo>
                  <a:pt x="6054432" y="1296982"/>
                  <a:pt x="6069444" y="1296057"/>
                  <a:pt x="6084456" y="1295050"/>
                </a:cubicBezTo>
                <a:cubicBezTo>
                  <a:pt x="6438311" y="1174088"/>
                  <a:pt x="6737806" y="967300"/>
                  <a:pt x="7072113" y="736453"/>
                </a:cubicBezTo>
                <a:cubicBezTo>
                  <a:pt x="7121434" y="702399"/>
                  <a:pt x="7172435" y="667177"/>
                  <a:pt x="7223834" y="632117"/>
                </a:cubicBezTo>
                <a:cubicBezTo>
                  <a:pt x="7269649" y="600685"/>
                  <a:pt x="7307989" y="574778"/>
                  <a:pt x="7344439" y="550579"/>
                </a:cubicBezTo>
                <a:cubicBezTo>
                  <a:pt x="7623766" y="365033"/>
                  <a:pt x="7903448" y="209602"/>
                  <a:pt x="8179100" y="86558"/>
                </a:cubicBezTo>
                <a:lnTo>
                  <a:pt x="8390660" y="0"/>
                </a:lnTo>
                <a:lnTo>
                  <a:pt x="8399624" y="0"/>
                </a:lnTo>
                <a:lnTo>
                  <a:pt x="8240062" y="62322"/>
                </a:lnTo>
                <a:cubicBezTo>
                  <a:pt x="7947202" y="188525"/>
                  <a:pt x="7648883" y="352319"/>
                  <a:pt x="7346265" y="553331"/>
                </a:cubicBezTo>
                <a:cubicBezTo>
                  <a:pt x="7309815" y="577515"/>
                  <a:pt x="7271517" y="603415"/>
                  <a:pt x="7225682" y="634842"/>
                </a:cubicBezTo>
                <a:cubicBezTo>
                  <a:pt x="7174304" y="669898"/>
                  <a:pt x="7123302" y="705114"/>
                  <a:pt x="7073982" y="739171"/>
                </a:cubicBezTo>
                <a:cubicBezTo>
                  <a:pt x="6858011" y="888298"/>
                  <a:pt x="6654029" y="1029156"/>
                  <a:pt x="6439046" y="1142951"/>
                </a:cubicBezTo>
                <a:cubicBezTo>
                  <a:pt x="6321843" y="1204995"/>
                  <a:pt x="6208924" y="1254946"/>
                  <a:pt x="6096509" y="1294210"/>
                </a:cubicBezTo>
                <a:cubicBezTo>
                  <a:pt x="6109736" y="1293265"/>
                  <a:pt x="6122943" y="1292258"/>
                  <a:pt x="6136149" y="1291144"/>
                </a:cubicBezTo>
                <a:cubicBezTo>
                  <a:pt x="6574789" y="1164997"/>
                  <a:pt x="6948171" y="920410"/>
                  <a:pt x="7311579" y="682318"/>
                </a:cubicBezTo>
                <a:lnTo>
                  <a:pt x="7332722" y="668412"/>
                </a:lnTo>
                <a:cubicBezTo>
                  <a:pt x="7365036" y="647137"/>
                  <a:pt x="7398442" y="625142"/>
                  <a:pt x="7431742" y="603377"/>
                </a:cubicBezTo>
                <a:cubicBezTo>
                  <a:pt x="7750469" y="395001"/>
                  <a:pt x="8017810" y="237474"/>
                  <a:pt x="8267900" y="111627"/>
                </a:cubicBezTo>
                <a:lnTo>
                  <a:pt x="8504252" y="0"/>
                </a:lnTo>
                <a:lnTo>
                  <a:pt x="8516585" y="0"/>
                </a:lnTo>
                <a:lnTo>
                  <a:pt x="8282734" y="107767"/>
                </a:lnTo>
                <a:cubicBezTo>
                  <a:pt x="7982638" y="257766"/>
                  <a:pt x="7697669" y="433095"/>
                  <a:pt x="7433380" y="605888"/>
                </a:cubicBezTo>
                <a:cubicBezTo>
                  <a:pt x="7400080" y="627651"/>
                  <a:pt x="7366673" y="649645"/>
                  <a:pt x="7334361" y="670914"/>
                </a:cubicBezTo>
                <a:lnTo>
                  <a:pt x="7313238" y="684825"/>
                </a:lnTo>
                <a:cubicBezTo>
                  <a:pt x="7057100" y="852631"/>
                  <a:pt x="6825529" y="1001127"/>
                  <a:pt x="6585434" y="1118972"/>
                </a:cubicBezTo>
                <a:cubicBezTo>
                  <a:pt x="6436989" y="1191831"/>
                  <a:pt x="6295324" y="1248039"/>
                  <a:pt x="6154395" y="1289591"/>
                </a:cubicBezTo>
                <a:cubicBezTo>
                  <a:pt x="6165964" y="1288562"/>
                  <a:pt x="6177555" y="1287470"/>
                  <a:pt x="6189103" y="1286315"/>
                </a:cubicBezTo>
                <a:cubicBezTo>
                  <a:pt x="6641474" y="1180325"/>
                  <a:pt x="7036315" y="960619"/>
                  <a:pt x="7399344" y="732518"/>
                </a:cubicBezTo>
                <a:cubicBezTo>
                  <a:pt x="7433779" y="710806"/>
                  <a:pt x="7470712" y="687260"/>
                  <a:pt x="7519066" y="656170"/>
                </a:cubicBezTo>
                <a:cubicBezTo>
                  <a:pt x="7559905" y="629898"/>
                  <a:pt x="7600828" y="603482"/>
                  <a:pt x="7641813" y="577011"/>
                </a:cubicBezTo>
                <a:cubicBezTo>
                  <a:pt x="7885189" y="419871"/>
                  <a:pt x="8131671" y="260725"/>
                  <a:pt x="8384077" y="119264"/>
                </a:cubicBezTo>
                <a:lnTo>
                  <a:pt x="8609170" y="0"/>
                </a:lnTo>
                <a:lnTo>
                  <a:pt x="8615088" y="0"/>
                </a:lnTo>
                <a:lnTo>
                  <a:pt x="8387129" y="120658"/>
                </a:lnTo>
                <a:cubicBezTo>
                  <a:pt x="8134173" y="262324"/>
                  <a:pt x="7887163" y="421807"/>
                  <a:pt x="7643283" y="579277"/>
                </a:cubicBezTo>
                <a:cubicBezTo>
                  <a:pt x="7602276" y="605749"/>
                  <a:pt x="7561375" y="632170"/>
                  <a:pt x="7520516" y="658440"/>
                </a:cubicBezTo>
                <a:cubicBezTo>
                  <a:pt x="7472160" y="689532"/>
                  <a:pt x="7435228" y="713084"/>
                  <a:pt x="7400793" y="734803"/>
                </a:cubicBezTo>
                <a:cubicBezTo>
                  <a:pt x="7109088" y="918082"/>
                  <a:pt x="6879931" y="1041632"/>
                  <a:pt x="6657768" y="1135409"/>
                </a:cubicBezTo>
                <a:cubicBezTo>
                  <a:pt x="6507096" y="1199012"/>
                  <a:pt x="6359511" y="1248269"/>
                  <a:pt x="6212388" y="1283943"/>
                </a:cubicBezTo>
                <a:cubicBezTo>
                  <a:pt x="6221417" y="1282977"/>
                  <a:pt x="6230445" y="1281990"/>
                  <a:pt x="6239453" y="1280961"/>
                </a:cubicBezTo>
                <a:cubicBezTo>
                  <a:pt x="6646450" y="1207578"/>
                  <a:pt x="7049878" y="1045828"/>
                  <a:pt x="7487110" y="782721"/>
                </a:cubicBezTo>
                <a:cubicBezTo>
                  <a:pt x="7524883" y="759944"/>
                  <a:pt x="7563895" y="735818"/>
                  <a:pt x="7606370" y="708966"/>
                </a:cubicBezTo>
                <a:cubicBezTo>
                  <a:pt x="7747006" y="620048"/>
                  <a:pt x="7889613" y="523926"/>
                  <a:pt x="8027540" y="430968"/>
                </a:cubicBezTo>
                <a:cubicBezTo>
                  <a:pt x="8244057" y="285052"/>
                  <a:pt x="8466536" y="135105"/>
                  <a:pt x="8694370" y="3789"/>
                </a:cubicBezTo>
                <a:lnTo>
                  <a:pt x="8683459" y="0"/>
                </a:lnTo>
                <a:lnTo>
                  <a:pt x="8706110" y="0"/>
                </a:lnTo>
                <a:lnTo>
                  <a:pt x="8705351" y="431"/>
                </a:lnTo>
                <a:cubicBezTo>
                  <a:pt x="8722863" y="6617"/>
                  <a:pt x="8740268" y="12840"/>
                  <a:pt x="8757570" y="19101"/>
                </a:cubicBezTo>
                <a:lnTo>
                  <a:pt x="8786762" y="0"/>
                </a:lnTo>
                <a:lnTo>
                  <a:pt x="8790785" y="0"/>
                </a:lnTo>
                <a:lnTo>
                  <a:pt x="8760131" y="20027"/>
                </a:lnTo>
                <a:cubicBezTo>
                  <a:pt x="8930938" y="81912"/>
                  <a:pt x="9091436" y="146946"/>
                  <a:pt x="9235010" y="207224"/>
                </a:cubicBezTo>
                <a:cubicBezTo>
                  <a:pt x="9708252" y="405907"/>
                  <a:pt x="10176622" y="656068"/>
                  <a:pt x="10666891" y="972012"/>
                </a:cubicBezTo>
                <a:cubicBezTo>
                  <a:pt x="10768451" y="1037460"/>
                  <a:pt x="10870703" y="1105529"/>
                  <a:pt x="10974606" y="1176918"/>
                </a:cubicBezTo>
                <a:lnTo>
                  <a:pt x="11161712" y="1309357"/>
                </a:lnTo>
                <a:lnTo>
                  <a:pt x="11161712" y="1316758"/>
                </a:lnTo>
                <a:lnTo>
                  <a:pt x="11089471" y="1264624"/>
                </a:lnTo>
                <a:cubicBezTo>
                  <a:pt x="10544946" y="882560"/>
                  <a:pt x="9918479" y="501002"/>
                  <a:pt x="9232575" y="213034"/>
                </a:cubicBezTo>
                <a:cubicBezTo>
                  <a:pt x="9078355" y="148285"/>
                  <a:pt x="8917479" y="83989"/>
                  <a:pt x="8753055" y="24682"/>
                </a:cubicBezTo>
                <a:cubicBezTo>
                  <a:pt x="8591676" y="131101"/>
                  <a:pt x="8434496" y="245644"/>
                  <a:pt x="8279079" y="358911"/>
                </a:cubicBezTo>
                <a:cubicBezTo>
                  <a:pt x="8050888" y="525232"/>
                  <a:pt x="7814930" y="697217"/>
                  <a:pt x="7575904" y="834755"/>
                </a:cubicBezTo>
                <a:cubicBezTo>
                  <a:pt x="7348743" y="965465"/>
                  <a:pt x="7112469" y="1070292"/>
                  <a:pt x="6873632" y="1146332"/>
                </a:cubicBezTo>
                <a:lnTo>
                  <a:pt x="6811576" y="1162898"/>
                </a:lnTo>
                <a:lnTo>
                  <a:pt x="6938360" y="1123134"/>
                </a:lnTo>
                <a:cubicBezTo>
                  <a:pt x="7154866" y="1049199"/>
                  <a:pt x="7367147" y="952455"/>
                  <a:pt x="7574855" y="832930"/>
                </a:cubicBezTo>
                <a:cubicBezTo>
                  <a:pt x="7813775" y="695449"/>
                  <a:pt x="8049692" y="523501"/>
                  <a:pt x="8277861" y="357215"/>
                </a:cubicBezTo>
                <a:cubicBezTo>
                  <a:pt x="8431850" y="244972"/>
                  <a:pt x="8589345" y="130204"/>
                  <a:pt x="8750494" y="23756"/>
                </a:cubicBezTo>
                <a:cubicBezTo>
                  <a:pt x="8732878" y="17411"/>
                  <a:pt x="8715240" y="11129"/>
                  <a:pt x="8697540" y="4904"/>
                </a:cubicBezTo>
                <a:cubicBezTo>
                  <a:pt x="8468992" y="136354"/>
                  <a:pt x="8247417" y="285673"/>
                  <a:pt x="8028884" y="432956"/>
                </a:cubicBezTo>
                <a:cubicBezTo>
                  <a:pt x="7890958" y="525922"/>
                  <a:pt x="7748307" y="622055"/>
                  <a:pt x="7607651" y="710992"/>
                </a:cubicBezTo>
                <a:cubicBezTo>
                  <a:pt x="7565175" y="737857"/>
                  <a:pt x="7526142" y="761989"/>
                  <a:pt x="7488349" y="784776"/>
                </a:cubicBezTo>
                <a:cubicBezTo>
                  <a:pt x="7063967" y="1040145"/>
                  <a:pt x="6671414" y="1200104"/>
                  <a:pt x="6276512" y="1276489"/>
                </a:cubicBezTo>
                <a:lnTo>
                  <a:pt x="6303984" y="1272312"/>
                </a:lnTo>
                <a:lnTo>
                  <a:pt x="6256019" y="1280373"/>
                </a:lnTo>
                <a:cubicBezTo>
                  <a:pt x="6221291" y="1286840"/>
                  <a:pt x="6186541" y="1292678"/>
                  <a:pt x="6151729" y="1297842"/>
                </a:cubicBezTo>
                <a:cubicBezTo>
                  <a:pt x="6117526" y="1305275"/>
                  <a:pt x="6083302" y="1311973"/>
                  <a:pt x="6049077" y="1317958"/>
                </a:cubicBezTo>
                <a:cubicBezTo>
                  <a:pt x="6014663" y="1326335"/>
                  <a:pt x="5980208" y="1333851"/>
                  <a:pt x="5945627" y="1340550"/>
                </a:cubicBezTo>
                <a:cubicBezTo>
                  <a:pt x="5913041" y="1349200"/>
                  <a:pt x="5880348" y="1357032"/>
                  <a:pt x="5847468" y="1364003"/>
                </a:cubicBezTo>
                <a:cubicBezTo>
                  <a:pt x="5815847" y="1373031"/>
                  <a:pt x="5784037" y="1381178"/>
                  <a:pt x="5751934" y="1388485"/>
                </a:cubicBezTo>
                <a:cubicBezTo>
                  <a:pt x="5720880" y="1397849"/>
                  <a:pt x="5689532" y="1406311"/>
                  <a:pt x="5657827" y="1413932"/>
                </a:cubicBezTo>
                <a:cubicBezTo>
                  <a:pt x="5628326" y="1423255"/>
                  <a:pt x="5598112" y="1431821"/>
                  <a:pt x="5567206" y="1439611"/>
                </a:cubicBezTo>
                <a:cubicBezTo>
                  <a:pt x="5538188" y="1449122"/>
                  <a:pt x="5508437" y="1457899"/>
                  <a:pt x="5477908" y="1465878"/>
                </a:cubicBezTo>
                <a:cubicBezTo>
                  <a:pt x="5454560" y="1473751"/>
                  <a:pt x="5430728" y="1481163"/>
                  <a:pt x="5406309" y="1488029"/>
                </a:cubicBezTo>
                <a:cubicBezTo>
                  <a:pt x="5401039" y="1489520"/>
                  <a:pt x="5395748" y="1490948"/>
                  <a:pt x="5390436" y="1492396"/>
                </a:cubicBezTo>
                <a:cubicBezTo>
                  <a:pt x="5373785" y="1498150"/>
                  <a:pt x="5356946" y="1503630"/>
                  <a:pt x="5339919" y="1508816"/>
                </a:cubicBezTo>
                <a:cubicBezTo>
                  <a:pt x="5327447" y="1512616"/>
                  <a:pt x="5314890" y="1516249"/>
                  <a:pt x="5302272" y="1519798"/>
                </a:cubicBezTo>
                <a:cubicBezTo>
                  <a:pt x="5292760" y="1523136"/>
                  <a:pt x="5283186" y="1526432"/>
                  <a:pt x="5273527" y="1529582"/>
                </a:cubicBezTo>
                <a:cubicBezTo>
                  <a:pt x="5254043" y="1535964"/>
                  <a:pt x="5234368" y="1541990"/>
                  <a:pt x="5214506" y="1547723"/>
                </a:cubicBezTo>
                <a:cubicBezTo>
                  <a:pt x="5212050" y="1548604"/>
                  <a:pt x="5209613" y="1549486"/>
                  <a:pt x="5207136" y="1550368"/>
                </a:cubicBezTo>
                <a:cubicBezTo>
                  <a:pt x="5181415" y="1559292"/>
                  <a:pt x="5155317" y="1567628"/>
                  <a:pt x="5128882" y="1575438"/>
                </a:cubicBezTo>
                <a:cubicBezTo>
                  <a:pt x="5100389" y="1585726"/>
                  <a:pt x="5071434" y="1595301"/>
                  <a:pt x="5042018" y="1604162"/>
                </a:cubicBezTo>
                <a:cubicBezTo>
                  <a:pt x="4827696" y="1682851"/>
                  <a:pt x="4599189" y="1715515"/>
                  <a:pt x="4368678" y="1720091"/>
                </a:cubicBezTo>
                <a:close/>
              </a:path>
            </a:pathLst>
          </a:custGeom>
          <a:solidFill>
            <a:schemeClr val="accent1">
              <a:alpha val="50000"/>
            </a:schemeClr>
          </a:solidFill>
          <a:ln w="1984"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itchFamily="2" charset="-122"/>
              <a:cs typeface="+mn-cs"/>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p:txBody>
          <a:bodyPr/>
          <a:lstStyle/>
          <a:p>
            <a:r>
              <a:rPr lang="zh-CN" altLang="en-US"/>
              <a:t>金属</a:t>
            </a:r>
            <a:r>
              <a:rPr lang="en-US" altLang="zh-CN"/>
              <a:t>-β-</a:t>
            </a:r>
            <a:r>
              <a:rPr lang="zh-CN" altLang="en-US"/>
              <a:t>内酰胺酶 </a:t>
            </a:r>
            <a:r>
              <a:rPr lang="en-US" altLang="zh-CN"/>
              <a:t>(MBLs) </a:t>
            </a:r>
            <a:r>
              <a:rPr lang="zh-CN" altLang="en-US"/>
              <a:t>是碳青霉烯酶的重要亚型</a:t>
            </a:r>
            <a:endParaRPr lang="zh-CN" altLang="en-US"/>
          </a:p>
        </p:txBody>
      </p:sp>
      <p:sp>
        <p:nvSpPr>
          <p:cNvPr id="9" name="文本占位符 8"/>
          <p:cNvSpPr>
            <a:spLocks noGrp="1"/>
          </p:cNvSpPr>
          <p:nvPr>
            <p:ph type="body" sz="quarter" idx="10"/>
          </p:nvPr>
        </p:nvSpPr>
        <p:spPr>
          <a:xfrm>
            <a:off x="479425" y="6382941"/>
            <a:ext cx="9946723" cy="327352"/>
          </a:xfrm>
        </p:spPr>
        <p:txBody>
          <a:bodyPr numCol="2"/>
          <a:lstStyle/>
          <a:p>
            <a:r>
              <a:rPr lang="en-US" altLang="zh-CN"/>
              <a:t>Ma J, et al. </a:t>
            </a:r>
            <a:r>
              <a:rPr lang="en-US" altLang="zh-CN" err="1"/>
              <a:t>Microbiol</a:t>
            </a:r>
            <a:r>
              <a:rPr lang="en-US" altLang="zh-CN"/>
              <a:t> Res. 2023 Jan;266:127249. </a:t>
            </a:r>
            <a:endParaRPr lang="en-US" altLang="zh-CN"/>
          </a:p>
          <a:p>
            <a:r>
              <a:rPr lang="en-US" altLang="zh-CN"/>
              <a:t>Reynolds D, et al. </a:t>
            </a:r>
            <a:r>
              <a:rPr lang="en-US" altLang="zh-CN" err="1"/>
              <a:t>Eur</a:t>
            </a:r>
            <a:r>
              <a:rPr lang="en-US" altLang="zh-CN"/>
              <a:t> Respir Rev. 2022;31(66)1:220068.</a:t>
            </a:r>
            <a:endParaRPr lang="en-US" altLang="zh-CN"/>
          </a:p>
          <a:p>
            <a:r>
              <a:rPr lang="en-US" altLang="zh-CN" err="1"/>
              <a:t>Suay</a:t>
            </a:r>
            <a:r>
              <a:rPr lang="en-US" altLang="zh-CN"/>
              <a:t>-García B, et al. Antibiotics (Basel). 2019;8(3):122. </a:t>
            </a:r>
            <a:endParaRPr lang="en-US" altLang="zh-CN"/>
          </a:p>
          <a:p>
            <a:r>
              <a:rPr lang="en-US" altLang="zh-CN"/>
              <a:t>Boyd SE, et al. </a:t>
            </a:r>
            <a:r>
              <a:rPr lang="en-US" altLang="zh-CN" err="1"/>
              <a:t>Antimicrob</a:t>
            </a:r>
            <a:r>
              <a:rPr lang="en-US" altLang="zh-CN"/>
              <a:t> Agents </a:t>
            </a:r>
            <a:r>
              <a:rPr lang="en-US" altLang="zh-CN" err="1"/>
              <a:t>Chemother</a:t>
            </a:r>
            <a:r>
              <a:rPr lang="en-US" altLang="zh-CN"/>
              <a:t>. 2020;64(10):e00397-20. </a:t>
            </a:r>
            <a:endParaRPr lang="en-US" altLang="zh-CN"/>
          </a:p>
        </p:txBody>
      </p:sp>
      <p:sp>
        <p:nvSpPr>
          <p:cNvPr id="10" name="矩形 9"/>
          <p:cNvSpPr/>
          <p:nvPr/>
        </p:nvSpPr>
        <p:spPr>
          <a:xfrm>
            <a:off x="479425" y="5768725"/>
            <a:ext cx="1123315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lnSpc>
                <a:spcPct val="120000"/>
              </a:lnSpc>
              <a:spcAft>
                <a:spcPts val="600"/>
              </a:spcAft>
            </a:pPr>
            <a:r>
              <a:rPr lang="en-US" altLang="zh-CN" sz="1200" b="1">
                <a:solidFill>
                  <a:schemeClr val="accent1"/>
                </a:solidFill>
              </a:rPr>
              <a:t>MBLs </a:t>
            </a:r>
            <a:r>
              <a:rPr lang="zh-CN" altLang="en-US" sz="1200" b="1">
                <a:solidFill>
                  <a:schemeClr val="accent1"/>
                </a:solidFill>
              </a:rPr>
              <a:t>可水解几乎所有的 </a:t>
            </a:r>
            <a:r>
              <a:rPr lang="en-US" altLang="zh-CN" sz="1200" b="1">
                <a:solidFill>
                  <a:schemeClr val="accent1"/>
                </a:solidFill>
              </a:rPr>
              <a:t>β-</a:t>
            </a:r>
            <a:r>
              <a:rPr lang="zh-CN" altLang="en-US" sz="1200" b="1">
                <a:solidFill>
                  <a:schemeClr val="accent1"/>
                </a:solidFill>
              </a:rPr>
              <a:t>内酰胺类抗生素</a:t>
            </a:r>
            <a:r>
              <a:rPr lang="zh-CN" altLang="en-US" sz="1200">
                <a:solidFill>
                  <a:schemeClr val="tx1"/>
                </a:solidFill>
              </a:rPr>
              <a:t>，可由</a:t>
            </a:r>
            <a:r>
              <a:rPr lang="zh-CN" altLang="en-US" sz="1200" b="1">
                <a:solidFill>
                  <a:schemeClr val="accent1"/>
                </a:solidFill>
              </a:rPr>
              <a:t>肠杆菌和嗜麦芽窄食单胞菌</a:t>
            </a:r>
            <a:r>
              <a:rPr lang="zh-CN" altLang="en-US" sz="1200">
                <a:solidFill>
                  <a:schemeClr val="tx1"/>
                </a:solidFill>
              </a:rPr>
              <a:t>等病原体表达。在全球范围内广泛传播</a:t>
            </a:r>
            <a:r>
              <a:rPr lang="en-US" altLang="zh-CN" sz="1200" baseline="30000">
                <a:solidFill>
                  <a:schemeClr val="tx1"/>
                </a:solidFill>
              </a:rPr>
              <a:t>4</a:t>
            </a:r>
            <a:r>
              <a:rPr lang="zh-CN" altLang="en-US" sz="1200">
                <a:solidFill>
                  <a:schemeClr val="tx1"/>
                </a:solidFill>
              </a:rPr>
              <a:t>，</a:t>
            </a:r>
            <a:r>
              <a:rPr lang="zh-CN" altLang="en-US" sz="1200" b="1">
                <a:solidFill>
                  <a:schemeClr val="accent1"/>
                </a:solidFill>
              </a:rPr>
              <a:t>是当前治疗面临的主要障碍</a:t>
            </a:r>
            <a:r>
              <a:rPr lang="zh-CN" altLang="en-US" sz="1200">
                <a:solidFill>
                  <a:schemeClr val="tx1"/>
                </a:solidFill>
              </a:rPr>
              <a:t>，亟待研究开发新抗菌药物</a:t>
            </a:r>
            <a:endParaRPr lang="zh-CN" altLang="en-US" sz="1200">
              <a:solidFill>
                <a:schemeClr val="tx1"/>
              </a:solidFill>
            </a:endParaRPr>
          </a:p>
        </p:txBody>
      </p:sp>
      <p:grpSp>
        <p:nvGrpSpPr>
          <p:cNvPr id="3" name="组合 2"/>
          <p:cNvGrpSpPr/>
          <p:nvPr/>
        </p:nvGrpSpPr>
        <p:grpSpPr>
          <a:xfrm>
            <a:off x="479425" y="1089025"/>
            <a:ext cx="11233150" cy="720000"/>
            <a:chOff x="479425" y="1089025"/>
            <a:chExt cx="11233150" cy="720000"/>
          </a:xfrm>
        </p:grpSpPr>
        <p:sp>
          <p:nvSpPr>
            <p:cNvPr id="4" name="矩形 3"/>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碳青霉烯酶分为丝氨酸类 </a:t>
              </a:r>
              <a:r>
                <a:rPr lang="en-US" altLang="zh-CN" sz="1200">
                  <a:solidFill>
                    <a:schemeClr val="tx1"/>
                  </a:solidFill>
                </a:rPr>
                <a:t>A</a:t>
              </a:r>
              <a:r>
                <a:rPr lang="zh-CN" altLang="en-US" sz="1200">
                  <a:solidFill>
                    <a:schemeClr val="tx1"/>
                  </a:solidFill>
                </a:rPr>
                <a:t>（</a:t>
              </a:r>
              <a:r>
                <a:rPr lang="en-US" altLang="zh-CN" sz="1200">
                  <a:solidFill>
                    <a:schemeClr val="tx1"/>
                  </a:solidFill>
                </a:rPr>
                <a:t>KPC</a:t>
              </a:r>
              <a:r>
                <a:rPr lang="zh-CN" altLang="en-US" sz="1200">
                  <a:solidFill>
                    <a:schemeClr val="tx1"/>
                  </a:solidFill>
                </a:rPr>
                <a:t>）、 </a:t>
              </a:r>
              <a:r>
                <a:rPr lang="en-US" altLang="zh-CN" sz="1200">
                  <a:solidFill>
                    <a:schemeClr val="tx1"/>
                  </a:solidFill>
                </a:rPr>
                <a:t>D</a:t>
              </a:r>
              <a:r>
                <a:rPr lang="zh-CN" altLang="en-US" sz="1200">
                  <a:solidFill>
                    <a:schemeClr val="tx1"/>
                  </a:solidFill>
                </a:rPr>
                <a:t>（</a:t>
              </a:r>
              <a:r>
                <a:rPr lang="en-US" altLang="zh-CN" sz="1200">
                  <a:solidFill>
                    <a:schemeClr val="tx1"/>
                  </a:solidFill>
                </a:rPr>
                <a:t>OXA</a:t>
              </a:r>
              <a:r>
                <a:rPr lang="zh-CN" altLang="en-US" sz="1200">
                  <a:solidFill>
                    <a:schemeClr val="tx1"/>
                  </a:solidFill>
                </a:rPr>
                <a:t>） 以及以 </a:t>
              </a:r>
              <a:r>
                <a:rPr lang="en-US" altLang="zh-CN" sz="1200">
                  <a:solidFill>
                    <a:schemeClr val="tx1"/>
                  </a:solidFill>
                </a:rPr>
                <a:t>B </a:t>
              </a:r>
              <a:r>
                <a:rPr lang="zh-CN" altLang="en-US" sz="1200">
                  <a:solidFill>
                    <a:schemeClr val="tx1"/>
                  </a:solidFill>
                </a:rPr>
                <a:t>类为代表的 </a:t>
              </a:r>
              <a:r>
                <a:rPr lang="en-US" altLang="zh-CN" sz="1200">
                  <a:solidFill>
                    <a:schemeClr val="tx1"/>
                  </a:solidFill>
                </a:rPr>
                <a:t>MBL</a:t>
              </a:r>
              <a:r>
                <a:rPr lang="en-US" altLang="zh-CN" sz="1200" baseline="30000">
                  <a:solidFill>
                    <a:schemeClr val="tx1"/>
                  </a:solidFill>
                </a:rPr>
                <a:t>1,2</a:t>
              </a:r>
              <a:endParaRPr lang="en-US" altLang="zh-CN" sz="1200" baseline="30000">
                <a:solidFill>
                  <a:schemeClr val="tx1"/>
                </a:solidFill>
              </a:endParaRPr>
            </a:p>
            <a:p>
              <a:pPr algn="just">
                <a:lnSpc>
                  <a:spcPct val="120000"/>
                </a:lnSpc>
                <a:spcAft>
                  <a:spcPts val="600"/>
                </a:spcAft>
              </a:pPr>
              <a:r>
                <a:rPr lang="en-US" altLang="zh-CN" sz="1200" b="1">
                  <a:solidFill>
                    <a:schemeClr val="accent1"/>
                  </a:solidFill>
                </a:rPr>
                <a:t>MBLs</a:t>
              </a:r>
              <a:r>
                <a:rPr lang="zh-CN" altLang="en-US" sz="1200" b="1">
                  <a:solidFill>
                    <a:schemeClr val="accent1"/>
                  </a:solidFill>
                </a:rPr>
                <a:t>是碳青霉烯酶之一，是全球肠杆菌中的最常见的</a:t>
              </a:r>
              <a:r>
                <a:rPr lang="en-US" altLang="zh-CN" sz="1200" b="1">
                  <a:solidFill>
                    <a:schemeClr val="accent1"/>
                  </a:solidFill>
                </a:rPr>
                <a:t>β-</a:t>
              </a:r>
              <a:r>
                <a:rPr lang="zh-CN" altLang="en-US" sz="1200" b="1">
                  <a:solidFill>
                    <a:schemeClr val="accent1"/>
                  </a:solidFill>
                </a:rPr>
                <a:t>内酰胺酶类型</a:t>
              </a:r>
              <a:r>
                <a:rPr lang="en-US" altLang="zh-CN" sz="1200" baseline="30000">
                  <a:solidFill>
                    <a:schemeClr val="tx1"/>
                  </a:solidFill>
                </a:rPr>
                <a:t>3</a:t>
              </a:r>
              <a:endParaRPr lang="en-US" altLang="zh-CN" sz="1200" baseline="30000">
                <a:solidFill>
                  <a:schemeClr val="tx1"/>
                </a:solidFill>
              </a:endParaRPr>
            </a:p>
          </p:txBody>
        </p:sp>
        <p:sp>
          <p:nvSpPr>
            <p:cNvPr id="8" name="任意多边形: 形状 7"/>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11" name="任意多边形: 形状 10"/>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14" name="矩形 13"/>
          <p:cNvSpPr/>
          <p:nvPr/>
        </p:nvSpPr>
        <p:spPr>
          <a:xfrm>
            <a:off x="479425" y="1952875"/>
            <a:ext cx="11233150" cy="3672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5" name="组合 34"/>
          <p:cNvGrpSpPr/>
          <p:nvPr/>
        </p:nvGrpSpPr>
        <p:grpSpPr>
          <a:xfrm>
            <a:off x="758580" y="2114875"/>
            <a:ext cx="10674841" cy="3348000"/>
            <a:chOff x="688370" y="2114875"/>
            <a:chExt cx="10674841" cy="3348000"/>
          </a:xfrm>
        </p:grpSpPr>
        <p:sp>
          <p:nvSpPr>
            <p:cNvPr id="119" name="矩形: 圆角 118"/>
            <p:cNvSpPr/>
            <p:nvPr/>
          </p:nvSpPr>
          <p:spPr>
            <a:xfrm>
              <a:off x="688370" y="4831553"/>
              <a:ext cx="10674841" cy="505684"/>
            </a:xfrm>
            <a:prstGeom prst="roundRect">
              <a:avLst>
                <a:gd name="adj" fmla="val 3482"/>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tlCol="0" anchor="ctr"/>
            <a:lstStyle/>
            <a:p>
              <a:r>
                <a:rPr lang="zh-CN" altLang="en-US" sz="1400" b="1">
                  <a:solidFill>
                    <a:schemeClr val="tx1"/>
                  </a:solidFill>
                  <a:latin typeface="+mn-ea"/>
                </a:rPr>
                <a:t>碳青霉烯酶</a:t>
              </a:r>
              <a:r>
                <a:rPr lang="en-US" altLang="zh-CN" sz="1400" b="1" baseline="30000">
                  <a:solidFill>
                    <a:schemeClr val="tx1"/>
                  </a:solidFill>
                  <a:latin typeface="+mn-ea"/>
                </a:rPr>
                <a:t>3</a:t>
              </a:r>
              <a:endParaRPr lang="en-US" altLang="zh-CN" sz="1400" b="1" baseline="30000">
                <a:solidFill>
                  <a:schemeClr val="tx1"/>
                </a:solidFill>
                <a:latin typeface="+mn-ea"/>
              </a:endParaRPr>
            </a:p>
          </p:txBody>
        </p:sp>
        <p:sp>
          <p:nvSpPr>
            <p:cNvPr id="12" name="Rectangle: Rounded Corners 69"/>
            <p:cNvSpPr/>
            <p:nvPr/>
          </p:nvSpPr>
          <p:spPr>
            <a:xfrm>
              <a:off x="688370" y="2847722"/>
              <a:ext cx="10674841" cy="472570"/>
            </a:xfrm>
            <a:prstGeom prst="roundRect">
              <a:avLst>
                <a:gd name="adj" fmla="val 6047"/>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l" defTabSz="914400" rtl="0" eaLnBrk="1" fontAlgn="auto" latinLnBrk="0" hangingPunct="1">
                <a:lnSpc>
                  <a:spcPct val="100000"/>
                </a:lnSpc>
                <a:spcBef>
                  <a:spcPts val="1000"/>
                </a:spcBef>
                <a:spcAft>
                  <a:spcPts val="0"/>
                </a:spcAft>
                <a:buClrTx/>
                <a:buSzTx/>
                <a:buFontTx/>
                <a:buNone/>
                <a:defRPr/>
              </a:pPr>
              <a:r>
                <a:rPr kumimoji="0" lang="zh-CN" altLang="en-US" sz="1400" b="1" i="0" u="none" strike="noStrike" kern="1200" cap="none" spc="0" normalizeH="0" baseline="0" noProof="0">
                  <a:ln>
                    <a:noFill/>
                  </a:ln>
                  <a:solidFill>
                    <a:schemeClr val="tx1"/>
                  </a:solidFill>
                  <a:effectLst/>
                  <a:uLnTx/>
                  <a:uFillTx/>
                  <a:latin typeface="+mn-ea"/>
                  <a:sym typeface="Arial Narrow" panose="020B0606020202030204" pitchFamily="34" charset="0"/>
                </a:rPr>
                <a:t>活性点位</a:t>
              </a:r>
              <a:endPar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endParaRPr>
            </a:p>
          </p:txBody>
        </p:sp>
        <p:sp>
          <p:nvSpPr>
            <p:cNvPr id="5" name="Rectangle: Rounded Corners 70"/>
            <p:cNvSpPr/>
            <p:nvPr/>
          </p:nvSpPr>
          <p:spPr>
            <a:xfrm>
              <a:off x="688370" y="3635641"/>
              <a:ext cx="10674841" cy="472570"/>
            </a:xfrm>
            <a:prstGeom prst="roundRect">
              <a:avLst>
                <a:gd name="adj" fmla="val 9070"/>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l" defTabSz="914400" rtl="0" eaLnBrk="1" fontAlgn="auto" latinLnBrk="0" hangingPunct="1">
                <a:lnSpc>
                  <a:spcPct val="100000"/>
                </a:lnSpc>
                <a:spcBef>
                  <a:spcPts val="1000"/>
                </a:spcBef>
                <a:spcAft>
                  <a:spcPts val="0"/>
                </a:spcAft>
                <a:buClrTx/>
                <a:buSzTx/>
                <a:buFontTx/>
                <a:buNone/>
                <a:defRPr/>
              </a:pPr>
              <a:r>
                <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rPr>
                <a:t>Ambler </a:t>
              </a:r>
              <a:r>
                <a:rPr kumimoji="0" lang="en-GB" sz="1400" b="1" i="0" u="none" strike="noStrike" kern="1200" cap="none" spc="0" normalizeH="0" baseline="0" noProof="0" err="1">
                  <a:ln>
                    <a:noFill/>
                  </a:ln>
                  <a:solidFill>
                    <a:schemeClr val="tx1"/>
                  </a:solidFill>
                  <a:effectLst/>
                  <a:uLnTx/>
                  <a:uFillTx/>
                  <a:latin typeface="+mn-ea"/>
                  <a:sym typeface="Arial Narrow" panose="020B0606020202030204" pitchFamily="34" charset="0"/>
                </a:rPr>
                <a:t>分类</a:t>
              </a:r>
              <a:endPar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endParaRPr>
            </a:p>
          </p:txBody>
        </p:sp>
        <p:cxnSp>
          <p:nvCxnSpPr>
            <p:cNvPr id="92" name="直接连接符 91"/>
            <p:cNvCxnSpPr>
              <a:stCxn id="67" idx="2"/>
              <a:endCxn id="66" idx="0"/>
            </p:cNvCxnSpPr>
            <p:nvPr/>
          </p:nvCxnSpPr>
          <p:spPr>
            <a:xfrm>
              <a:off x="10070689" y="4029601"/>
              <a:ext cx="0" cy="89712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60" name="Rectangle: Rounded Corners 13"/>
            <p:cNvSpPr/>
            <p:nvPr/>
          </p:nvSpPr>
          <p:spPr>
            <a:xfrm>
              <a:off x="7752321" y="2114875"/>
              <a:ext cx="2306251" cy="355060"/>
            </a:xfrm>
            <a:prstGeom prst="roundRect">
              <a:avLst>
                <a:gd name="adj" fmla="val 21958"/>
              </a:avLst>
            </a:prstGeom>
            <a:solidFill>
              <a:schemeClr val="accent1"/>
            </a:solidFill>
            <a:ln w="25400" cap="flat" cmpd="sng" algn="ctr">
              <a:noFill/>
              <a:prstDash val="solid"/>
            </a:ln>
            <a:effectLst/>
          </p:spPr>
          <p:txBody>
            <a:bodyPr lIns="0" tIns="0" rIns="0" bIns="27432"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β-</a:t>
              </a: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内酰胺酶</a:t>
              </a:r>
              <a:endParaRPr kumimoji="0" lang="en-GB" sz="1600" b="1" i="0" u="none" strike="noStrike" kern="0" cap="none" spc="0" normalizeH="0" baseline="30000" noProof="0">
                <a:ln>
                  <a:noFill/>
                </a:ln>
                <a:solidFill>
                  <a:srgbClr val="FFFFFF"/>
                </a:solidFill>
                <a:effectLst/>
                <a:uLnTx/>
                <a:uFillTx/>
                <a:latin typeface="+mn-ea"/>
                <a:sym typeface="Arial Narrow" panose="020B0606020202030204" pitchFamily="34" charset="0"/>
              </a:endParaRPr>
            </a:p>
          </p:txBody>
        </p:sp>
        <p:sp>
          <p:nvSpPr>
            <p:cNvPr id="61" name="Rectangle: Rounded Corners 16"/>
            <p:cNvSpPr/>
            <p:nvPr/>
          </p:nvSpPr>
          <p:spPr>
            <a:xfrm>
              <a:off x="2503328"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A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30000" noProof="0">
                <a:ln>
                  <a:noFill/>
                </a:ln>
                <a:solidFill>
                  <a:srgbClr val="FFFFFF"/>
                </a:solidFill>
                <a:effectLst/>
                <a:uLnTx/>
                <a:uFillTx/>
                <a:latin typeface="+mn-ea"/>
                <a:sym typeface="Arial Narrow" panose="020B0606020202030204" pitchFamily="34" charset="0"/>
              </a:endParaRPr>
            </a:p>
          </p:txBody>
        </p:sp>
        <p:sp>
          <p:nvSpPr>
            <p:cNvPr id="62" name="Rectangle: Rounded Corners 17"/>
            <p:cNvSpPr/>
            <p:nvPr/>
          </p:nvSpPr>
          <p:spPr>
            <a:xfrm>
              <a:off x="4819693"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C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3" name="Rectangle: Rounded Corners 19"/>
            <p:cNvSpPr/>
            <p:nvPr/>
          </p:nvSpPr>
          <p:spPr>
            <a:xfrm>
              <a:off x="4819693" y="4312207"/>
              <a:ext cx="1682651" cy="315349"/>
            </a:xfrm>
            <a:prstGeom prst="roundRect">
              <a:avLst>
                <a:gd name="adj" fmla="val 24723"/>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err="1">
                  <a:ln>
                    <a:noFill/>
                  </a:ln>
                  <a:solidFill>
                    <a:srgbClr val="000000"/>
                  </a:solidFill>
                  <a:effectLst/>
                  <a:uLnTx/>
                  <a:uFillTx/>
                  <a:latin typeface="+mn-ea"/>
                  <a:sym typeface="Arial Narrow" panose="020B0606020202030204" pitchFamily="34" charset="0"/>
                </a:rPr>
                <a:t>AmpC</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4" name="Rectangle: Rounded Corners 20"/>
            <p:cNvSpPr/>
            <p:nvPr/>
          </p:nvSpPr>
          <p:spPr>
            <a:xfrm>
              <a:off x="6947721"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D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5" name="Rectangle: Rounded Corners 21"/>
            <p:cNvSpPr/>
            <p:nvPr/>
          </p:nvSpPr>
          <p:spPr>
            <a:xfrm>
              <a:off x="6947721" y="4926721"/>
              <a:ext cx="1682651" cy="315349"/>
            </a:xfrm>
            <a:prstGeom prst="roundRect">
              <a:avLst>
                <a:gd name="adj" fmla="val 24723"/>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OXA-48</a:t>
              </a:r>
              <a:r>
                <a:rPr kumimoji="0" lang="zh-CN" altLang="en-US" sz="1400" b="1" i="0" u="none" strike="noStrike" kern="0" cap="none" spc="0" normalizeH="0" baseline="0" noProof="0">
                  <a:ln>
                    <a:noFill/>
                  </a:ln>
                  <a:solidFill>
                    <a:srgbClr val="000000"/>
                  </a:solidFill>
                  <a:effectLst/>
                  <a:uLnTx/>
                  <a:uFillTx/>
                  <a:latin typeface="+mn-ea"/>
                  <a:sym typeface="Arial Narrow" panose="020B0606020202030204" pitchFamily="34" charset="0"/>
                </a:rPr>
                <a:t>样</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6" name="Rectangle: Rounded Corners 22"/>
            <p:cNvSpPr/>
            <p:nvPr/>
          </p:nvSpPr>
          <p:spPr>
            <a:xfrm>
              <a:off x="9234396" y="4926721"/>
              <a:ext cx="1672585" cy="315349"/>
            </a:xfrm>
            <a:prstGeom prst="roundRect">
              <a:avLst>
                <a:gd name="adj" fmla="val 24723"/>
              </a:avLst>
            </a:prstGeom>
            <a:solidFill>
              <a:schemeClr val="accent2">
                <a:lumMod val="10000"/>
                <a:lumOff val="9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NDM, VIM, IMP</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7" name="Rectangle: Rounded Corners 23"/>
            <p:cNvSpPr/>
            <p:nvPr/>
          </p:nvSpPr>
          <p:spPr>
            <a:xfrm>
              <a:off x="9229363" y="3714252"/>
              <a:ext cx="1682651" cy="315349"/>
            </a:xfrm>
            <a:prstGeom prst="roundRect">
              <a:avLst>
                <a:gd name="adj" fmla="val 24723"/>
              </a:avLst>
            </a:prstGeom>
            <a:solidFill>
              <a:schemeClr val="accent2">
                <a:lumMod val="25000"/>
                <a:lumOff val="7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B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8" name="Rectangle: Rounded Corners 34"/>
            <p:cNvSpPr/>
            <p:nvPr/>
          </p:nvSpPr>
          <p:spPr>
            <a:xfrm>
              <a:off x="2487576" y="4312207"/>
              <a:ext cx="780712" cy="315349"/>
            </a:xfrm>
            <a:prstGeom prst="roundRect">
              <a:avLst>
                <a:gd name="adj" fmla="val 21426"/>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ESBLs</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9" name="Rectangle: Rounded Corners 90"/>
            <p:cNvSpPr/>
            <p:nvPr/>
          </p:nvSpPr>
          <p:spPr>
            <a:xfrm>
              <a:off x="3428642" y="4926721"/>
              <a:ext cx="780712" cy="315349"/>
            </a:xfrm>
            <a:prstGeom prst="roundRect">
              <a:avLst>
                <a:gd name="adj" fmla="val 21426"/>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KPC</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70" name="Rectangle: Rounded Corners 14"/>
            <p:cNvSpPr/>
            <p:nvPr/>
          </p:nvSpPr>
          <p:spPr>
            <a:xfrm>
              <a:off x="5880242" y="2926333"/>
              <a:ext cx="1682651" cy="315349"/>
            </a:xfrm>
            <a:prstGeom prst="roundRect">
              <a:avLst>
                <a:gd name="adj" fmla="val 24723"/>
              </a:avLst>
            </a:prstGeom>
            <a:solidFill>
              <a:schemeClr val="accent2"/>
            </a:solidFill>
            <a:ln w="25400" cap="flat" cmpd="sng" algn="ctr">
              <a:noFill/>
              <a:prstDash val="solid"/>
            </a:ln>
            <a:effectLst/>
          </p:spPr>
          <p:txBody>
            <a:bodyPr lIns="71981" rIns="7198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丝氨酸</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cxnSp>
          <p:nvCxnSpPr>
            <p:cNvPr id="83" name="直接连接符 82"/>
            <p:cNvCxnSpPr>
              <a:stCxn id="62" idx="2"/>
              <a:endCxn id="63" idx="0"/>
            </p:cNvCxnSpPr>
            <p:nvPr/>
          </p:nvCxnSpPr>
          <p:spPr>
            <a:xfrm>
              <a:off x="5661019" y="4029601"/>
              <a:ext cx="0" cy="282606"/>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1" name="Rectangle: Rounded Corners 15"/>
            <p:cNvSpPr/>
            <p:nvPr/>
          </p:nvSpPr>
          <p:spPr>
            <a:xfrm>
              <a:off x="9229363" y="2926333"/>
              <a:ext cx="1682651" cy="315349"/>
            </a:xfrm>
            <a:prstGeom prst="roundRect">
              <a:avLst>
                <a:gd name="adj" fmla="val 24723"/>
              </a:avLst>
            </a:prstGeom>
            <a:solidFill>
              <a:schemeClr val="accent2">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金属</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酶</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cxnSp>
          <p:nvCxnSpPr>
            <p:cNvPr id="99" name="连接符: 肘形 98"/>
            <p:cNvCxnSpPr>
              <a:stCxn id="60" idx="2"/>
              <a:endCxn id="70" idx="0"/>
            </p:cNvCxnSpPr>
            <p:nvPr/>
          </p:nvCxnSpPr>
          <p:spPr>
            <a:xfrm rot="5400000">
              <a:off x="7585309" y="1606195"/>
              <a:ext cx="456398" cy="2183879"/>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1" name="连接符: 肘形 100"/>
            <p:cNvCxnSpPr>
              <a:stCxn id="60" idx="2"/>
              <a:endCxn id="91" idx="0"/>
            </p:cNvCxnSpPr>
            <p:nvPr/>
          </p:nvCxnSpPr>
          <p:spPr>
            <a:xfrm rot="16200000" flipH="1">
              <a:off x="9259869" y="2115513"/>
              <a:ext cx="456398" cy="1165242"/>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矩形 1"/>
            <p:cNvSpPr/>
            <p:nvPr/>
          </p:nvSpPr>
          <p:spPr>
            <a:xfrm>
              <a:off x="9046906" y="2847722"/>
              <a:ext cx="2075247" cy="2615153"/>
            </a:xfrm>
            <a:prstGeom prst="rect">
              <a:avLst/>
            </a:prstGeom>
            <a:noFill/>
            <a:ln>
              <a:solidFill>
                <a:schemeClr val="accent2">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cxnSp>
          <p:nvCxnSpPr>
            <p:cNvPr id="16" name="连接符: 肘形 15"/>
            <p:cNvCxnSpPr>
              <a:stCxn id="61" idx="2"/>
              <a:endCxn id="68" idx="0"/>
            </p:cNvCxnSpPr>
            <p:nvPr/>
          </p:nvCxnSpPr>
          <p:spPr>
            <a:xfrm rot="5400000">
              <a:off x="2969990" y="3937543"/>
              <a:ext cx="282606" cy="466722"/>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连接符: 肘形 17"/>
            <p:cNvCxnSpPr>
              <a:stCxn id="61" idx="2"/>
              <a:endCxn id="69" idx="0"/>
            </p:cNvCxnSpPr>
            <p:nvPr/>
          </p:nvCxnSpPr>
          <p:spPr>
            <a:xfrm rot="16200000" flipH="1">
              <a:off x="3133266" y="4240989"/>
              <a:ext cx="897120" cy="474344"/>
            </a:xfrm>
            <a:prstGeom prst="bentConnector3">
              <a:avLst>
                <a:gd name="adj1" fmla="val 15759"/>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连接符: 肘形 21"/>
            <p:cNvCxnSpPr>
              <a:stCxn id="70" idx="2"/>
              <a:endCxn id="61" idx="0"/>
            </p:cNvCxnSpPr>
            <p:nvPr/>
          </p:nvCxnSpPr>
          <p:spPr>
            <a:xfrm rot="5400000">
              <a:off x="4796826" y="1789510"/>
              <a:ext cx="472570" cy="3376914"/>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连接符: 肘形 23"/>
            <p:cNvCxnSpPr>
              <a:stCxn id="70" idx="2"/>
              <a:endCxn id="62" idx="0"/>
            </p:cNvCxnSpPr>
            <p:nvPr/>
          </p:nvCxnSpPr>
          <p:spPr>
            <a:xfrm rot="5400000">
              <a:off x="5955009" y="2947693"/>
              <a:ext cx="472570" cy="1060549"/>
            </a:xfrm>
            <a:prstGeom prst="bentConnector3">
              <a:avLst>
                <a:gd name="adj1" fmla="val 50000"/>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连接符: 肘形 26"/>
            <p:cNvCxnSpPr>
              <a:stCxn id="70" idx="2"/>
              <a:endCxn id="64" idx="0"/>
            </p:cNvCxnSpPr>
            <p:nvPr/>
          </p:nvCxnSpPr>
          <p:spPr>
            <a:xfrm rot="16200000" flipH="1">
              <a:off x="7019022" y="2944227"/>
              <a:ext cx="472570" cy="1067479"/>
            </a:xfrm>
            <a:prstGeom prst="bentConnector3">
              <a:avLst>
                <a:gd name="adj1" fmla="val 50000"/>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直接连接符 29"/>
            <p:cNvCxnSpPr>
              <a:stCxn id="64" idx="2"/>
              <a:endCxn id="65" idx="0"/>
            </p:cNvCxnSpPr>
            <p:nvPr/>
          </p:nvCxnSpPr>
          <p:spPr>
            <a:xfrm>
              <a:off x="7789047" y="4029601"/>
              <a:ext cx="0" cy="89712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2" name="直接连接符 31"/>
            <p:cNvCxnSpPr>
              <a:stCxn id="91" idx="2"/>
              <a:endCxn id="67" idx="0"/>
            </p:cNvCxnSpPr>
            <p:nvPr/>
          </p:nvCxnSpPr>
          <p:spPr>
            <a:xfrm>
              <a:off x="10070689" y="3241682"/>
              <a:ext cx="0" cy="47257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sp>
        <p:nvSpPr>
          <p:cNvPr id="6" name="文本框 5"/>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42595" y="502285"/>
            <a:ext cx="11295380" cy="412115"/>
          </a:xfrm>
        </p:spPr>
        <p:txBody>
          <a:bodyPr vert="horz"/>
          <a:lstStyle/>
          <a:p>
            <a:r>
              <a:rPr lang="en-US" altLang="zh-CN" sz="2400" b="1">
                <a:solidFill>
                  <a:schemeClr val="accent2"/>
                </a:solidFill>
                <a:sym typeface="+mn-lt"/>
              </a:rPr>
              <a:t>产MBL耐药菌全球广泛传播</a:t>
            </a:r>
            <a:endParaRPr lang="zh-CN" altLang="en-US" dirty="0">
              <a:latin typeface="+mn-ea"/>
              <a:ea typeface="+mn-ea"/>
              <a:cs typeface="+mn-ea"/>
              <a:sym typeface="+mn-lt"/>
            </a:endParaRPr>
          </a:p>
        </p:txBody>
      </p:sp>
      <p:sp>
        <p:nvSpPr>
          <p:cNvPr id="1326" name="文本框 1325"/>
          <p:cNvSpPr txBox="1"/>
          <p:nvPr/>
        </p:nvSpPr>
        <p:spPr>
          <a:xfrm>
            <a:off x="453887" y="6554330"/>
            <a:ext cx="11082766" cy="215444"/>
          </a:xfrm>
          <a:prstGeom prst="rect">
            <a:avLst/>
          </a:prstGeom>
          <a:noFill/>
        </p:spPr>
        <p:txBody>
          <a:bodyPr wrap="square">
            <a:spAutoFit/>
          </a:bodyPr>
          <a:lstStyle/>
          <a:p>
            <a:r>
              <a:rPr lang="en-US" altLang="zh-CN" sz="800" dirty="0">
                <a:solidFill>
                  <a:schemeClr val="tx1">
                    <a:lumMod val="95000"/>
                    <a:lumOff val="5000"/>
                  </a:schemeClr>
                </a:solidFill>
                <a:cs typeface="+mn-ea"/>
                <a:sym typeface="+mn-lt"/>
              </a:rPr>
              <a:t>1. Boyd S, et al. </a:t>
            </a:r>
            <a:r>
              <a:rPr lang="en-US" altLang="zh-CN" sz="800" dirty="0" err="1">
                <a:solidFill>
                  <a:schemeClr val="tx1">
                    <a:lumMod val="95000"/>
                    <a:lumOff val="5000"/>
                  </a:schemeClr>
                </a:solidFill>
                <a:cs typeface="+mn-ea"/>
                <a:sym typeface="+mn-lt"/>
              </a:rPr>
              <a:t>Antimicrob</a:t>
            </a:r>
            <a:r>
              <a:rPr lang="en-US" altLang="zh-CN" sz="800" dirty="0">
                <a:solidFill>
                  <a:schemeClr val="tx1">
                    <a:lumMod val="95000"/>
                    <a:lumOff val="5000"/>
                  </a:schemeClr>
                </a:solidFill>
                <a:cs typeface="+mn-ea"/>
                <a:sym typeface="+mn-lt"/>
              </a:rPr>
              <a:t> Agents </a:t>
            </a:r>
            <a:r>
              <a:rPr lang="en-US" altLang="zh-CN" sz="800" dirty="0" err="1">
                <a:solidFill>
                  <a:schemeClr val="tx1">
                    <a:lumMod val="95000"/>
                    <a:lumOff val="5000"/>
                  </a:schemeClr>
                </a:solidFill>
                <a:cs typeface="+mn-ea"/>
                <a:sym typeface="+mn-lt"/>
              </a:rPr>
              <a:t>Chemother</a:t>
            </a:r>
            <a:r>
              <a:rPr lang="en-US" altLang="zh-CN" sz="800" dirty="0">
                <a:solidFill>
                  <a:schemeClr val="tx1">
                    <a:lumMod val="95000"/>
                    <a:lumOff val="5000"/>
                  </a:schemeClr>
                </a:solidFill>
                <a:cs typeface="+mn-ea"/>
                <a:sym typeface="+mn-lt"/>
              </a:rPr>
              <a:t>. 2020 Sep 21;64(10):</a:t>
            </a:r>
            <a:r>
              <a:rPr lang="en-US" altLang="zh-CN" sz="800" dirty="0" err="1">
                <a:solidFill>
                  <a:schemeClr val="tx1">
                    <a:lumMod val="95000"/>
                    <a:lumOff val="5000"/>
                  </a:schemeClr>
                </a:solidFill>
                <a:cs typeface="+mn-ea"/>
                <a:sym typeface="+mn-lt"/>
              </a:rPr>
              <a:t>e00397</a:t>
            </a:r>
            <a:r>
              <a:rPr lang="en-US" altLang="zh-CN" sz="800" dirty="0">
                <a:solidFill>
                  <a:schemeClr val="tx1">
                    <a:lumMod val="95000"/>
                    <a:lumOff val="5000"/>
                  </a:schemeClr>
                </a:solidFill>
                <a:cs typeface="+mn-ea"/>
                <a:sym typeface="+mn-lt"/>
              </a:rPr>
              <a:t>-20.                                                                2. Ma J, et al. </a:t>
            </a:r>
            <a:r>
              <a:rPr lang="en-US" altLang="zh-CN" sz="800" dirty="0" err="1">
                <a:solidFill>
                  <a:schemeClr val="tx1">
                    <a:lumMod val="95000"/>
                    <a:lumOff val="5000"/>
                  </a:schemeClr>
                </a:solidFill>
                <a:cs typeface="+mn-ea"/>
                <a:sym typeface="+mn-lt"/>
              </a:rPr>
              <a:t>Microbiol</a:t>
            </a:r>
            <a:r>
              <a:rPr lang="en-US" altLang="zh-CN" sz="800" dirty="0">
                <a:solidFill>
                  <a:schemeClr val="tx1">
                    <a:lumMod val="95000"/>
                    <a:lumOff val="5000"/>
                  </a:schemeClr>
                </a:solidFill>
                <a:cs typeface="+mn-ea"/>
                <a:sym typeface="+mn-lt"/>
              </a:rPr>
              <a:t> Res. 2023 </a:t>
            </a:r>
            <a:r>
              <a:rPr lang="en-US" altLang="zh-CN" sz="800" dirty="0" err="1">
                <a:solidFill>
                  <a:schemeClr val="tx1">
                    <a:lumMod val="95000"/>
                    <a:lumOff val="5000"/>
                  </a:schemeClr>
                </a:solidFill>
                <a:cs typeface="+mn-ea"/>
                <a:sym typeface="+mn-lt"/>
              </a:rPr>
              <a:t>Jan;266:127249</a:t>
            </a:r>
            <a:r>
              <a:rPr lang="en-US" altLang="zh-CN" sz="800" dirty="0">
                <a:solidFill>
                  <a:schemeClr val="tx1">
                    <a:lumMod val="95000"/>
                    <a:lumOff val="5000"/>
                  </a:schemeClr>
                </a:solidFill>
                <a:cs typeface="+mn-ea"/>
                <a:sym typeface="+mn-lt"/>
              </a:rPr>
              <a:t>. </a:t>
            </a:r>
            <a:endParaRPr lang="zh-CN" altLang="en-US" sz="800" dirty="0">
              <a:solidFill>
                <a:schemeClr val="tx1">
                  <a:lumMod val="95000"/>
                  <a:lumOff val="5000"/>
                </a:schemeClr>
              </a:solidFill>
              <a:cs typeface="+mn-ea"/>
              <a:sym typeface="+mn-lt"/>
            </a:endParaRPr>
          </a:p>
        </p:txBody>
      </p:sp>
      <p:sp>
        <p:nvSpPr>
          <p:cNvPr id="6" name="文本框 5"/>
          <p:cNvSpPr txBox="1"/>
          <p:nvPr/>
        </p:nvSpPr>
        <p:spPr>
          <a:xfrm>
            <a:off x="6227024" y="5213411"/>
            <a:ext cx="5522064" cy="795026"/>
          </a:xfrm>
          <a:prstGeom prst="rect">
            <a:avLst/>
          </a:prstGeom>
          <a:noFill/>
        </p:spPr>
        <p:txBody>
          <a:bodyPr wrap="square" lIns="0" tIns="0" rIns="0" bIns="0" rtlCol="0">
            <a:spAutoFit/>
          </a:bodyPr>
          <a:lstStyle/>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俄罗斯</a:t>
            </a:r>
            <a:r>
              <a:rPr kumimoji="0" lang="en-US" altLang="zh-CN" sz="1100" b="0" i="0" u="none" strike="noStrike" kern="0" cap="none" spc="0" normalizeH="0" baseline="0" noProof="0" dirty="0">
                <a:ln>
                  <a:noFill/>
                </a:ln>
                <a:solidFill>
                  <a:prstClr val="black"/>
                </a:solidFill>
                <a:effectLst/>
                <a:uLnTx/>
                <a:uFillTx/>
              </a:rPr>
              <a:t>3347</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err="1">
                <a:ln>
                  <a:noFill/>
                </a:ln>
                <a:solidFill>
                  <a:prstClr val="black"/>
                </a:solidFill>
                <a:effectLst/>
                <a:uLnTx/>
                <a:uFillTx/>
              </a:rPr>
              <a:t>CREC</a:t>
            </a:r>
            <a:r>
              <a:rPr kumimoji="0" lang="zh-CN" altLang="en-US" sz="1100" b="0" i="0" u="none" strike="noStrike" kern="0" cap="none" spc="0" normalizeH="0" baseline="0" noProof="0" dirty="0">
                <a:ln>
                  <a:noFill/>
                </a:ln>
                <a:solidFill>
                  <a:prstClr val="black"/>
                </a:solidFill>
                <a:effectLst/>
                <a:uLnTx/>
                <a:uFillTx/>
              </a:rPr>
              <a:t>和</a:t>
            </a:r>
            <a:r>
              <a:rPr kumimoji="0" lang="en-US" altLang="zh-CN" sz="1100" b="0" i="0" u="none" strike="noStrike" kern="0" cap="none" spc="0" normalizeH="0" baseline="0" noProof="0" dirty="0" err="1">
                <a:ln>
                  <a:noFill/>
                </a:ln>
                <a:solidFill>
                  <a:prstClr val="black"/>
                </a:solidFill>
                <a:effectLst/>
                <a:uLnTx/>
                <a:uFillTx/>
              </a:rPr>
              <a:t>CRKP</a:t>
            </a:r>
            <a:r>
              <a:rPr kumimoji="0" lang="zh-CN" altLang="en-US" sz="1100" b="0" i="0" u="none" strike="noStrike" kern="0" cap="none" spc="0" normalizeH="0" baseline="0" noProof="0" dirty="0">
                <a:ln>
                  <a:noFill/>
                </a:ln>
                <a:solidFill>
                  <a:prstClr val="black"/>
                </a:solidFill>
                <a:effectLst/>
                <a:uLnTx/>
                <a:uFillTx/>
              </a:rPr>
              <a:t>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30.53%</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南非</a:t>
            </a:r>
            <a:r>
              <a:rPr kumimoji="0" lang="en-US" altLang="zh-CN" sz="1100" b="0" i="0" u="none" strike="noStrike" kern="0" cap="none" spc="0" normalizeH="0" baseline="0" noProof="0" dirty="0">
                <a:ln>
                  <a:noFill/>
                </a:ln>
                <a:solidFill>
                  <a:prstClr val="black"/>
                </a:solidFill>
                <a:effectLst/>
                <a:uLnTx/>
                <a:uFillTx/>
              </a:rPr>
              <a:t>1601</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a:ln>
                  <a:noFill/>
                </a:ln>
                <a:solidFill>
                  <a:prstClr val="black"/>
                </a:solidFill>
                <a:effectLst/>
                <a:uLnTx/>
                <a:uFillTx/>
              </a:rPr>
              <a:t>CRE</a:t>
            </a:r>
            <a:r>
              <a:rPr kumimoji="0" lang="zh-CN" altLang="en-US" sz="1100" b="0" i="0" u="none" strike="noStrike" kern="0" cap="none" spc="0" normalizeH="0" baseline="0" noProof="0" dirty="0">
                <a:ln>
                  <a:noFill/>
                </a:ln>
                <a:solidFill>
                  <a:prstClr val="black"/>
                </a:solidFill>
                <a:effectLst/>
                <a:uLnTx/>
                <a:uFillTx/>
              </a:rPr>
              <a:t>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38.2%</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埃及</a:t>
            </a:r>
            <a:r>
              <a:rPr kumimoji="0" lang="en-US" altLang="zh-CN" sz="1100" b="0" i="0" u="none" strike="noStrike" kern="0" cap="none" spc="0" normalizeH="0" baseline="0" noProof="0" dirty="0">
                <a:ln>
                  <a:noFill/>
                </a:ln>
                <a:solidFill>
                  <a:prstClr val="black"/>
                </a:solidFill>
                <a:effectLst/>
                <a:uLnTx/>
                <a:uFillTx/>
              </a:rPr>
              <a:t>135</a:t>
            </a:r>
            <a:r>
              <a:rPr kumimoji="0" lang="zh-CN" altLang="en-US" sz="1100" b="0" i="0" u="none" strike="noStrike" kern="0" cap="none" spc="0" normalizeH="0" baseline="0" noProof="0" dirty="0">
                <a:ln>
                  <a:noFill/>
                </a:ln>
                <a:solidFill>
                  <a:prstClr val="black"/>
                </a:solidFill>
                <a:effectLst/>
                <a:uLnTx/>
                <a:uFillTx/>
              </a:rPr>
              <a:t>株肠杆菌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68.88%</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中国</a:t>
            </a:r>
            <a:r>
              <a:rPr kumimoji="0" lang="en-US" altLang="zh-CN" sz="1100" b="0" i="0" u="none" strike="noStrike" kern="0" cap="none" spc="0" normalizeH="0" baseline="0" noProof="0" dirty="0">
                <a:ln>
                  <a:noFill/>
                </a:ln>
                <a:solidFill>
                  <a:prstClr val="black"/>
                </a:solidFill>
                <a:effectLst/>
                <a:uLnTx/>
                <a:uFillTx/>
              </a:rPr>
              <a:t>1801</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a:ln>
                  <a:noFill/>
                </a:ln>
                <a:solidFill>
                  <a:prstClr val="black"/>
                </a:solidFill>
                <a:effectLst/>
                <a:uLnTx/>
                <a:uFillTx/>
              </a:rPr>
              <a:t>CRE</a:t>
            </a:r>
            <a:r>
              <a:rPr kumimoji="0" lang="zh-CN" altLang="en-US" sz="1100" b="0" i="0" u="none" strike="noStrike" kern="0" cap="none" spc="0" normalizeH="0" baseline="0" noProof="0" dirty="0">
                <a:ln>
                  <a:noFill/>
                </a:ln>
                <a:solidFill>
                  <a:prstClr val="black"/>
                </a:solidFill>
                <a:effectLst/>
                <a:uLnTx/>
                <a:uFillTx/>
              </a:rPr>
              <a:t>中，大肠埃希菌和阴沟肠杆菌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分别占比</a:t>
            </a:r>
            <a:r>
              <a:rPr kumimoji="0" lang="en-US" altLang="zh-CN" sz="1100" b="1" i="0" u="none" strike="noStrike" kern="0" cap="none" spc="0" normalizeH="0" baseline="0" noProof="0" dirty="0">
                <a:ln>
                  <a:noFill/>
                </a:ln>
                <a:solidFill>
                  <a:prstClr val="black"/>
                </a:solidFill>
                <a:effectLst/>
                <a:uLnTx/>
                <a:uFillTx/>
              </a:rPr>
              <a:t>75%</a:t>
            </a:r>
            <a:r>
              <a:rPr kumimoji="0" lang="zh-CN" altLang="en-US" sz="1100" b="0" i="0" u="none" strike="noStrike" kern="0" cap="none" spc="0" normalizeH="0" baseline="0" noProof="0" dirty="0">
                <a:ln>
                  <a:noFill/>
                </a:ln>
                <a:solidFill>
                  <a:prstClr val="black"/>
                </a:solidFill>
                <a:effectLst/>
                <a:uLnTx/>
                <a:uFillTx/>
              </a:rPr>
              <a:t>和</a:t>
            </a:r>
            <a:r>
              <a:rPr kumimoji="0" lang="en-US" altLang="zh-CN" sz="1100" b="1" i="0" u="none" strike="noStrike" kern="0" cap="none" spc="0" normalizeH="0" baseline="0" noProof="0" dirty="0">
                <a:ln>
                  <a:noFill/>
                </a:ln>
                <a:solidFill>
                  <a:prstClr val="black"/>
                </a:solidFill>
                <a:effectLst/>
                <a:uLnTx/>
                <a:uFillTx/>
              </a:rPr>
              <a:t>53%</a:t>
            </a:r>
            <a:endParaRPr kumimoji="0" lang="zh-CN" altLang="en-US" sz="1100" b="1" i="0" u="none" strike="noStrike" kern="0" cap="none" spc="0" normalizeH="0" baseline="0" noProof="0" dirty="0">
              <a:ln>
                <a:noFill/>
              </a:ln>
              <a:solidFill>
                <a:prstClr val="black"/>
              </a:solidFill>
              <a:effectLst/>
              <a:uLnTx/>
              <a:uFillTx/>
            </a:endParaRPr>
          </a:p>
        </p:txBody>
      </p:sp>
      <p:sp>
        <p:nvSpPr>
          <p:cNvPr id="1353" name="文本框 1352"/>
          <p:cNvSpPr txBox="1"/>
          <p:nvPr/>
        </p:nvSpPr>
        <p:spPr>
          <a:xfrm>
            <a:off x="439934" y="5213411"/>
            <a:ext cx="5522063" cy="998158"/>
          </a:xfrm>
          <a:prstGeom prst="rect">
            <a:avLst/>
          </a:prstGeom>
          <a:noFill/>
        </p:spPr>
        <p:txBody>
          <a:bodyPr wrap="square" lIns="0" tIns="0" rIns="0" bIns="0">
            <a:spAutoFit/>
          </a:bodyPr>
          <a:lstStyle/>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印度次大陆，亚洲和俄罗斯：</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负担最重的是</a:t>
            </a:r>
            <a:r>
              <a:rPr kumimoji="0" lang="zh-CN" altLang="en-US" sz="1100" b="1" i="0" u="none" strike="noStrike" kern="0" cap="none" spc="0" normalizeH="0" baseline="0" noProof="0" dirty="0">
                <a:ln>
                  <a:noFill/>
                </a:ln>
                <a:solidFill>
                  <a:prstClr val="black"/>
                </a:solidFill>
                <a:effectLst/>
                <a:uLnTx/>
                <a:uFillTx/>
              </a:rPr>
              <a:t>南亚</a:t>
            </a:r>
            <a:r>
              <a:rPr kumimoji="0" lang="zh-CN" altLang="en-US" sz="1100" b="0" i="0" u="none" strike="noStrike" kern="0" cap="none" spc="0" normalizeH="0" baseline="0" noProof="0" dirty="0">
                <a:ln>
                  <a:noFill/>
                </a:ln>
                <a:solidFill>
                  <a:prstClr val="black"/>
                </a:solidFill>
                <a:effectLst/>
                <a:uLnTx/>
                <a:uFillTx/>
              </a:rPr>
              <a:t>和</a:t>
            </a:r>
            <a:r>
              <a:rPr kumimoji="0" lang="zh-CN" altLang="en-US" sz="1100" b="1" i="0" u="none" strike="noStrike" kern="0" cap="none" spc="0" normalizeH="0" baseline="0" noProof="0" dirty="0">
                <a:ln>
                  <a:noFill/>
                </a:ln>
                <a:solidFill>
                  <a:prstClr val="black"/>
                </a:solidFill>
                <a:effectLst/>
                <a:uLnTx/>
                <a:uFillTx/>
              </a:rPr>
              <a:t>东南亚</a:t>
            </a:r>
            <a:r>
              <a:rPr kumimoji="0" lang="zh-CN" altLang="en-US" sz="1100" b="0" i="0" u="none" strike="noStrike" kern="0" cap="none" spc="0" normalizeH="0" baseline="0" noProof="0" dirty="0">
                <a:ln>
                  <a:noFill/>
                </a:ln>
                <a:solidFill>
                  <a:prstClr val="black"/>
                </a:solidFill>
                <a:effectLst/>
                <a:uLnTx/>
                <a:uFillTx/>
              </a:rPr>
              <a:t>，</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普遍存在</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欧洲：</a:t>
            </a:r>
            <a:r>
              <a:rPr kumimoji="0" lang="zh-CN" altLang="en-US" sz="1100" b="0" i="0" u="none" strike="noStrike" kern="0" cap="none" spc="0" normalizeH="0" baseline="0" noProof="0" dirty="0">
                <a:ln>
                  <a:noFill/>
                </a:ln>
                <a:solidFill>
                  <a:prstClr val="black"/>
                </a:solidFill>
                <a:effectLst/>
                <a:uLnTx/>
                <a:uFillTx/>
              </a:rPr>
              <a:t>大多数国家</a:t>
            </a:r>
            <a:r>
              <a:rPr kumimoji="0" lang="en-US" altLang="zh-CN" sz="1100" b="0" i="0" u="none" strike="noStrike" kern="0" cap="none" spc="0" normalizeH="0" baseline="0" noProof="0" dirty="0" err="1">
                <a:ln>
                  <a:noFill/>
                </a:ln>
                <a:solidFill>
                  <a:prstClr val="black"/>
                </a:solidFill>
                <a:effectLst/>
                <a:uLnTx/>
                <a:uFillTx/>
              </a:rPr>
              <a:t>SBLs</a:t>
            </a:r>
            <a:r>
              <a:rPr kumimoji="0" lang="zh-CN" altLang="en-US" sz="1100" b="0" i="0" u="none" strike="noStrike" kern="0" cap="none" spc="0" normalizeH="0" baseline="0" noProof="0" dirty="0">
                <a:ln>
                  <a:noFill/>
                </a:ln>
                <a:solidFill>
                  <a:prstClr val="black"/>
                </a:solidFill>
                <a:effectLst/>
                <a:uLnTx/>
                <a:uFillTx/>
              </a:rPr>
              <a:t>（</a:t>
            </a:r>
            <a:r>
              <a:rPr kumimoji="0" lang="en-US" altLang="zh-CN" sz="1100" b="0" i="0" u="none" strike="noStrike" kern="0" cap="none" spc="0" normalizeH="0" baseline="0" noProof="0" dirty="0">
                <a:ln>
                  <a:noFill/>
                </a:ln>
                <a:solidFill>
                  <a:prstClr val="black"/>
                </a:solidFill>
                <a:effectLst/>
                <a:uLnTx/>
                <a:uFillTx/>
              </a:rPr>
              <a:t>KPC</a:t>
            </a:r>
            <a:r>
              <a:rPr kumimoji="0" lang="zh-CN" altLang="en-US" sz="1100" b="0" i="0" u="none" strike="noStrike" kern="0" cap="none" spc="0" normalizeH="0" baseline="0" noProof="0" dirty="0">
                <a:ln>
                  <a:noFill/>
                </a:ln>
                <a:solidFill>
                  <a:prstClr val="black"/>
                </a:solidFill>
                <a:effectLst/>
                <a:uLnTx/>
                <a:uFillTx/>
              </a:rPr>
              <a:t>或</a:t>
            </a:r>
            <a:r>
              <a:rPr kumimoji="0" lang="en-US" altLang="zh-CN" sz="1100" b="0" i="0" u="none" strike="noStrike" kern="0" cap="none" spc="0" normalizeH="0" baseline="0" noProof="0" dirty="0" err="1">
                <a:ln>
                  <a:noFill/>
                </a:ln>
                <a:solidFill>
                  <a:prstClr val="black"/>
                </a:solidFill>
                <a:effectLst/>
                <a:uLnTx/>
                <a:uFillTx/>
              </a:rPr>
              <a:t>OXA</a:t>
            </a:r>
            <a:r>
              <a:rPr kumimoji="0" lang="en-US" altLang="zh-CN" sz="1100" b="0" i="0" u="none" strike="noStrike" kern="0" cap="none" spc="0" normalizeH="0" baseline="0" noProof="0" dirty="0">
                <a:ln>
                  <a:noFill/>
                </a:ln>
                <a:solidFill>
                  <a:prstClr val="black"/>
                </a:solidFill>
                <a:effectLst/>
                <a:uLnTx/>
                <a:uFillTx/>
              </a:rPr>
              <a:t>-48</a:t>
            </a:r>
            <a:r>
              <a:rPr kumimoji="0" lang="zh-CN" altLang="en-US" sz="1100" b="0" i="0" u="none" strike="noStrike" kern="0" cap="none" spc="0" normalizeH="0" baseline="0" noProof="0" dirty="0">
                <a:ln>
                  <a:noFill/>
                </a:ln>
                <a:solidFill>
                  <a:prstClr val="black"/>
                </a:solidFill>
                <a:effectLst/>
                <a:uLnTx/>
                <a:uFillTx/>
              </a:rPr>
              <a:t>酶）比</a:t>
            </a:r>
            <a:r>
              <a:rPr kumimoji="0" lang="en-US" altLang="zh-CN" sz="1100" b="0" i="0" u="none" strike="noStrike" kern="0" cap="none" spc="0" normalizeH="0" baseline="0" noProof="0" dirty="0" err="1">
                <a:ln>
                  <a:noFill/>
                </a:ln>
                <a:solidFill>
                  <a:prstClr val="black"/>
                </a:solidFill>
                <a:effectLst/>
                <a:uLnTx/>
                <a:uFillTx/>
              </a:rPr>
              <a:t>MBLs</a:t>
            </a:r>
            <a:r>
              <a:rPr kumimoji="0" lang="zh-CN" altLang="en-US" sz="1100" b="0" i="0" u="none" strike="noStrike" kern="0" cap="none" spc="0" normalizeH="0" baseline="0" noProof="0" dirty="0">
                <a:ln>
                  <a:noFill/>
                </a:ln>
                <a:solidFill>
                  <a:prstClr val="black"/>
                </a:solidFill>
                <a:effectLst/>
                <a:uLnTx/>
                <a:uFillTx/>
              </a:rPr>
              <a:t>更普遍，但匈牙利的碳青霉烯酶以</a:t>
            </a:r>
            <a:r>
              <a:rPr kumimoji="0" lang="en-US" altLang="zh-CN" sz="1100" b="0" i="0" u="none" strike="noStrike" kern="0" cap="none" spc="0" normalizeH="0" baseline="0" noProof="0" dirty="0">
                <a:ln>
                  <a:noFill/>
                </a:ln>
                <a:solidFill>
                  <a:prstClr val="black"/>
                </a:solidFill>
                <a:effectLst/>
                <a:uLnTx/>
                <a:uFillTx/>
              </a:rPr>
              <a:t>VIM</a:t>
            </a:r>
            <a:r>
              <a:rPr kumimoji="0" lang="zh-CN" altLang="en-US" sz="1100" b="0" i="0" u="none" strike="noStrike" kern="0" cap="none" spc="0" normalizeH="0" baseline="0" noProof="0" dirty="0">
                <a:ln>
                  <a:noFill/>
                </a:ln>
                <a:solidFill>
                  <a:prstClr val="black"/>
                </a:solidFill>
                <a:effectLst/>
                <a:uLnTx/>
                <a:uFillTx/>
              </a:rPr>
              <a:t>为主，塞尔维亚和黑山以</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为主</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北美：</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是加拿大</a:t>
            </a:r>
            <a:r>
              <a:rPr kumimoji="0" lang="zh-CN" altLang="en-US" sz="1100" b="1" i="0" u="none" strike="noStrike" kern="0" cap="none" spc="0" normalizeH="0" baseline="0" noProof="0" dirty="0">
                <a:ln>
                  <a:noFill/>
                </a:ln>
                <a:solidFill>
                  <a:prstClr val="black"/>
                </a:solidFill>
                <a:effectLst/>
                <a:uLnTx/>
                <a:uFillTx/>
              </a:rPr>
              <a:t>第二</a:t>
            </a:r>
            <a:r>
              <a:rPr kumimoji="0" lang="zh-CN" altLang="en-US" sz="1100" b="0" i="0" u="none" strike="noStrike" kern="0" cap="none" spc="0" normalizeH="0" baseline="0" noProof="0" dirty="0">
                <a:ln>
                  <a:noFill/>
                </a:ln>
                <a:solidFill>
                  <a:prstClr val="black"/>
                </a:solidFill>
                <a:effectLst/>
                <a:uLnTx/>
                <a:uFillTx/>
              </a:rPr>
              <a:t>常见的碳青霉烯酶</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非洲：</a:t>
            </a:r>
            <a:r>
              <a:rPr kumimoji="0" lang="zh-CN" altLang="en-US" sz="1100" b="0" i="0" u="none" strike="noStrike" kern="0" cap="none" spc="0" normalizeH="0" baseline="0" noProof="0" dirty="0">
                <a:ln>
                  <a:noFill/>
                </a:ln>
                <a:solidFill>
                  <a:prstClr val="black"/>
                </a:solidFill>
                <a:effectLst/>
                <a:uLnTx/>
                <a:uFillTx/>
              </a:rPr>
              <a:t>在尼日利亚等地发现了产</a:t>
            </a:r>
            <a:r>
              <a:rPr kumimoji="0" lang="en-US" altLang="zh-CN" sz="1100" b="0" i="0" u="none" strike="noStrike" kern="0" cap="none" spc="0" normalizeH="0" baseline="0" noProof="0" dirty="0">
                <a:ln>
                  <a:noFill/>
                </a:ln>
                <a:solidFill>
                  <a:prstClr val="black"/>
                </a:solidFill>
                <a:effectLst/>
                <a:uLnTx/>
                <a:uFillTx/>
              </a:rPr>
              <a:t>VIM</a:t>
            </a:r>
            <a:r>
              <a:rPr kumimoji="0" lang="zh-CN" altLang="en-US" sz="1100" b="0" i="0" u="none" strike="noStrike" kern="0" cap="none" spc="0" normalizeH="0" baseline="0" noProof="0" dirty="0">
                <a:ln>
                  <a:noFill/>
                </a:ln>
                <a:solidFill>
                  <a:prstClr val="black"/>
                </a:solidFill>
                <a:effectLst/>
                <a:uLnTx/>
                <a:uFillTx/>
              </a:rPr>
              <a:t>的</a:t>
            </a:r>
            <a:r>
              <a:rPr kumimoji="0" lang="en-US" altLang="zh-CN" sz="1100" b="0" i="0" u="none" strike="noStrike" kern="0" cap="none" spc="0" normalizeH="0" baseline="0" noProof="0" dirty="0">
                <a:ln>
                  <a:noFill/>
                </a:ln>
                <a:solidFill>
                  <a:prstClr val="black"/>
                </a:solidFill>
                <a:effectLst/>
                <a:uLnTx/>
                <a:uFillTx/>
              </a:rPr>
              <a:t>CPE</a:t>
            </a:r>
            <a:r>
              <a:rPr kumimoji="0" lang="zh-CN" altLang="en-US" sz="1100" b="0" i="0" u="none" strike="noStrike" kern="0" cap="none" spc="0" normalizeH="0" baseline="0" noProof="0" dirty="0">
                <a:ln>
                  <a:noFill/>
                </a:ln>
                <a:solidFill>
                  <a:prstClr val="black"/>
                </a:solidFill>
                <a:effectLst/>
                <a:uLnTx/>
                <a:uFillTx/>
              </a:rPr>
              <a:t>，在肯尼亚等地发现了产</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的</a:t>
            </a:r>
            <a:r>
              <a:rPr kumimoji="0" lang="en-US" altLang="zh-CN" sz="1100" b="0" i="0" u="none" strike="noStrike" kern="0" cap="none" spc="0" normalizeH="0" baseline="0" noProof="0" dirty="0">
                <a:ln>
                  <a:noFill/>
                </a:ln>
                <a:solidFill>
                  <a:prstClr val="black"/>
                </a:solidFill>
                <a:effectLst/>
                <a:uLnTx/>
                <a:uFillTx/>
              </a:rPr>
              <a:t>CPE</a:t>
            </a:r>
            <a:endParaRPr kumimoji="0" lang="zh-CN" altLang="en-US" sz="1100" b="0" i="0" u="none" strike="noStrike" kern="0" cap="none" spc="0" normalizeH="0" baseline="0" noProof="0" dirty="0">
              <a:ln>
                <a:noFill/>
              </a:ln>
              <a:solidFill>
                <a:prstClr val="black"/>
              </a:solidFill>
              <a:effectLst/>
              <a:uLnTx/>
              <a:uFillTx/>
            </a:endParaRPr>
          </a:p>
        </p:txBody>
      </p:sp>
      <p:grpSp>
        <p:nvGrpSpPr>
          <p:cNvPr id="1354" name="组合 1353"/>
          <p:cNvGrpSpPr/>
          <p:nvPr/>
        </p:nvGrpSpPr>
        <p:grpSpPr>
          <a:xfrm>
            <a:off x="6227024" y="1308205"/>
            <a:ext cx="5522063" cy="3805237"/>
            <a:chOff x="6069505" y="1085851"/>
            <a:chExt cx="5257646" cy="3805237"/>
          </a:xfrm>
        </p:grpSpPr>
        <p:sp>
          <p:nvSpPr>
            <p:cNvPr id="1355" name="矩形: 剪去对角 1354"/>
            <p:cNvSpPr/>
            <p:nvPr/>
          </p:nvSpPr>
          <p:spPr bwMode="auto">
            <a:xfrm>
              <a:off x="6069505" y="1085851"/>
              <a:ext cx="5257646" cy="3805237"/>
            </a:xfrm>
            <a:prstGeom prst="snip2DiagRect">
              <a:avLst>
                <a:gd name="adj1" fmla="val 0"/>
                <a:gd name="adj2" fmla="val 252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356" name="组合 1355"/>
            <p:cNvGrpSpPr/>
            <p:nvPr/>
          </p:nvGrpSpPr>
          <p:grpSpPr>
            <a:xfrm>
              <a:off x="6145705" y="1161733"/>
              <a:ext cx="5105246" cy="432000"/>
              <a:chOff x="714529" y="1161733"/>
              <a:chExt cx="5105246" cy="432000"/>
            </a:xfrm>
          </p:grpSpPr>
          <p:sp>
            <p:nvSpPr>
              <p:cNvPr id="1378" name="文本框 1326"/>
              <p:cNvSpPr txBox="1">
                <a:spLocks noChangeArrowheads="1"/>
              </p:cNvSpPr>
              <p:nvPr/>
            </p:nvSpPr>
            <p:spPr bwMode="auto">
              <a:xfrm>
                <a:off x="714529" y="1161733"/>
                <a:ext cx="510524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a:ln>
                      <a:noFill/>
                    </a:ln>
                    <a:solidFill>
                      <a:prstClr val="white"/>
                    </a:solidFill>
                    <a:effectLst/>
                    <a:uLnTx/>
                    <a:uFillTx/>
                    <a:latin typeface="Arial" panose="020B0604020202090204"/>
                    <a:ea typeface="微软雅黑"/>
                  </a:rPr>
                  <a:t>碳青霉烯酶在全球不同国家和地区的分布</a:t>
                </a:r>
                <a:r>
                  <a:rPr kumimoji="1" lang="en-US" altLang="zh-CN" sz="1600" b="1" i="0" u="none" strike="noStrike" kern="0" cap="none" spc="0" normalizeH="0" baseline="30000" noProof="0" dirty="0">
                    <a:ln>
                      <a:noFill/>
                    </a:ln>
                    <a:solidFill>
                      <a:prstClr val="white"/>
                    </a:solidFill>
                    <a:effectLst/>
                    <a:uLnTx/>
                    <a:uFillTx/>
                    <a:latin typeface="Arial" panose="020B0604020202090204"/>
                    <a:ea typeface="微软雅黑"/>
                  </a:rPr>
                  <a:t>2</a:t>
                </a:r>
                <a:endParaRPr kumimoji="1" lang="en-US" altLang="zh-CN" sz="1600" b="1" i="0" u="none" strike="noStrike" kern="0" cap="none" spc="0" normalizeH="0" baseline="30000" noProof="0" dirty="0">
                  <a:ln>
                    <a:noFill/>
                  </a:ln>
                  <a:solidFill>
                    <a:prstClr val="white"/>
                  </a:solidFill>
                  <a:effectLst/>
                  <a:uLnTx/>
                  <a:uFillTx/>
                  <a:latin typeface="Arial" panose="020B0604020202090204"/>
                  <a:ea typeface="微软雅黑"/>
                </a:endParaRPr>
              </a:p>
            </p:txBody>
          </p:sp>
          <p:pic>
            <p:nvPicPr>
              <p:cNvPr id="1379" name="图片 1378"/>
              <p:cNvPicPr>
                <a:picLocks noChangeAspect="1"/>
              </p:cNvPicPr>
              <p:nvPr/>
            </p:nvPicPr>
            <p:blipFill>
              <a:blip r:embed="rId4"/>
              <a:srcRect r="13522"/>
              <a:stretch>
                <a:fillRect/>
              </a:stretch>
            </p:blipFill>
            <p:spPr>
              <a:xfrm>
                <a:off x="5483339" y="1161733"/>
                <a:ext cx="336435"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1357" name="组合 1356"/>
            <p:cNvGrpSpPr/>
            <p:nvPr/>
          </p:nvGrpSpPr>
          <p:grpSpPr>
            <a:xfrm>
              <a:off x="6237101" y="1809802"/>
              <a:ext cx="4922454" cy="2839470"/>
              <a:chOff x="6283817" y="1868402"/>
              <a:chExt cx="5361398" cy="2921636"/>
            </a:xfrm>
          </p:grpSpPr>
          <p:pic>
            <p:nvPicPr>
              <p:cNvPr id="1358" name="图片 1357"/>
              <p:cNvPicPr>
                <a:picLocks noChangeAspect="1"/>
              </p:cNvPicPr>
              <p:nvPr/>
            </p:nvPicPr>
            <p:blipFill>
              <a:blip r:embed="rId5"/>
              <a:stretch>
                <a:fillRect/>
              </a:stretch>
            </p:blipFill>
            <p:spPr>
              <a:xfrm>
                <a:off x="6283817" y="1868402"/>
                <a:ext cx="5361398" cy="2921636"/>
              </a:xfrm>
              <a:prstGeom prst="rect">
                <a:avLst/>
              </a:prstGeom>
            </p:spPr>
          </p:pic>
          <p:cxnSp>
            <p:nvCxnSpPr>
              <p:cNvPr id="1359" name="直接连接符 1358"/>
              <p:cNvCxnSpPr/>
              <p:nvPr/>
            </p:nvCxnSpPr>
            <p:spPr>
              <a:xfrm>
                <a:off x="6362700" y="2941389"/>
                <a:ext cx="612000" cy="0"/>
              </a:xfrm>
              <a:prstGeom prst="line">
                <a:avLst/>
              </a:prstGeom>
              <a:noFill/>
              <a:ln w="12700" cap="flat" cmpd="sng" algn="ctr">
                <a:solidFill>
                  <a:srgbClr val="08C886"/>
                </a:solidFill>
                <a:prstDash val="solid"/>
                <a:miter lim="800000"/>
              </a:ln>
              <a:effectLst/>
            </p:spPr>
          </p:cxnSp>
          <p:cxnSp>
            <p:nvCxnSpPr>
              <p:cNvPr id="1360" name="直接连接符 1359"/>
              <p:cNvCxnSpPr/>
              <p:nvPr/>
            </p:nvCxnSpPr>
            <p:spPr>
              <a:xfrm>
                <a:off x="6362700" y="3026055"/>
                <a:ext cx="684000" cy="0"/>
              </a:xfrm>
              <a:prstGeom prst="line">
                <a:avLst/>
              </a:prstGeom>
              <a:noFill/>
              <a:ln w="12700" cap="flat" cmpd="sng" algn="ctr">
                <a:solidFill>
                  <a:srgbClr val="08C886"/>
                </a:solidFill>
                <a:prstDash val="solid"/>
                <a:miter lim="800000"/>
              </a:ln>
              <a:effectLst/>
            </p:spPr>
          </p:cxnSp>
          <p:cxnSp>
            <p:nvCxnSpPr>
              <p:cNvPr id="1361" name="直接连接符 1360"/>
              <p:cNvCxnSpPr/>
              <p:nvPr/>
            </p:nvCxnSpPr>
            <p:spPr>
              <a:xfrm>
                <a:off x="6362700" y="3710220"/>
                <a:ext cx="468000" cy="0"/>
              </a:xfrm>
              <a:prstGeom prst="line">
                <a:avLst/>
              </a:prstGeom>
              <a:noFill/>
              <a:ln w="12700" cap="flat" cmpd="sng" algn="ctr">
                <a:solidFill>
                  <a:srgbClr val="08C886"/>
                </a:solidFill>
                <a:prstDash val="solid"/>
                <a:miter lim="800000"/>
              </a:ln>
              <a:effectLst/>
            </p:spPr>
          </p:cxnSp>
          <p:cxnSp>
            <p:nvCxnSpPr>
              <p:cNvPr id="1362" name="直接连接符 1361"/>
              <p:cNvCxnSpPr/>
              <p:nvPr/>
            </p:nvCxnSpPr>
            <p:spPr>
              <a:xfrm>
                <a:off x="6362700" y="4342695"/>
                <a:ext cx="324000" cy="0"/>
              </a:xfrm>
              <a:prstGeom prst="line">
                <a:avLst/>
              </a:prstGeom>
              <a:noFill/>
              <a:ln w="12700" cap="flat" cmpd="sng" algn="ctr">
                <a:solidFill>
                  <a:srgbClr val="08C886"/>
                </a:solidFill>
                <a:prstDash val="solid"/>
                <a:miter lim="800000"/>
              </a:ln>
              <a:effectLst/>
            </p:spPr>
          </p:cxnSp>
          <p:cxnSp>
            <p:nvCxnSpPr>
              <p:cNvPr id="1363" name="直接连接符 1362"/>
              <p:cNvCxnSpPr/>
              <p:nvPr/>
            </p:nvCxnSpPr>
            <p:spPr>
              <a:xfrm>
                <a:off x="6362700" y="4418895"/>
                <a:ext cx="324000" cy="0"/>
              </a:xfrm>
              <a:prstGeom prst="line">
                <a:avLst/>
              </a:prstGeom>
              <a:noFill/>
              <a:ln w="12700" cap="flat" cmpd="sng" algn="ctr">
                <a:solidFill>
                  <a:srgbClr val="08C886"/>
                </a:solidFill>
                <a:prstDash val="solid"/>
                <a:miter lim="800000"/>
              </a:ln>
              <a:effectLst/>
            </p:spPr>
          </p:cxnSp>
          <p:cxnSp>
            <p:nvCxnSpPr>
              <p:cNvPr id="1364" name="直接连接符 1363"/>
              <p:cNvCxnSpPr/>
              <p:nvPr/>
            </p:nvCxnSpPr>
            <p:spPr>
              <a:xfrm>
                <a:off x="6362700" y="4571295"/>
                <a:ext cx="324000" cy="0"/>
              </a:xfrm>
              <a:prstGeom prst="line">
                <a:avLst/>
              </a:prstGeom>
              <a:noFill/>
              <a:ln w="12700" cap="flat" cmpd="sng" algn="ctr">
                <a:solidFill>
                  <a:srgbClr val="08C886"/>
                </a:solidFill>
                <a:prstDash val="solid"/>
                <a:miter lim="800000"/>
              </a:ln>
              <a:effectLst/>
            </p:spPr>
          </p:cxnSp>
          <p:cxnSp>
            <p:nvCxnSpPr>
              <p:cNvPr id="1365" name="直接连接符 1364"/>
              <p:cNvCxnSpPr/>
              <p:nvPr/>
            </p:nvCxnSpPr>
            <p:spPr>
              <a:xfrm>
                <a:off x="8883641" y="3510928"/>
                <a:ext cx="468000" cy="0"/>
              </a:xfrm>
              <a:prstGeom prst="line">
                <a:avLst/>
              </a:prstGeom>
              <a:noFill/>
              <a:ln w="12700" cap="flat" cmpd="sng" algn="ctr">
                <a:solidFill>
                  <a:srgbClr val="08C886"/>
                </a:solidFill>
                <a:prstDash val="solid"/>
                <a:miter lim="800000"/>
              </a:ln>
              <a:effectLst/>
            </p:spPr>
          </p:cxnSp>
          <p:cxnSp>
            <p:nvCxnSpPr>
              <p:cNvPr id="1366" name="直接连接符 1365"/>
              <p:cNvCxnSpPr/>
              <p:nvPr/>
            </p:nvCxnSpPr>
            <p:spPr>
              <a:xfrm>
                <a:off x="8873593" y="3880322"/>
                <a:ext cx="468000" cy="0"/>
              </a:xfrm>
              <a:prstGeom prst="line">
                <a:avLst/>
              </a:prstGeom>
              <a:noFill/>
              <a:ln w="12700" cap="flat" cmpd="sng" algn="ctr">
                <a:solidFill>
                  <a:srgbClr val="08C886"/>
                </a:solidFill>
                <a:prstDash val="solid"/>
                <a:miter lim="800000"/>
              </a:ln>
              <a:effectLst/>
            </p:spPr>
          </p:cxnSp>
          <p:cxnSp>
            <p:nvCxnSpPr>
              <p:cNvPr id="1367" name="直接连接符 1366"/>
              <p:cNvCxnSpPr/>
              <p:nvPr/>
            </p:nvCxnSpPr>
            <p:spPr>
              <a:xfrm>
                <a:off x="8475785" y="4262037"/>
                <a:ext cx="468000" cy="0"/>
              </a:xfrm>
              <a:prstGeom prst="line">
                <a:avLst/>
              </a:prstGeom>
              <a:noFill/>
              <a:ln w="12700" cap="flat" cmpd="sng" algn="ctr">
                <a:solidFill>
                  <a:srgbClr val="08C886"/>
                </a:solidFill>
                <a:prstDash val="solid"/>
                <a:miter lim="800000"/>
              </a:ln>
              <a:effectLst/>
            </p:spPr>
          </p:cxnSp>
          <p:sp>
            <p:nvSpPr>
              <p:cNvPr id="1368" name="矩形 1367"/>
              <p:cNvSpPr/>
              <p:nvPr/>
            </p:nvSpPr>
            <p:spPr>
              <a:xfrm>
                <a:off x="7621675" y="4342695"/>
                <a:ext cx="607925" cy="324000"/>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69" name="矩形 1368"/>
              <p:cNvSpPr/>
              <p:nvPr/>
            </p:nvSpPr>
            <p:spPr>
              <a:xfrm>
                <a:off x="8460713" y="4487185"/>
                <a:ext cx="468000" cy="164485"/>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cxnSp>
            <p:nvCxnSpPr>
              <p:cNvPr id="1370" name="直接连接符 1369"/>
              <p:cNvCxnSpPr/>
              <p:nvPr/>
            </p:nvCxnSpPr>
            <p:spPr>
              <a:xfrm>
                <a:off x="8475785" y="4418895"/>
                <a:ext cx="720000" cy="0"/>
              </a:xfrm>
              <a:prstGeom prst="line">
                <a:avLst/>
              </a:prstGeom>
              <a:noFill/>
              <a:ln w="12700" cap="flat" cmpd="sng" algn="ctr">
                <a:solidFill>
                  <a:srgbClr val="08C886"/>
                </a:solidFill>
                <a:prstDash val="solid"/>
                <a:miter lim="800000"/>
              </a:ln>
              <a:effectLst/>
            </p:spPr>
          </p:cxnSp>
          <p:cxnSp>
            <p:nvCxnSpPr>
              <p:cNvPr id="1371" name="直接连接符 1370"/>
              <p:cNvCxnSpPr/>
              <p:nvPr/>
            </p:nvCxnSpPr>
            <p:spPr>
              <a:xfrm>
                <a:off x="10775280" y="2941389"/>
                <a:ext cx="468000" cy="0"/>
              </a:xfrm>
              <a:prstGeom prst="line">
                <a:avLst/>
              </a:prstGeom>
              <a:noFill/>
              <a:ln w="12700" cap="flat" cmpd="sng" algn="ctr">
                <a:solidFill>
                  <a:srgbClr val="08C886"/>
                </a:solidFill>
                <a:prstDash val="solid"/>
                <a:miter lim="800000"/>
              </a:ln>
              <a:effectLst/>
            </p:spPr>
          </p:cxnSp>
          <p:cxnSp>
            <p:nvCxnSpPr>
              <p:cNvPr id="1372" name="直接连接符 1371"/>
              <p:cNvCxnSpPr/>
              <p:nvPr/>
            </p:nvCxnSpPr>
            <p:spPr>
              <a:xfrm>
                <a:off x="10775280" y="3530992"/>
                <a:ext cx="468000" cy="0"/>
              </a:xfrm>
              <a:prstGeom prst="line">
                <a:avLst/>
              </a:prstGeom>
              <a:noFill/>
              <a:ln w="12700" cap="flat" cmpd="sng" algn="ctr">
                <a:solidFill>
                  <a:srgbClr val="08C886"/>
                </a:solidFill>
                <a:prstDash val="solid"/>
                <a:miter lim="800000"/>
              </a:ln>
              <a:effectLst/>
            </p:spPr>
          </p:cxnSp>
          <p:cxnSp>
            <p:nvCxnSpPr>
              <p:cNvPr id="1373" name="直接连接符 1372"/>
              <p:cNvCxnSpPr/>
              <p:nvPr/>
            </p:nvCxnSpPr>
            <p:spPr>
              <a:xfrm>
                <a:off x="10775280" y="4097047"/>
                <a:ext cx="468000" cy="0"/>
              </a:xfrm>
              <a:prstGeom prst="line">
                <a:avLst/>
              </a:prstGeom>
              <a:noFill/>
              <a:ln w="12700" cap="flat" cmpd="sng" algn="ctr">
                <a:solidFill>
                  <a:srgbClr val="08C886"/>
                </a:solidFill>
                <a:prstDash val="solid"/>
                <a:miter lim="800000"/>
              </a:ln>
              <a:effectLst/>
            </p:spPr>
          </p:cxnSp>
          <p:cxnSp>
            <p:nvCxnSpPr>
              <p:cNvPr id="1374" name="直接连接符 1373"/>
              <p:cNvCxnSpPr/>
              <p:nvPr/>
            </p:nvCxnSpPr>
            <p:spPr>
              <a:xfrm>
                <a:off x="10775280" y="4251989"/>
                <a:ext cx="576000" cy="0"/>
              </a:xfrm>
              <a:prstGeom prst="line">
                <a:avLst/>
              </a:prstGeom>
              <a:noFill/>
              <a:ln w="12700" cap="flat" cmpd="sng" algn="ctr">
                <a:solidFill>
                  <a:srgbClr val="08C886"/>
                </a:solidFill>
                <a:prstDash val="solid"/>
                <a:miter lim="800000"/>
              </a:ln>
              <a:effectLst/>
            </p:spPr>
          </p:cxnSp>
          <p:sp>
            <p:nvSpPr>
              <p:cNvPr id="1375" name="矩形 1374"/>
              <p:cNvSpPr/>
              <p:nvPr/>
            </p:nvSpPr>
            <p:spPr>
              <a:xfrm>
                <a:off x="6362173" y="2063684"/>
                <a:ext cx="806221"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76" name="矩形 1375"/>
              <p:cNvSpPr/>
              <p:nvPr/>
            </p:nvSpPr>
            <p:spPr>
              <a:xfrm>
                <a:off x="6358141" y="2378417"/>
                <a:ext cx="573457"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77" name="矩形 1376"/>
              <p:cNvSpPr/>
              <p:nvPr/>
            </p:nvSpPr>
            <p:spPr>
              <a:xfrm>
                <a:off x="6354090" y="3233694"/>
                <a:ext cx="573457"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grpSp>
      </p:grpSp>
      <p:sp>
        <p:nvSpPr>
          <p:cNvPr id="1380" name="矩形: 剪去对角 1379"/>
          <p:cNvSpPr/>
          <p:nvPr/>
        </p:nvSpPr>
        <p:spPr bwMode="auto">
          <a:xfrm>
            <a:off x="439934" y="1308205"/>
            <a:ext cx="5522063" cy="3805237"/>
          </a:xfrm>
          <a:prstGeom prst="snip2DiagRect">
            <a:avLst>
              <a:gd name="adj1" fmla="val 0"/>
              <a:gd name="adj2" fmla="val 252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381" name="组合 1380"/>
          <p:cNvGrpSpPr/>
          <p:nvPr/>
        </p:nvGrpSpPr>
        <p:grpSpPr>
          <a:xfrm>
            <a:off x="695790" y="1992679"/>
            <a:ext cx="5010351" cy="2798763"/>
            <a:chOff x="881760" y="1741749"/>
            <a:chExt cx="4770437" cy="2798763"/>
          </a:xfrm>
        </p:grpSpPr>
        <p:grpSp>
          <p:nvGrpSpPr>
            <p:cNvPr id="1382" name="Group 202"/>
            <p:cNvGrpSpPr/>
            <p:nvPr/>
          </p:nvGrpSpPr>
          <p:grpSpPr bwMode="auto">
            <a:xfrm>
              <a:off x="881760" y="1741749"/>
              <a:ext cx="4770437" cy="2798763"/>
              <a:chOff x="1210467" y="1278642"/>
              <a:chExt cx="6122949" cy="3452384"/>
            </a:xfrm>
          </p:grpSpPr>
          <p:sp>
            <p:nvSpPr>
              <p:cNvPr id="1392" name="Freeform 10"/>
              <p:cNvSpPr/>
              <p:nvPr/>
            </p:nvSpPr>
            <p:spPr bwMode="auto">
              <a:xfrm>
                <a:off x="4739568" y="3050853"/>
                <a:ext cx="12226" cy="25457"/>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8 w 10"/>
                  <a:gd name="T53" fmla="*/ 18 h 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lnTo>
                      <a:pt x="8"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3" name="Freeform 11"/>
              <p:cNvSpPr/>
              <p:nvPr/>
            </p:nvSpPr>
            <p:spPr bwMode="auto">
              <a:xfrm>
                <a:off x="4739568" y="3050853"/>
                <a:ext cx="12226" cy="25457"/>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4" name="Freeform 12"/>
              <p:cNvSpPr/>
              <p:nvPr/>
            </p:nvSpPr>
            <p:spPr bwMode="auto">
              <a:xfrm>
                <a:off x="4729380" y="3070435"/>
                <a:ext cx="4075" cy="7833"/>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6"/>
                    </a:moveTo>
                    <a:lnTo>
                      <a:pt x="2" y="6"/>
                    </a:lnTo>
                    <a:lnTo>
                      <a:pt x="2" y="4"/>
                    </a:lnTo>
                    <a:lnTo>
                      <a:pt x="4" y="0"/>
                    </a:lnTo>
                    <a:lnTo>
                      <a:pt x="0" y="4"/>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5" name="Freeform 13"/>
              <p:cNvSpPr/>
              <p:nvPr/>
            </p:nvSpPr>
            <p:spPr bwMode="auto">
              <a:xfrm>
                <a:off x="4729380" y="3070435"/>
                <a:ext cx="4075" cy="7833"/>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6"/>
                    </a:moveTo>
                    <a:lnTo>
                      <a:pt x="2" y="6"/>
                    </a:lnTo>
                    <a:lnTo>
                      <a:pt x="2" y="4"/>
                    </a:lnTo>
                    <a:lnTo>
                      <a:pt x="4"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6" name="Freeform 14"/>
              <p:cNvSpPr/>
              <p:nvPr/>
            </p:nvSpPr>
            <p:spPr bwMode="auto">
              <a:xfrm>
                <a:off x="2807935" y="3495374"/>
                <a:ext cx="2037" cy="7833"/>
              </a:xfrm>
              <a:custGeom>
                <a:avLst/>
                <a:gdLst>
                  <a:gd name="T0" fmla="*/ 0 w 2"/>
                  <a:gd name="T1" fmla="*/ 0 h 6"/>
                  <a:gd name="T2" fmla="*/ 0 w 2"/>
                  <a:gd name="T3" fmla="*/ 2 h 6"/>
                  <a:gd name="T4" fmla="*/ 0 w 2"/>
                  <a:gd name="T5" fmla="*/ 4 h 6"/>
                  <a:gd name="T6" fmla="*/ 2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2"/>
                    </a:lnTo>
                    <a:lnTo>
                      <a:pt x="0" y="4"/>
                    </a:lnTo>
                    <a:lnTo>
                      <a:pt x="2"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7" name="Freeform 15"/>
              <p:cNvSpPr/>
              <p:nvPr/>
            </p:nvSpPr>
            <p:spPr bwMode="auto">
              <a:xfrm>
                <a:off x="2807935" y="3495374"/>
                <a:ext cx="2037" cy="7833"/>
              </a:xfrm>
              <a:custGeom>
                <a:avLst/>
                <a:gdLst>
                  <a:gd name="T0" fmla="*/ 0 w 2"/>
                  <a:gd name="T1" fmla="*/ 0 h 6"/>
                  <a:gd name="T2" fmla="*/ 2 w 2"/>
                  <a:gd name="T3" fmla="*/ 0 h 6"/>
                  <a:gd name="T4" fmla="*/ 2 w 2"/>
                  <a:gd name="T5" fmla="*/ 0 h 6"/>
                  <a:gd name="T6" fmla="*/ 0 w 2"/>
                  <a:gd name="T7" fmla="*/ 2 h 6"/>
                  <a:gd name="T8" fmla="*/ 0 w 2"/>
                  <a:gd name="T9" fmla="*/ 4 h 6"/>
                  <a:gd name="T10" fmla="*/ 2 w 2"/>
                  <a:gd name="T11" fmla="*/ 6 h 6"/>
                  <a:gd name="T12" fmla="*/ 2 w 2"/>
                  <a:gd name="T13" fmla="*/ 0 h 6"/>
                  <a:gd name="T14" fmla="*/ 2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2" y="0"/>
                    </a:lnTo>
                    <a:lnTo>
                      <a:pt x="0" y="2"/>
                    </a:lnTo>
                    <a:lnTo>
                      <a:pt x="0" y="4"/>
                    </a:lnTo>
                    <a:lnTo>
                      <a:pt x="2"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8" name="Freeform 16"/>
              <p:cNvSpPr/>
              <p:nvPr/>
            </p:nvSpPr>
            <p:spPr bwMode="auto">
              <a:xfrm>
                <a:off x="2867025" y="3311299"/>
                <a:ext cx="32601" cy="13708"/>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18 w 30"/>
                  <a:gd name="T41" fmla="*/ 2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lnTo>
                      <a:pt x="1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9" name="Freeform 17"/>
              <p:cNvSpPr/>
              <p:nvPr/>
            </p:nvSpPr>
            <p:spPr bwMode="auto">
              <a:xfrm>
                <a:off x="2867025" y="3311299"/>
                <a:ext cx="32601" cy="13708"/>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0" name="Freeform 18"/>
              <p:cNvSpPr/>
              <p:nvPr/>
            </p:nvSpPr>
            <p:spPr bwMode="auto">
              <a:xfrm>
                <a:off x="2646965" y="3624618"/>
                <a:ext cx="10189" cy="19582"/>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4 w 10"/>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1" name="Freeform 19"/>
              <p:cNvSpPr/>
              <p:nvPr/>
            </p:nvSpPr>
            <p:spPr bwMode="auto">
              <a:xfrm>
                <a:off x="2646965" y="3624618"/>
                <a:ext cx="10189" cy="19582"/>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2" name="Freeform 20"/>
              <p:cNvSpPr/>
              <p:nvPr/>
            </p:nvSpPr>
            <p:spPr bwMode="auto">
              <a:xfrm>
                <a:off x="2657154" y="3628534"/>
                <a:ext cx="6112" cy="5875"/>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0" y="2"/>
                    </a:lnTo>
                    <a:lnTo>
                      <a:pt x="2" y="4"/>
                    </a:lnTo>
                    <a:lnTo>
                      <a:pt x="4" y="4"/>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3" name="Freeform 21"/>
              <p:cNvSpPr/>
              <p:nvPr/>
            </p:nvSpPr>
            <p:spPr bwMode="auto">
              <a:xfrm>
                <a:off x="2657154" y="3628534"/>
                <a:ext cx="6112" cy="5875"/>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0" y="2"/>
                    </a:lnTo>
                    <a:lnTo>
                      <a:pt x="2" y="4"/>
                    </a:lnTo>
                    <a:lnTo>
                      <a:pt x="4" y="4"/>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4" name="Freeform 22"/>
              <p:cNvSpPr/>
              <p:nvPr/>
            </p:nvSpPr>
            <p:spPr bwMode="auto">
              <a:xfrm>
                <a:off x="2665304" y="3634410"/>
                <a:ext cx="4075" cy="3916"/>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2"/>
                    </a:moveTo>
                    <a:lnTo>
                      <a:pt x="4" y="4"/>
                    </a:lnTo>
                    <a:lnTo>
                      <a:pt x="2" y="4"/>
                    </a:lnTo>
                    <a:lnTo>
                      <a:pt x="0" y="4"/>
                    </a:lnTo>
                    <a:lnTo>
                      <a:pt x="0" y="2"/>
                    </a:lnTo>
                    <a:lnTo>
                      <a:pt x="2" y="2"/>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5" name="Freeform 23"/>
              <p:cNvSpPr/>
              <p:nvPr/>
            </p:nvSpPr>
            <p:spPr bwMode="auto">
              <a:xfrm>
                <a:off x="2665304" y="3634410"/>
                <a:ext cx="4075" cy="3916"/>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2"/>
                    </a:moveTo>
                    <a:lnTo>
                      <a:pt x="4" y="4"/>
                    </a:lnTo>
                    <a:lnTo>
                      <a:pt x="2" y="4"/>
                    </a:lnTo>
                    <a:lnTo>
                      <a:pt x="0" y="4"/>
                    </a:lnTo>
                    <a:lnTo>
                      <a:pt x="0" y="2"/>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6" name="Freeform 24"/>
              <p:cNvSpPr/>
              <p:nvPr/>
            </p:nvSpPr>
            <p:spPr bwMode="auto">
              <a:xfrm>
                <a:off x="2679567" y="3638326"/>
                <a:ext cx="4075" cy="3916"/>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0"/>
                    </a:moveTo>
                    <a:lnTo>
                      <a:pt x="4" y="2"/>
                    </a:lnTo>
                    <a:lnTo>
                      <a:pt x="2" y="4"/>
                    </a:lnTo>
                    <a:lnTo>
                      <a:pt x="0" y="4"/>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7" name="Freeform 25"/>
              <p:cNvSpPr/>
              <p:nvPr/>
            </p:nvSpPr>
            <p:spPr bwMode="auto">
              <a:xfrm>
                <a:off x="2679567" y="3638326"/>
                <a:ext cx="4075" cy="3916"/>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4" y="2"/>
                    </a:lnTo>
                    <a:lnTo>
                      <a:pt x="2" y="4"/>
                    </a:lnTo>
                    <a:lnTo>
                      <a:pt x="0" y="4"/>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8" name="Freeform 26"/>
              <p:cNvSpPr/>
              <p:nvPr/>
            </p:nvSpPr>
            <p:spPr bwMode="auto">
              <a:xfrm>
                <a:off x="2644928" y="3630493"/>
                <a:ext cx="4075" cy="3916"/>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2"/>
                    </a:lnTo>
                    <a:lnTo>
                      <a:pt x="2" y="2"/>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9" name="Freeform 27"/>
              <p:cNvSpPr/>
              <p:nvPr/>
            </p:nvSpPr>
            <p:spPr bwMode="auto">
              <a:xfrm>
                <a:off x="2644928" y="3630493"/>
                <a:ext cx="4075" cy="3916"/>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4" y="2"/>
                    </a:lnTo>
                    <a:lnTo>
                      <a:pt x="2" y="2"/>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0" name="Freeform 28"/>
              <p:cNvSpPr/>
              <p:nvPr/>
            </p:nvSpPr>
            <p:spPr bwMode="auto">
              <a:xfrm>
                <a:off x="4488944" y="2349802"/>
                <a:ext cx="8150" cy="15666"/>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4 w 6"/>
                  <a:gd name="T33" fmla="*/ 2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1" name="Freeform 29"/>
              <p:cNvSpPr/>
              <p:nvPr/>
            </p:nvSpPr>
            <p:spPr bwMode="auto">
              <a:xfrm>
                <a:off x="4488944" y="2349802"/>
                <a:ext cx="8150" cy="15666"/>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2" name="Freeform 30"/>
              <p:cNvSpPr/>
              <p:nvPr/>
            </p:nvSpPr>
            <p:spPr bwMode="auto">
              <a:xfrm>
                <a:off x="4521546" y="2355676"/>
                <a:ext cx="4075" cy="3916"/>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4 w 4"/>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2"/>
                    </a:moveTo>
                    <a:lnTo>
                      <a:pt x="2" y="0"/>
                    </a:lnTo>
                    <a:lnTo>
                      <a:pt x="0" y="2"/>
                    </a:lnTo>
                    <a:lnTo>
                      <a:pt x="2" y="4"/>
                    </a:lnTo>
                    <a:lnTo>
                      <a:pt x="4" y="4"/>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3" name="Freeform 31"/>
              <p:cNvSpPr/>
              <p:nvPr/>
            </p:nvSpPr>
            <p:spPr bwMode="auto">
              <a:xfrm>
                <a:off x="4521546" y="2355676"/>
                <a:ext cx="4075" cy="3916"/>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2"/>
                    </a:moveTo>
                    <a:lnTo>
                      <a:pt x="2" y="0"/>
                    </a:lnTo>
                    <a:lnTo>
                      <a:pt x="0" y="2"/>
                    </a:lnTo>
                    <a:lnTo>
                      <a:pt x="2" y="4"/>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4" name="Freeform 32"/>
              <p:cNvSpPr/>
              <p:nvPr/>
            </p:nvSpPr>
            <p:spPr bwMode="auto">
              <a:xfrm>
                <a:off x="4531734" y="2353718"/>
                <a:ext cx="8150" cy="9791"/>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6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6" y="8"/>
                    </a:moveTo>
                    <a:lnTo>
                      <a:pt x="8" y="0"/>
                    </a:lnTo>
                    <a:lnTo>
                      <a:pt x="6" y="2"/>
                    </a:lnTo>
                    <a:lnTo>
                      <a:pt x="2" y="4"/>
                    </a:lnTo>
                    <a:lnTo>
                      <a:pt x="2" y="6"/>
                    </a:lnTo>
                    <a:lnTo>
                      <a:pt x="0" y="8"/>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5" name="Freeform 33"/>
              <p:cNvSpPr/>
              <p:nvPr/>
            </p:nvSpPr>
            <p:spPr bwMode="auto">
              <a:xfrm>
                <a:off x="4531734" y="2353718"/>
                <a:ext cx="8150" cy="9791"/>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6" y="8"/>
                    </a:moveTo>
                    <a:lnTo>
                      <a:pt x="8" y="0"/>
                    </a:lnTo>
                    <a:lnTo>
                      <a:pt x="6" y="2"/>
                    </a:lnTo>
                    <a:lnTo>
                      <a:pt x="2" y="4"/>
                    </a:lnTo>
                    <a:lnTo>
                      <a:pt x="2" y="6"/>
                    </a:lnTo>
                    <a:lnTo>
                      <a:pt x="0" y="8"/>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6" name="Freeform 34"/>
              <p:cNvSpPr/>
              <p:nvPr/>
            </p:nvSpPr>
            <p:spPr bwMode="auto">
              <a:xfrm>
                <a:off x="4370764" y="2931400"/>
                <a:ext cx="52977" cy="33291"/>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48 w 48"/>
                  <a:gd name="T59" fmla="*/ 0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lnTo>
                      <a:pt x="4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7" name="Freeform 35"/>
              <p:cNvSpPr/>
              <p:nvPr/>
            </p:nvSpPr>
            <p:spPr bwMode="auto">
              <a:xfrm>
                <a:off x="4370764" y="2931400"/>
                <a:ext cx="52977" cy="33291"/>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8" name="Freeform 36"/>
              <p:cNvSpPr/>
              <p:nvPr/>
            </p:nvSpPr>
            <p:spPr bwMode="auto">
              <a:xfrm>
                <a:off x="4299449" y="2866778"/>
                <a:ext cx="24451" cy="52872"/>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14 w 22"/>
                  <a:gd name="T61" fmla="*/ 0 h 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9" name="Freeform 37"/>
              <p:cNvSpPr/>
              <p:nvPr/>
            </p:nvSpPr>
            <p:spPr bwMode="auto">
              <a:xfrm>
                <a:off x="4299449" y="2866778"/>
                <a:ext cx="24451" cy="52872"/>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0" name="Freeform 38"/>
              <p:cNvSpPr/>
              <p:nvPr/>
            </p:nvSpPr>
            <p:spPr bwMode="auto">
              <a:xfrm>
                <a:off x="4568411" y="2878528"/>
                <a:ext cx="8150" cy="3916"/>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4"/>
                    </a:moveTo>
                    <a:lnTo>
                      <a:pt x="6" y="4"/>
                    </a:lnTo>
                    <a:lnTo>
                      <a:pt x="4" y="2"/>
                    </a:lnTo>
                    <a:lnTo>
                      <a:pt x="4" y="0"/>
                    </a:lnTo>
                    <a:lnTo>
                      <a:pt x="0" y="2"/>
                    </a:lnTo>
                    <a:lnTo>
                      <a:pt x="0" y="4"/>
                    </a:lnTo>
                    <a:lnTo>
                      <a:pt x="2"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1" name="Freeform 39"/>
              <p:cNvSpPr/>
              <p:nvPr/>
            </p:nvSpPr>
            <p:spPr bwMode="auto">
              <a:xfrm>
                <a:off x="4568411" y="2878528"/>
                <a:ext cx="8150" cy="3916"/>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4"/>
                    </a:moveTo>
                    <a:lnTo>
                      <a:pt x="6" y="4"/>
                    </a:lnTo>
                    <a:lnTo>
                      <a:pt x="4" y="2"/>
                    </a:lnTo>
                    <a:lnTo>
                      <a:pt x="4" y="0"/>
                    </a:lnTo>
                    <a:lnTo>
                      <a:pt x="0" y="2"/>
                    </a:lnTo>
                    <a:lnTo>
                      <a:pt x="0"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2" name="Freeform 40"/>
              <p:cNvSpPr/>
              <p:nvPr/>
            </p:nvSpPr>
            <p:spPr bwMode="auto">
              <a:xfrm>
                <a:off x="4578598" y="2896151"/>
                <a:ext cx="6113" cy="3916"/>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6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6" y="2"/>
                    </a:moveTo>
                    <a:lnTo>
                      <a:pt x="4" y="2"/>
                    </a:lnTo>
                    <a:lnTo>
                      <a:pt x="4" y="0"/>
                    </a:lnTo>
                    <a:lnTo>
                      <a:pt x="2" y="0"/>
                    </a:lnTo>
                    <a:lnTo>
                      <a:pt x="0" y="4"/>
                    </a:lnTo>
                    <a:lnTo>
                      <a:pt x="2" y="4"/>
                    </a:lnTo>
                    <a:lnTo>
                      <a:pt x="2" y="2"/>
                    </a:lnTo>
                    <a:lnTo>
                      <a:pt x="4" y="4"/>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3" name="Freeform 41"/>
              <p:cNvSpPr/>
              <p:nvPr/>
            </p:nvSpPr>
            <p:spPr bwMode="auto">
              <a:xfrm>
                <a:off x="4578598" y="2896151"/>
                <a:ext cx="6113" cy="3916"/>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6" y="2"/>
                    </a:moveTo>
                    <a:lnTo>
                      <a:pt x="4" y="2"/>
                    </a:lnTo>
                    <a:lnTo>
                      <a:pt x="4" y="0"/>
                    </a:lnTo>
                    <a:lnTo>
                      <a:pt x="2" y="0"/>
                    </a:lnTo>
                    <a:lnTo>
                      <a:pt x="0" y="4"/>
                    </a:lnTo>
                    <a:lnTo>
                      <a:pt x="2" y="4"/>
                    </a:lnTo>
                    <a:lnTo>
                      <a:pt x="2" y="2"/>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4" name="Freeform 42"/>
              <p:cNvSpPr/>
              <p:nvPr/>
            </p:nvSpPr>
            <p:spPr bwMode="auto">
              <a:xfrm>
                <a:off x="4592862" y="2907901"/>
                <a:ext cx="12226" cy="9792"/>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10 w 10"/>
                  <a:gd name="T21" fmla="*/ 8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0">
                    <a:moveTo>
                      <a:pt x="10" y="8"/>
                    </a:moveTo>
                    <a:lnTo>
                      <a:pt x="6" y="0"/>
                    </a:lnTo>
                    <a:lnTo>
                      <a:pt x="0" y="4"/>
                    </a:lnTo>
                    <a:lnTo>
                      <a:pt x="0" y="6"/>
                    </a:lnTo>
                    <a:lnTo>
                      <a:pt x="4" y="6"/>
                    </a:lnTo>
                    <a:lnTo>
                      <a:pt x="4" y="8"/>
                    </a:lnTo>
                    <a:lnTo>
                      <a:pt x="6" y="10"/>
                    </a:lnTo>
                    <a:lnTo>
                      <a:pt x="8" y="8"/>
                    </a:lnTo>
                    <a:lnTo>
                      <a:pt x="8" y="6"/>
                    </a:lnTo>
                    <a:lnTo>
                      <a:pt x="8" y="8"/>
                    </a:lnTo>
                    <a:lnTo>
                      <a:pt x="1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5" name="Freeform 43"/>
              <p:cNvSpPr/>
              <p:nvPr/>
            </p:nvSpPr>
            <p:spPr bwMode="auto">
              <a:xfrm>
                <a:off x="4592862" y="2907901"/>
                <a:ext cx="12226" cy="9792"/>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0">
                    <a:moveTo>
                      <a:pt x="10" y="8"/>
                    </a:moveTo>
                    <a:lnTo>
                      <a:pt x="6" y="0"/>
                    </a:lnTo>
                    <a:lnTo>
                      <a:pt x="0" y="4"/>
                    </a:lnTo>
                    <a:lnTo>
                      <a:pt x="0" y="6"/>
                    </a:lnTo>
                    <a:lnTo>
                      <a:pt x="4" y="6"/>
                    </a:lnTo>
                    <a:lnTo>
                      <a:pt x="4" y="8"/>
                    </a:lnTo>
                    <a:lnTo>
                      <a:pt x="6" y="10"/>
                    </a:lnTo>
                    <a:lnTo>
                      <a:pt x="8" y="8"/>
                    </a:lnTo>
                    <a:lnTo>
                      <a:pt x="8" y="6"/>
                    </a:lnTo>
                    <a:lnTo>
                      <a:pt x="8"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6" name="Freeform 44"/>
              <p:cNvSpPr/>
              <p:nvPr/>
            </p:nvSpPr>
            <p:spPr bwMode="auto">
              <a:xfrm>
                <a:off x="4592862" y="2925525"/>
                <a:ext cx="6112" cy="7833"/>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w 4"/>
                  <a:gd name="T19" fmla="*/ 8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0" y="8"/>
                    </a:moveTo>
                    <a:lnTo>
                      <a:pt x="2" y="6"/>
                    </a:lnTo>
                    <a:lnTo>
                      <a:pt x="4" y="2"/>
                    </a:lnTo>
                    <a:lnTo>
                      <a:pt x="2" y="0"/>
                    </a:lnTo>
                    <a:lnTo>
                      <a:pt x="0" y="0"/>
                    </a:lnTo>
                    <a:lnTo>
                      <a:pt x="0" y="2"/>
                    </a:lnTo>
                    <a:lnTo>
                      <a:pt x="0" y="4"/>
                    </a:lnTo>
                    <a:lnTo>
                      <a:pt x="0" y="6"/>
                    </a:lnTo>
                    <a:lnTo>
                      <a:pt x="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7" name="Freeform 45"/>
              <p:cNvSpPr/>
              <p:nvPr/>
            </p:nvSpPr>
            <p:spPr bwMode="auto">
              <a:xfrm>
                <a:off x="4592862" y="2925525"/>
                <a:ext cx="6112" cy="7833"/>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0" y="8"/>
                    </a:moveTo>
                    <a:lnTo>
                      <a:pt x="2" y="6"/>
                    </a:lnTo>
                    <a:lnTo>
                      <a:pt x="4" y="2"/>
                    </a:lnTo>
                    <a:lnTo>
                      <a:pt x="2" y="0"/>
                    </a:lnTo>
                    <a:lnTo>
                      <a:pt x="0" y="0"/>
                    </a:lnTo>
                    <a:lnTo>
                      <a:pt x="0" y="2"/>
                    </a:lnTo>
                    <a:lnTo>
                      <a:pt x="0" y="4"/>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8" name="Freeform 46"/>
              <p:cNvSpPr/>
              <p:nvPr/>
            </p:nvSpPr>
            <p:spPr bwMode="auto">
              <a:xfrm>
                <a:off x="4554147" y="2988189"/>
                <a:ext cx="46865" cy="15666"/>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24 w 42"/>
                  <a:gd name="T43" fmla="*/ 6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lnTo>
                      <a:pt x="2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9" name="Freeform 47"/>
              <p:cNvSpPr/>
              <p:nvPr/>
            </p:nvSpPr>
            <p:spPr bwMode="auto">
              <a:xfrm>
                <a:off x="4554147" y="2988189"/>
                <a:ext cx="46865" cy="15666"/>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0" name="Freeform 48"/>
              <p:cNvSpPr/>
              <p:nvPr/>
            </p:nvSpPr>
            <p:spPr bwMode="auto">
              <a:xfrm>
                <a:off x="4574523" y="2939233"/>
                <a:ext cx="4075" cy="5875"/>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4" y="6"/>
                    </a:moveTo>
                    <a:lnTo>
                      <a:pt x="4" y="4"/>
                    </a:lnTo>
                    <a:lnTo>
                      <a:pt x="4" y="2"/>
                    </a:lnTo>
                    <a:lnTo>
                      <a:pt x="2" y="2"/>
                    </a:lnTo>
                    <a:lnTo>
                      <a:pt x="0" y="0"/>
                    </a:lnTo>
                    <a:lnTo>
                      <a:pt x="0" y="2"/>
                    </a:lnTo>
                    <a:lnTo>
                      <a:pt x="0" y="4"/>
                    </a:lnTo>
                    <a:lnTo>
                      <a:pt x="2"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1" name="Freeform 49"/>
              <p:cNvSpPr/>
              <p:nvPr/>
            </p:nvSpPr>
            <p:spPr bwMode="auto">
              <a:xfrm>
                <a:off x="4574523" y="2939233"/>
                <a:ext cx="4075" cy="5875"/>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4" y="6"/>
                    </a:moveTo>
                    <a:lnTo>
                      <a:pt x="4" y="4"/>
                    </a:lnTo>
                    <a:lnTo>
                      <a:pt x="4" y="2"/>
                    </a:lnTo>
                    <a:lnTo>
                      <a:pt x="2" y="2"/>
                    </a:lnTo>
                    <a:lnTo>
                      <a:pt x="0" y="0"/>
                    </a:lnTo>
                    <a:lnTo>
                      <a:pt x="0" y="2"/>
                    </a:lnTo>
                    <a:lnTo>
                      <a:pt x="0" y="4"/>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2" name="Freeform 50"/>
              <p:cNvSpPr/>
              <p:nvPr/>
            </p:nvSpPr>
            <p:spPr bwMode="auto">
              <a:xfrm>
                <a:off x="4513395" y="2931400"/>
                <a:ext cx="40752" cy="41124"/>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14 w 36"/>
                  <a:gd name="T75" fmla="*/ 0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3" name="Freeform 51"/>
              <p:cNvSpPr/>
              <p:nvPr/>
            </p:nvSpPr>
            <p:spPr bwMode="auto">
              <a:xfrm>
                <a:off x="4513395" y="2931400"/>
                <a:ext cx="40752" cy="41124"/>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4" name="Freeform 52"/>
              <p:cNvSpPr/>
              <p:nvPr/>
            </p:nvSpPr>
            <p:spPr bwMode="auto">
              <a:xfrm>
                <a:off x="4501170" y="2929442"/>
                <a:ext cx="6113" cy="9791"/>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8"/>
                    </a:moveTo>
                    <a:lnTo>
                      <a:pt x="6" y="4"/>
                    </a:lnTo>
                    <a:lnTo>
                      <a:pt x="4" y="4"/>
                    </a:lnTo>
                    <a:lnTo>
                      <a:pt x="4" y="0"/>
                    </a:lnTo>
                    <a:lnTo>
                      <a:pt x="0" y="4"/>
                    </a:lnTo>
                    <a:lnTo>
                      <a:pt x="2" y="6"/>
                    </a:lnTo>
                    <a:lnTo>
                      <a:pt x="4" y="6"/>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5" name="Freeform 53"/>
              <p:cNvSpPr/>
              <p:nvPr/>
            </p:nvSpPr>
            <p:spPr bwMode="auto">
              <a:xfrm>
                <a:off x="4501170" y="2929442"/>
                <a:ext cx="6113" cy="9791"/>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8"/>
                    </a:moveTo>
                    <a:lnTo>
                      <a:pt x="6" y="4"/>
                    </a:lnTo>
                    <a:lnTo>
                      <a:pt x="4" y="4"/>
                    </a:lnTo>
                    <a:lnTo>
                      <a:pt x="4" y="0"/>
                    </a:lnTo>
                    <a:lnTo>
                      <a:pt x="0" y="4"/>
                    </a:lnTo>
                    <a:lnTo>
                      <a:pt x="2" y="6"/>
                    </a:lnTo>
                    <a:lnTo>
                      <a:pt x="4" y="6"/>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6" name="Freeform 54"/>
              <p:cNvSpPr/>
              <p:nvPr/>
            </p:nvSpPr>
            <p:spPr bwMode="auto">
              <a:xfrm>
                <a:off x="4543960" y="2915734"/>
                <a:ext cx="28526" cy="25458"/>
              </a:xfrm>
              <a:custGeom>
                <a:avLst/>
                <a:gdLst>
                  <a:gd name="T0" fmla="*/ 24 w 24"/>
                  <a:gd name="T1" fmla="*/ 18 h 22"/>
                  <a:gd name="T2" fmla="*/ 20 w 24"/>
                  <a:gd name="T3" fmla="*/ 16 h 22"/>
                  <a:gd name="T4" fmla="*/ 18 w 24"/>
                  <a:gd name="T5" fmla="*/ 12 h 22"/>
                  <a:gd name="T6" fmla="*/ 18 w 24"/>
                  <a:gd name="T7" fmla="*/ 10 h 22"/>
                  <a:gd name="T8" fmla="*/ 16 w 24"/>
                  <a:gd name="T9" fmla="*/ 8 h 22"/>
                  <a:gd name="T10" fmla="*/ 12 w 24"/>
                  <a:gd name="T11" fmla="*/ 8 h 22"/>
                  <a:gd name="T12" fmla="*/ 10 w 24"/>
                  <a:gd name="T13" fmla="*/ 6 h 22"/>
                  <a:gd name="T14" fmla="*/ 6 w 24"/>
                  <a:gd name="T15" fmla="*/ 2 h 22"/>
                  <a:gd name="T16" fmla="*/ 4 w 24"/>
                  <a:gd name="T17" fmla="*/ 0 h 22"/>
                  <a:gd name="T18" fmla="*/ 0 w 24"/>
                  <a:gd name="T19" fmla="*/ 4 h 22"/>
                  <a:gd name="T20" fmla="*/ 2 w 24"/>
                  <a:gd name="T21" fmla="*/ 4 h 22"/>
                  <a:gd name="T22" fmla="*/ 8 w 24"/>
                  <a:gd name="T23" fmla="*/ 10 h 22"/>
                  <a:gd name="T24" fmla="*/ 8 w 24"/>
                  <a:gd name="T25" fmla="*/ 12 h 22"/>
                  <a:gd name="T26" fmla="*/ 10 w 24"/>
                  <a:gd name="T27" fmla="*/ 12 h 22"/>
                  <a:gd name="T28" fmla="*/ 14 w 24"/>
                  <a:gd name="T29" fmla="*/ 14 h 22"/>
                  <a:gd name="T30" fmla="*/ 18 w 24"/>
                  <a:gd name="T31" fmla="*/ 16 h 22"/>
                  <a:gd name="T32" fmla="*/ 18 w 24"/>
                  <a:gd name="T33" fmla="*/ 18 h 22"/>
                  <a:gd name="T34" fmla="*/ 18 w 24"/>
                  <a:gd name="T35" fmla="*/ 20 h 22"/>
                  <a:gd name="T36" fmla="*/ 20 w 24"/>
                  <a:gd name="T37" fmla="*/ 20 h 22"/>
                  <a:gd name="T38" fmla="*/ 24 w 24"/>
                  <a:gd name="T39" fmla="*/ 22 h 22"/>
                  <a:gd name="T40" fmla="*/ 24 w 24"/>
                  <a:gd name="T41" fmla="*/ 20 h 22"/>
                  <a:gd name="T42" fmla="*/ 24 w 24"/>
                  <a:gd name="T43" fmla="*/ 18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22">
                    <a:moveTo>
                      <a:pt x="24" y="18"/>
                    </a:move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lnTo>
                      <a:pt x="24"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7" name="Freeform 55"/>
              <p:cNvSpPr/>
              <p:nvPr/>
            </p:nvSpPr>
            <p:spPr bwMode="auto">
              <a:xfrm>
                <a:off x="4543960" y="2915734"/>
                <a:ext cx="28526" cy="25458"/>
              </a:xfrm>
              <a:custGeom>
                <a:avLst/>
                <a:gdLst>
                  <a:gd name="T0" fmla="*/ 24 w 24"/>
                  <a:gd name="T1" fmla="*/ 18 h 22"/>
                  <a:gd name="T2" fmla="*/ 24 w 24"/>
                  <a:gd name="T3" fmla="*/ 20 h 22"/>
                  <a:gd name="T4" fmla="*/ 24 w 24"/>
                  <a:gd name="T5" fmla="*/ 20 h 22"/>
                  <a:gd name="T6" fmla="*/ 20 w 24"/>
                  <a:gd name="T7" fmla="*/ 16 h 22"/>
                  <a:gd name="T8" fmla="*/ 18 w 24"/>
                  <a:gd name="T9" fmla="*/ 12 h 22"/>
                  <a:gd name="T10" fmla="*/ 18 w 24"/>
                  <a:gd name="T11" fmla="*/ 10 h 22"/>
                  <a:gd name="T12" fmla="*/ 16 w 24"/>
                  <a:gd name="T13" fmla="*/ 8 h 22"/>
                  <a:gd name="T14" fmla="*/ 12 w 24"/>
                  <a:gd name="T15" fmla="*/ 8 h 22"/>
                  <a:gd name="T16" fmla="*/ 10 w 24"/>
                  <a:gd name="T17" fmla="*/ 6 h 22"/>
                  <a:gd name="T18" fmla="*/ 6 w 24"/>
                  <a:gd name="T19" fmla="*/ 2 h 22"/>
                  <a:gd name="T20" fmla="*/ 4 w 24"/>
                  <a:gd name="T21" fmla="*/ 0 h 22"/>
                  <a:gd name="T22" fmla="*/ 0 w 24"/>
                  <a:gd name="T23" fmla="*/ 4 h 22"/>
                  <a:gd name="T24" fmla="*/ 2 w 24"/>
                  <a:gd name="T25" fmla="*/ 4 h 22"/>
                  <a:gd name="T26" fmla="*/ 8 w 24"/>
                  <a:gd name="T27" fmla="*/ 10 h 22"/>
                  <a:gd name="T28" fmla="*/ 8 w 24"/>
                  <a:gd name="T29" fmla="*/ 12 h 22"/>
                  <a:gd name="T30" fmla="*/ 10 w 24"/>
                  <a:gd name="T31" fmla="*/ 12 h 22"/>
                  <a:gd name="T32" fmla="*/ 14 w 24"/>
                  <a:gd name="T33" fmla="*/ 14 h 22"/>
                  <a:gd name="T34" fmla="*/ 18 w 24"/>
                  <a:gd name="T35" fmla="*/ 16 h 22"/>
                  <a:gd name="T36" fmla="*/ 18 w 24"/>
                  <a:gd name="T37" fmla="*/ 18 h 22"/>
                  <a:gd name="T38" fmla="*/ 18 w 24"/>
                  <a:gd name="T39" fmla="*/ 20 h 22"/>
                  <a:gd name="T40" fmla="*/ 20 w 24"/>
                  <a:gd name="T41" fmla="*/ 20 h 22"/>
                  <a:gd name="T42" fmla="*/ 24 w 24"/>
                  <a:gd name="T43" fmla="*/ 22 h 22"/>
                  <a:gd name="T44" fmla="*/ 24 w 24"/>
                  <a:gd name="T45" fmla="*/ 20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 h="22">
                    <a:moveTo>
                      <a:pt x="24" y="18"/>
                    </a:moveTo>
                    <a:lnTo>
                      <a:pt x="24" y="20"/>
                    </a:ln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8" name="Freeform 56"/>
              <p:cNvSpPr/>
              <p:nvPr/>
            </p:nvSpPr>
            <p:spPr bwMode="auto">
              <a:xfrm>
                <a:off x="4488944" y="2900068"/>
                <a:ext cx="8150" cy="9792"/>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8"/>
                    </a:moveTo>
                    <a:lnTo>
                      <a:pt x="6" y="6"/>
                    </a:lnTo>
                    <a:lnTo>
                      <a:pt x="4" y="2"/>
                    </a:lnTo>
                    <a:lnTo>
                      <a:pt x="2" y="0"/>
                    </a:lnTo>
                    <a:lnTo>
                      <a:pt x="0" y="0"/>
                    </a:lnTo>
                    <a:lnTo>
                      <a:pt x="2" y="6"/>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9" name="Freeform 57"/>
              <p:cNvSpPr/>
              <p:nvPr/>
            </p:nvSpPr>
            <p:spPr bwMode="auto">
              <a:xfrm>
                <a:off x="4488944" y="2900068"/>
                <a:ext cx="8150" cy="9792"/>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8"/>
                    </a:moveTo>
                    <a:lnTo>
                      <a:pt x="6" y="6"/>
                    </a:lnTo>
                    <a:lnTo>
                      <a:pt x="4" y="2"/>
                    </a:lnTo>
                    <a:lnTo>
                      <a:pt x="2" y="0"/>
                    </a:lnTo>
                    <a:lnTo>
                      <a:pt x="0" y="0"/>
                    </a:lnTo>
                    <a:lnTo>
                      <a:pt x="2" y="6"/>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0" name="Freeform 58"/>
              <p:cNvSpPr/>
              <p:nvPr/>
            </p:nvSpPr>
            <p:spPr bwMode="auto">
              <a:xfrm>
                <a:off x="5081883" y="3158556"/>
                <a:ext cx="12226" cy="7833"/>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12 w 12"/>
                  <a:gd name="T15" fmla="*/ 0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7">
                    <a:moveTo>
                      <a:pt x="12" y="0"/>
                    </a:moveTo>
                    <a:lnTo>
                      <a:pt x="6" y="0"/>
                    </a:lnTo>
                    <a:lnTo>
                      <a:pt x="6" y="3"/>
                    </a:lnTo>
                    <a:lnTo>
                      <a:pt x="0" y="5"/>
                    </a:lnTo>
                    <a:lnTo>
                      <a:pt x="0" y="7"/>
                    </a:lnTo>
                    <a:lnTo>
                      <a:pt x="6" y="5"/>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1" name="Freeform 59"/>
              <p:cNvSpPr/>
              <p:nvPr/>
            </p:nvSpPr>
            <p:spPr bwMode="auto">
              <a:xfrm>
                <a:off x="5081883" y="3158556"/>
                <a:ext cx="12226" cy="7833"/>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7">
                    <a:moveTo>
                      <a:pt x="12" y="0"/>
                    </a:moveTo>
                    <a:lnTo>
                      <a:pt x="6" y="0"/>
                    </a:lnTo>
                    <a:lnTo>
                      <a:pt x="6" y="3"/>
                    </a:lnTo>
                    <a:lnTo>
                      <a:pt x="0" y="5"/>
                    </a:lnTo>
                    <a:lnTo>
                      <a:pt x="0" y="7"/>
                    </a:lnTo>
                    <a:lnTo>
                      <a:pt x="6" y="5"/>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2" name="Freeform 60"/>
              <p:cNvSpPr/>
              <p:nvPr/>
            </p:nvSpPr>
            <p:spPr bwMode="auto">
              <a:xfrm>
                <a:off x="5134860" y="3272134"/>
                <a:ext cx="6112" cy="9792"/>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2 w 6"/>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lnTo>
                      <a:pt x="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3" name="Freeform 61"/>
              <p:cNvSpPr/>
              <p:nvPr/>
            </p:nvSpPr>
            <p:spPr bwMode="auto">
              <a:xfrm>
                <a:off x="5134860" y="3272134"/>
                <a:ext cx="6112" cy="9792"/>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4" name="Freeform 62"/>
              <p:cNvSpPr/>
              <p:nvPr/>
            </p:nvSpPr>
            <p:spPr bwMode="auto">
              <a:xfrm>
                <a:off x="5697234" y="3397462"/>
                <a:ext cx="8150" cy="35248"/>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6 w 6"/>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30">
                    <a:moveTo>
                      <a:pt x="6" y="0"/>
                    </a:moveTo>
                    <a:lnTo>
                      <a:pt x="0" y="24"/>
                    </a:lnTo>
                    <a:lnTo>
                      <a:pt x="0" y="28"/>
                    </a:lnTo>
                    <a:lnTo>
                      <a:pt x="2" y="30"/>
                    </a:lnTo>
                    <a:lnTo>
                      <a:pt x="2" y="28"/>
                    </a:lnTo>
                    <a:lnTo>
                      <a:pt x="6" y="12"/>
                    </a:lnTo>
                    <a:lnTo>
                      <a:pt x="6" y="10"/>
                    </a:lnTo>
                    <a:lnTo>
                      <a:pt x="6"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5" name="Freeform 63"/>
              <p:cNvSpPr/>
              <p:nvPr/>
            </p:nvSpPr>
            <p:spPr bwMode="auto">
              <a:xfrm>
                <a:off x="5697234" y="3397462"/>
                <a:ext cx="8150" cy="35248"/>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30">
                    <a:moveTo>
                      <a:pt x="6" y="0"/>
                    </a:moveTo>
                    <a:lnTo>
                      <a:pt x="0" y="24"/>
                    </a:lnTo>
                    <a:lnTo>
                      <a:pt x="0" y="28"/>
                    </a:lnTo>
                    <a:lnTo>
                      <a:pt x="2" y="30"/>
                    </a:lnTo>
                    <a:lnTo>
                      <a:pt x="2" y="28"/>
                    </a:lnTo>
                    <a:lnTo>
                      <a:pt x="6" y="12"/>
                    </a:lnTo>
                    <a:lnTo>
                      <a:pt x="6" y="10"/>
                    </a:lnTo>
                    <a:lnTo>
                      <a:pt x="6"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6" name="Freeform 64"/>
              <p:cNvSpPr/>
              <p:nvPr/>
            </p:nvSpPr>
            <p:spPr bwMode="auto">
              <a:xfrm>
                <a:off x="5715572" y="3503207"/>
                <a:ext cx="4075" cy="7833"/>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2" y="0"/>
                    </a:lnTo>
                    <a:lnTo>
                      <a:pt x="0" y="2"/>
                    </a:lnTo>
                    <a:lnTo>
                      <a:pt x="0" y="4"/>
                    </a:lnTo>
                    <a:lnTo>
                      <a:pt x="2" y="8"/>
                    </a:lnTo>
                    <a:lnTo>
                      <a:pt x="4" y="6"/>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7" name="Freeform 65"/>
              <p:cNvSpPr/>
              <p:nvPr/>
            </p:nvSpPr>
            <p:spPr bwMode="auto">
              <a:xfrm>
                <a:off x="5715572" y="3503207"/>
                <a:ext cx="4075" cy="7833"/>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2" y="0"/>
                    </a:lnTo>
                    <a:lnTo>
                      <a:pt x="0" y="2"/>
                    </a:lnTo>
                    <a:lnTo>
                      <a:pt x="0" y="4"/>
                    </a:lnTo>
                    <a:lnTo>
                      <a:pt x="2" y="8"/>
                    </a:lnTo>
                    <a:lnTo>
                      <a:pt x="4" y="6"/>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8" name="Freeform 66"/>
              <p:cNvSpPr/>
              <p:nvPr/>
            </p:nvSpPr>
            <p:spPr bwMode="auto">
              <a:xfrm>
                <a:off x="5886729" y="3450335"/>
                <a:ext cx="2038" cy="5874"/>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2 w 2"/>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5">
                    <a:moveTo>
                      <a:pt x="2" y="0"/>
                    </a:moveTo>
                    <a:lnTo>
                      <a:pt x="2" y="1"/>
                    </a:lnTo>
                    <a:lnTo>
                      <a:pt x="2" y="3"/>
                    </a:lnTo>
                    <a:lnTo>
                      <a:pt x="2" y="5"/>
                    </a:lnTo>
                    <a:lnTo>
                      <a:pt x="0" y="1"/>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9" name="Freeform 67"/>
              <p:cNvSpPr/>
              <p:nvPr/>
            </p:nvSpPr>
            <p:spPr bwMode="auto">
              <a:xfrm>
                <a:off x="5886729" y="3450335"/>
                <a:ext cx="2038" cy="5874"/>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5">
                    <a:moveTo>
                      <a:pt x="2" y="0"/>
                    </a:moveTo>
                    <a:lnTo>
                      <a:pt x="2" y="1"/>
                    </a:lnTo>
                    <a:lnTo>
                      <a:pt x="2" y="3"/>
                    </a:lnTo>
                    <a:lnTo>
                      <a:pt x="2" y="5"/>
                    </a:lnTo>
                    <a:lnTo>
                      <a:pt x="0" y="1"/>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0" name="Freeform 68"/>
              <p:cNvSpPr/>
              <p:nvPr/>
            </p:nvSpPr>
            <p:spPr bwMode="auto">
              <a:xfrm>
                <a:off x="6304435" y="3015605"/>
                <a:ext cx="2037" cy="3916"/>
              </a:xfrm>
              <a:custGeom>
                <a:avLst/>
                <a:gdLst>
                  <a:gd name="T0" fmla="*/ 2 w 2"/>
                  <a:gd name="T1" fmla="*/ 0 h 4"/>
                  <a:gd name="T2" fmla="*/ 0 w 2"/>
                  <a:gd name="T3" fmla="*/ 4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1" name="Freeform 69"/>
              <p:cNvSpPr/>
              <p:nvPr/>
            </p:nvSpPr>
            <p:spPr bwMode="auto">
              <a:xfrm>
                <a:off x="6304435" y="3015605"/>
                <a:ext cx="2037" cy="3916"/>
              </a:xfrm>
              <a:custGeom>
                <a:avLst/>
                <a:gdLst>
                  <a:gd name="T0" fmla="*/ 2 w 2"/>
                  <a:gd name="T1" fmla="*/ 0 h 4"/>
                  <a:gd name="T2" fmla="*/ 0 w 2"/>
                  <a:gd name="T3" fmla="*/ 4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2" y="0"/>
                    </a:move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2" name="Freeform 70"/>
              <p:cNvSpPr/>
              <p:nvPr/>
            </p:nvSpPr>
            <p:spPr bwMode="auto">
              <a:xfrm>
                <a:off x="6308510" y="3007772"/>
                <a:ext cx="2037" cy="7833"/>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2" y="2"/>
                    </a:lnTo>
                    <a:lnTo>
                      <a:pt x="2" y="4"/>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3" name="Freeform 71"/>
              <p:cNvSpPr/>
              <p:nvPr/>
            </p:nvSpPr>
            <p:spPr bwMode="auto">
              <a:xfrm>
                <a:off x="6308510" y="3007772"/>
                <a:ext cx="2037" cy="7833"/>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0"/>
                    </a:moveTo>
                    <a:lnTo>
                      <a:pt x="2" y="2"/>
                    </a:lnTo>
                    <a:lnTo>
                      <a:pt x="2" y="4"/>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4" name="Freeform 72"/>
              <p:cNvSpPr/>
              <p:nvPr/>
            </p:nvSpPr>
            <p:spPr bwMode="auto">
              <a:xfrm>
                <a:off x="6332961" y="2949024"/>
                <a:ext cx="2037" cy="1958"/>
              </a:xfrm>
              <a:custGeom>
                <a:avLst/>
                <a:gdLst>
                  <a:gd name="T0" fmla="*/ 0 w 2"/>
                  <a:gd name="T1" fmla="*/ 0 h 1"/>
                  <a:gd name="T2" fmla="*/ 2 w 2"/>
                  <a:gd name="T3" fmla="*/ 0 h 1"/>
                  <a:gd name="T4" fmla="*/ 2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0" y="0"/>
                    </a:moveTo>
                    <a:lnTo>
                      <a:pt x="2"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5" name="Freeform 73"/>
              <p:cNvSpPr/>
              <p:nvPr/>
            </p:nvSpPr>
            <p:spPr bwMode="auto">
              <a:xfrm>
                <a:off x="6255533" y="3033228"/>
                <a:ext cx="12226" cy="5875"/>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2 w 1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6">
                    <a:moveTo>
                      <a:pt x="2" y="2"/>
                    </a:moveTo>
                    <a:lnTo>
                      <a:pt x="0" y="4"/>
                    </a:lnTo>
                    <a:lnTo>
                      <a:pt x="0" y="6"/>
                    </a:lnTo>
                    <a:lnTo>
                      <a:pt x="8" y="4"/>
                    </a:lnTo>
                    <a:lnTo>
                      <a:pt x="10" y="2"/>
                    </a:lnTo>
                    <a:lnTo>
                      <a:pt x="10" y="0"/>
                    </a:lnTo>
                    <a:lnTo>
                      <a:pt x="6" y="0"/>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6" name="Freeform 74"/>
              <p:cNvSpPr/>
              <p:nvPr/>
            </p:nvSpPr>
            <p:spPr bwMode="auto">
              <a:xfrm>
                <a:off x="6255533" y="3033228"/>
                <a:ext cx="12226" cy="5875"/>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6">
                    <a:moveTo>
                      <a:pt x="2" y="2"/>
                    </a:moveTo>
                    <a:lnTo>
                      <a:pt x="0" y="4"/>
                    </a:lnTo>
                    <a:lnTo>
                      <a:pt x="0" y="6"/>
                    </a:lnTo>
                    <a:lnTo>
                      <a:pt x="8" y="4"/>
                    </a:lnTo>
                    <a:lnTo>
                      <a:pt x="10" y="2"/>
                    </a:lnTo>
                    <a:lnTo>
                      <a:pt x="10" y="0"/>
                    </a:lnTo>
                    <a:lnTo>
                      <a:pt x="6"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7" name="Freeform 75"/>
              <p:cNvSpPr/>
              <p:nvPr/>
            </p:nvSpPr>
            <p:spPr bwMode="auto">
              <a:xfrm>
                <a:off x="6713989" y="3205554"/>
                <a:ext cx="2038" cy="1959"/>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2">
                    <a:moveTo>
                      <a:pt x="2" y="2"/>
                    </a:moveTo>
                    <a:lnTo>
                      <a:pt x="0" y="2"/>
                    </a:lnTo>
                    <a:lnTo>
                      <a:pt x="2" y="0"/>
                    </a:lnTo>
                    <a:lnTo>
                      <a:pt x="0" y="2"/>
                    </a:lnTo>
                    <a:lnTo>
                      <a:pt x="0" y="0"/>
                    </a:lnTo>
                    <a:lnTo>
                      <a:pt x="2" y="0"/>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8" name="Freeform 76"/>
              <p:cNvSpPr/>
              <p:nvPr/>
            </p:nvSpPr>
            <p:spPr bwMode="auto">
              <a:xfrm>
                <a:off x="6713989" y="3205554"/>
                <a:ext cx="2038" cy="1959"/>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2" y="2"/>
                    </a:moveTo>
                    <a:lnTo>
                      <a:pt x="0" y="2"/>
                    </a:lnTo>
                    <a:lnTo>
                      <a:pt x="2" y="0"/>
                    </a:lnTo>
                    <a:lnTo>
                      <a:pt x="0" y="2"/>
                    </a:lnTo>
                    <a:lnTo>
                      <a:pt x="0"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9" name="Freeform 77"/>
              <p:cNvSpPr/>
              <p:nvPr/>
            </p:nvSpPr>
            <p:spPr bwMode="auto">
              <a:xfrm>
                <a:off x="6318698" y="3816526"/>
                <a:ext cx="8150" cy="7833"/>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2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2" y="6"/>
                    </a:moveTo>
                    <a:lnTo>
                      <a:pt x="0" y="6"/>
                    </a:lnTo>
                    <a:lnTo>
                      <a:pt x="0" y="4"/>
                    </a:lnTo>
                    <a:lnTo>
                      <a:pt x="2" y="2"/>
                    </a:lnTo>
                    <a:lnTo>
                      <a:pt x="2" y="0"/>
                    </a:lnTo>
                    <a:lnTo>
                      <a:pt x="4" y="0"/>
                    </a:lnTo>
                    <a:lnTo>
                      <a:pt x="6" y="4"/>
                    </a:lnTo>
                    <a:lnTo>
                      <a:pt x="8" y="6"/>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0" name="Freeform 78"/>
              <p:cNvSpPr/>
              <p:nvPr/>
            </p:nvSpPr>
            <p:spPr bwMode="auto">
              <a:xfrm>
                <a:off x="6318698" y="3816526"/>
                <a:ext cx="8150" cy="7833"/>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2" y="6"/>
                    </a:moveTo>
                    <a:lnTo>
                      <a:pt x="0" y="6"/>
                    </a:lnTo>
                    <a:lnTo>
                      <a:pt x="0" y="4"/>
                    </a:lnTo>
                    <a:lnTo>
                      <a:pt x="2" y="2"/>
                    </a:lnTo>
                    <a:lnTo>
                      <a:pt x="2" y="0"/>
                    </a:lnTo>
                    <a:lnTo>
                      <a:pt x="4" y="0"/>
                    </a:lnTo>
                    <a:lnTo>
                      <a:pt x="6" y="4"/>
                    </a:lnTo>
                    <a:lnTo>
                      <a:pt x="8"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1" name="Freeform 79"/>
              <p:cNvSpPr/>
              <p:nvPr/>
            </p:nvSpPr>
            <p:spPr bwMode="auto">
              <a:xfrm>
                <a:off x="6322773" y="3814568"/>
                <a:ext cx="20376" cy="11749"/>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w 18"/>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2" name="Freeform 80"/>
              <p:cNvSpPr/>
              <p:nvPr/>
            </p:nvSpPr>
            <p:spPr bwMode="auto">
              <a:xfrm>
                <a:off x="6322773" y="3814568"/>
                <a:ext cx="20376" cy="11749"/>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3" name="Freeform 81"/>
              <p:cNvSpPr/>
              <p:nvPr/>
            </p:nvSpPr>
            <p:spPr bwMode="auto">
              <a:xfrm>
                <a:off x="6424652" y="3812609"/>
                <a:ext cx="4075" cy="5875"/>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2 w 4"/>
                  <a:gd name="T15" fmla="*/ 6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6"/>
                    </a:moveTo>
                    <a:lnTo>
                      <a:pt x="0" y="6"/>
                    </a:lnTo>
                    <a:lnTo>
                      <a:pt x="0" y="2"/>
                    </a:lnTo>
                    <a:lnTo>
                      <a:pt x="2" y="0"/>
                    </a:lnTo>
                    <a:lnTo>
                      <a:pt x="4" y="0"/>
                    </a:lnTo>
                    <a:lnTo>
                      <a:pt x="4" y="2"/>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4" name="Freeform 82"/>
              <p:cNvSpPr/>
              <p:nvPr/>
            </p:nvSpPr>
            <p:spPr bwMode="auto">
              <a:xfrm>
                <a:off x="6424652" y="3812609"/>
                <a:ext cx="4075" cy="5875"/>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2" y="6"/>
                    </a:moveTo>
                    <a:lnTo>
                      <a:pt x="0" y="6"/>
                    </a:lnTo>
                    <a:lnTo>
                      <a:pt x="0" y="2"/>
                    </a:lnTo>
                    <a:lnTo>
                      <a:pt x="2" y="0"/>
                    </a:lnTo>
                    <a:lnTo>
                      <a:pt x="4" y="0"/>
                    </a:lnTo>
                    <a:lnTo>
                      <a:pt x="4" y="2"/>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5" name="Freeform 83"/>
              <p:cNvSpPr/>
              <p:nvPr/>
            </p:nvSpPr>
            <p:spPr bwMode="auto">
              <a:xfrm>
                <a:off x="6424652" y="3857649"/>
                <a:ext cx="8150" cy="7833"/>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w 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6" name="Freeform 84"/>
              <p:cNvSpPr/>
              <p:nvPr/>
            </p:nvSpPr>
            <p:spPr bwMode="auto">
              <a:xfrm>
                <a:off x="6424652" y="3857649"/>
                <a:ext cx="8150" cy="7833"/>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7" name="Freeform 85"/>
              <p:cNvSpPr/>
              <p:nvPr/>
            </p:nvSpPr>
            <p:spPr bwMode="auto">
              <a:xfrm>
                <a:off x="6471517" y="3902688"/>
                <a:ext cx="10187" cy="5875"/>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6 w 10"/>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8" name="Freeform 86"/>
              <p:cNvSpPr/>
              <p:nvPr/>
            </p:nvSpPr>
            <p:spPr bwMode="auto">
              <a:xfrm>
                <a:off x="6471517" y="3902688"/>
                <a:ext cx="10187" cy="5875"/>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9" name="Freeform 87"/>
              <p:cNvSpPr/>
              <p:nvPr/>
            </p:nvSpPr>
            <p:spPr bwMode="auto">
              <a:xfrm>
                <a:off x="6699727" y="4051515"/>
                <a:ext cx="6112" cy="15666"/>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2 w 6"/>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2" y="0"/>
                    </a:moveTo>
                    <a:lnTo>
                      <a:pt x="4" y="0"/>
                    </a:lnTo>
                    <a:lnTo>
                      <a:pt x="6" y="4"/>
                    </a:lnTo>
                    <a:lnTo>
                      <a:pt x="6" y="8"/>
                    </a:lnTo>
                    <a:lnTo>
                      <a:pt x="2" y="14"/>
                    </a:lnTo>
                    <a:lnTo>
                      <a:pt x="0" y="8"/>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0" name="Freeform 88"/>
              <p:cNvSpPr/>
              <p:nvPr/>
            </p:nvSpPr>
            <p:spPr bwMode="auto">
              <a:xfrm>
                <a:off x="6699727" y="4051515"/>
                <a:ext cx="6112" cy="15666"/>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4">
                    <a:moveTo>
                      <a:pt x="2" y="0"/>
                    </a:moveTo>
                    <a:lnTo>
                      <a:pt x="4" y="0"/>
                    </a:lnTo>
                    <a:lnTo>
                      <a:pt x="6" y="4"/>
                    </a:lnTo>
                    <a:lnTo>
                      <a:pt x="6" y="8"/>
                    </a:lnTo>
                    <a:lnTo>
                      <a:pt x="2" y="14"/>
                    </a:lnTo>
                    <a:lnTo>
                      <a:pt x="0" y="8"/>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1" name="Freeform 89"/>
              <p:cNvSpPr/>
              <p:nvPr/>
            </p:nvSpPr>
            <p:spPr bwMode="auto">
              <a:xfrm>
                <a:off x="6707877" y="4098513"/>
                <a:ext cx="2037" cy="7833"/>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2" y="2"/>
                    </a:lnTo>
                    <a:lnTo>
                      <a:pt x="0"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2" name="Freeform 90"/>
              <p:cNvSpPr/>
              <p:nvPr/>
            </p:nvSpPr>
            <p:spPr bwMode="auto">
              <a:xfrm>
                <a:off x="6707877" y="4098513"/>
                <a:ext cx="2037" cy="7833"/>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2" y="2"/>
                    </a:lnTo>
                    <a:lnTo>
                      <a:pt x="0"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3" name="Freeform 91"/>
              <p:cNvSpPr/>
              <p:nvPr/>
            </p:nvSpPr>
            <p:spPr bwMode="auto">
              <a:xfrm>
                <a:off x="6426690" y="4263005"/>
                <a:ext cx="26488" cy="9792"/>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w 24"/>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4" name="Freeform 92"/>
              <p:cNvSpPr/>
              <p:nvPr/>
            </p:nvSpPr>
            <p:spPr bwMode="auto">
              <a:xfrm>
                <a:off x="6426690" y="4263005"/>
                <a:ext cx="26488" cy="9792"/>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5" name="Freeform 93"/>
              <p:cNvSpPr/>
              <p:nvPr/>
            </p:nvSpPr>
            <p:spPr bwMode="auto">
              <a:xfrm>
                <a:off x="6614148" y="4349168"/>
                <a:ext cx="10187" cy="11749"/>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w 8"/>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0" y="0"/>
                    </a:moveTo>
                    <a:lnTo>
                      <a:pt x="2" y="0"/>
                    </a:lnTo>
                    <a:lnTo>
                      <a:pt x="6" y="4"/>
                    </a:lnTo>
                    <a:lnTo>
                      <a:pt x="8" y="6"/>
                    </a:lnTo>
                    <a:lnTo>
                      <a:pt x="8" y="8"/>
                    </a:lnTo>
                    <a:lnTo>
                      <a:pt x="4" y="10"/>
                    </a:lnTo>
                    <a:lnTo>
                      <a:pt x="4" y="6"/>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6" name="Freeform 94"/>
              <p:cNvSpPr/>
              <p:nvPr/>
            </p:nvSpPr>
            <p:spPr bwMode="auto">
              <a:xfrm>
                <a:off x="6614148" y="4349168"/>
                <a:ext cx="10187" cy="11749"/>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0">
                    <a:moveTo>
                      <a:pt x="0" y="0"/>
                    </a:moveTo>
                    <a:lnTo>
                      <a:pt x="2" y="0"/>
                    </a:lnTo>
                    <a:lnTo>
                      <a:pt x="6" y="4"/>
                    </a:lnTo>
                    <a:lnTo>
                      <a:pt x="8" y="6"/>
                    </a:lnTo>
                    <a:lnTo>
                      <a:pt x="8" y="8"/>
                    </a:lnTo>
                    <a:lnTo>
                      <a:pt x="4" y="10"/>
                    </a:lnTo>
                    <a:lnTo>
                      <a:pt x="4" y="6"/>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7" name="Freeform 95"/>
              <p:cNvSpPr/>
              <p:nvPr/>
            </p:nvSpPr>
            <p:spPr bwMode="auto">
              <a:xfrm>
                <a:off x="6618224" y="4360917"/>
                <a:ext cx="8150" cy="3916"/>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0" y="2"/>
                    </a:moveTo>
                    <a:lnTo>
                      <a:pt x="4" y="0"/>
                    </a:lnTo>
                    <a:lnTo>
                      <a:pt x="6" y="2"/>
                    </a:lnTo>
                    <a:lnTo>
                      <a:pt x="6" y="4"/>
                    </a:lnTo>
                    <a:lnTo>
                      <a:pt x="4"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8" name="Freeform 96"/>
              <p:cNvSpPr/>
              <p:nvPr/>
            </p:nvSpPr>
            <p:spPr bwMode="auto">
              <a:xfrm>
                <a:off x="6618224" y="4360917"/>
                <a:ext cx="8150" cy="3916"/>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0" y="2"/>
                    </a:moveTo>
                    <a:lnTo>
                      <a:pt x="4" y="0"/>
                    </a:lnTo>
                    <a:lnTo>
                      <a:pt x="6" y="2"/>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9" name="Freeform 97"/>
              <p:cNvSpPr/>
              <p:nvPr/>
            </p:nvSpPr>
            <p:spPr bwMode="auto">
              <a:xfrm>
                <a:off x="6563208" y="4370709"/>
                <a:ext cx="61128" cy="64621"/>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w 54"/>
                  <a:gd name="T101" fmla="*/ 0 h 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0" name="Freeform 98"/>
              <p:cNvSpPr/>
              <p:nvPr/>
            </p:nvSpPr>
            <p:spPr bwMode="auto">
              <a:xfrm>
                <a:off x="6563208" y="4370709"/>
                <a:ext cx="61128" cy="64621"/>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1" name="Freeform 99"/>
              <p:cNvSpPr/>
              <p:nvPr/>
            </p:nvSpPr>
            <p:spPr bwMode="auto">
              <a:xfrm>
                <a:off x="6039549" y="3804776"/>
                <a:ext cx="670366" cy="530685"/>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lnTo>
                      <a:pt x="12" y="17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2" name="Freeform 100"/>
              <p:cNvSpPr/>
              <p:nvPr/>
            </p:nvSpPr>
            <p:spPr bwMode="auto">
              <a:xfrm>
                <a:off x="6039549" y="3804776"/>
                <a:ext cx="670366" cy="530685"/>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3" name="Freeform 101"/>
              <p:cNvSpPr/>
              <p:nvPr/>
            </p:nvSpPr>
            <p:spPr bwMode="auto">
              <a:xfrm>
                <a:off x="3898044" y="3438585"/>
                <a:ext cx="4075" cy="3916"/>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4" name="Freeform 102"/>
              <p:cNvSpPr/>
              <p:nvPr/>
            </p:nvSpPr>
            <p:spPr bwMode="auto">
              <a:xfrm>
                <a:off x="3898044" y="3438585"/>
                <a:ext cx="4075" cy="3916"/>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5" name="Freeform 103"/>
              <p:cNvSpPr/>
              <p:nvPr/>
            </p:nvSpPr>
            <p:spPr bwMode="auto">
              <a:xfrm>
                <a:off x="4303524" y="3561954"/>
                <a:ext cx="6112" cy="7833"/>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6 w 6"/>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6" y="2"/>
                    </a:moveTo>
                    <a:lnTo>
                      <a:pt x="6" y="4"/>
                    </a:lnTo>
                    <a:lnTo>
                      <a:pt x="6" y="8"/>
                    </a:lnTo>
                    <a:lnTo>
                      <a:pt x="4" y="8"/>
                    </a:lnTo>
                    <a:lnTo>
                      <a:pt x="2" y="8"/>
                    </a:lnTo>
                    <a:lnTo>
                      <a:pt x="0" y="8"/>
                    </a:lnTo>
                    <a:lnTo>
                      <a:pt x="0" y="6"/>
                    </a:lnTo>
                    <a:lnTo>
                      <a:pt x="2" y="0"/>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6" name="Freeform 104"/>
              <p:cNvSpPr/>
              <p:nvPr/>
            </p:nvSpPr>
            <p:spPr bwMode="auto">
              <a:xfrm>
                <a:off x="4303524" y="3561954"/>
                <a:ext cx="6112" cy="7833"/>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6" y="2"/>
                    </a:moveTo>
                    <a:lnTo>
                      <a:pt x="6" y="4"/>
                    </a:lnTo>
                    <a:lnTo>
                      <a:pt x="6" y="8"/>
                    </a:lnTo>
                    <a:lnTo>
                      <a:pt x="4" y="8"/>
                    </a:lnTo>
                    <a:lnTo>
                      <a:pt x="2" y="8"/>
                    </a:lnTo>
                    <a:lnTo>
                      <a:pt x="0" y="8"/>
                    </a:lnTo>
                    <a:lnTo>
                      <a:pt x="0" y="6"/>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7" name="Freeform 105"/>
              <p:cNvSpPr/>
              <p:nvPr/>
            </p:nvSpPr>
            <p:spPr bwMode="auto">
              <a:xfrm>
                <a:off x="4827184" y="3354380"/>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8" name="Freeform 106"/>
              <p:cNvSpPr/>
              <p:nvPr/>
            </p:nvSpPr>
            <p:spPr bwMode="auto">
              <a:xfrm>
                <a:off x="4827184" y="3354380"/>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9" name="Freeform 107"/>
              <p:cNvSpPr/>
              <p:nvPr/>
            </p:nvSpPr>
            <p:spPr bwMode="auto">
              <a:xfrm>
                <a:off x="4823109" y="3358297"/>
                <a:ext cx="10189" cy="3916"/>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6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6" y="2"/>
                    </a:moveTo>
                    <a:lnTo>
                      <a:pt x="6" y="4"/>
                    </a:lnTo>
                    <a:lnTo>
                      <a:pt x="4" y="4"/>
                    </a:lnTo>
                    <a:lnTo>
                      <a:pt x="4" y="2"/>
                    </a:lnTo>
                    <a:lnTo>
                      <a:pt x="2" y="0"/>
                    </a:lnTo>
                    <a:lnTo>
                      <a:pt x="0" y="2"/>
                    </a:lnTo>
                    <a:lnTo>
                      <a:pt x="2" y="2"/>
                    </a:lnTo>
                    <a:lnTo>
                      <a:pt x="2" y="4"/>
                    </a:lnTo>
                    <a:lnTo>
                      <a:pt x="8" y="4"/>
                    </a:lnTo>
                    <a:lnTo>
                      <a:pt x="6" y="4"/>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0" name="Freeform 108"/>
              <p:cNvSpPr/>
              <p:nvPr/>
            </p:nvSpPr>
            <p:spPr bwMode="auto">
              <a:xfrm>
                <a:off x="4823109" y="3358297"/>
                <a:ext cx="10189" cy="3916"/>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4">
                    <a:moveTo>
                      <a:pt x="6" y="2"/>
                    </a:moveTo>
                    <a:lnTo>
                      <a:pt x="6" y="4"/>
                    </a:lnTo>
                    <a:lnTo>
                      <a:pt x="4" y="4"/>
                    </a:lnTo>
                    <a:lnTo>
                      <a:pt x="4" y="2"/>
                    </a:lnTo>
                    <a:lnTo>
                      <a:pt x="2" y="0"/>
                    </a:lnTo>
                    <a:lnTo>
                      <a:pt x="0" y="2"/>
                    </a:lnTo>
                    <a:lnTo>
                      <a:pt x="2" y="2"/>
                    </a:lnTo>
                    <a:lnTo>
                      <a:pt x="2" y="4"/>
                    </a:lnTo>
                    <a:lnTo>
                      <a:pt x="8" y="4"/>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1" name="Freeform 109"/>
              <p:cNvSpPr/>
              <p:nvPr/>
            </p:nvSpPr>
            <p:spPr bwMode="auto">
              <a:xfrm>
                <a:off x="4385028" y="3223178"/>
                <a:ext cx="177269" cy="278071"/>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24 w 160"/>
                  <a:gd name="T107" fmla="*/ 30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lnTo>
                      <a:pt x="24"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2" name="Freeform 110"/>
              <p:cNvSpPr/>
              <p:nvPr/>
            </p:nvSpPr>
            <p:spPr bwMode="auto">
              <a:xfrm>
                <a:off x="4385028" y="3223178"/>
                <a:ext cx="177269" cy="278071"/>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3" name="Freeform 111"/>
              <p:cNvSpPr/>
              <p:nvPr/>
            </p:nvSpPr>
            <p:spPr bwMode="auto">
              <a:xfrm>
                <a:off x="2714206" y="3372005"/>
                <a:ext cx="69278" cy="74413"/>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64 w 64"/>
                  <a:gd name="T89" fmla="*/ 2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lnTo>
                      <a:pt x="6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4" name="Freeform 112"/>
              <p:cNvSpPr/>
              <p:nvPr/>
            </p:nvSpPr>
            <p:spPr bwMode="auto">
              <a:xfrm>
                <a:off x="2714206" y="3372005"/>
                <a:ext cx="69278" cy="74413"/>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5" name="Freeform 113"/>
              <p:cNvSpPr/>
              <p:nvPr/>
            </p:nvSpPr>
            <p:spPr bwMode="auto">
              <a:xfrm>
                <a:off x="2787560" y="3464042"/>
                <a:ext cx="95766" cy="41124"/>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6 w 8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6" name="Freeform 114"/>
              <p:cNvSpPr/>
              <p:nvPr/>
            </p:nvSpPr>
            <p:spPr bwMode="auto">
              <a:xfrm>
                <a:off x="2787560" y="3464042"/>
                <a:ext cx="95766" cy="41124"/>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7" name="Freeform 115"/>
              <p:cNvSpPr/>
              <p:nvPr/>
            </p:nvSpPr>
            <p:spPr bwMode="auto">
              <a:xfrm>
                <a:off x="2634740" y="3321091"/>
                <a:ext cx="65203" cy="7245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46 w 58"/>
                  <a:gd name="T89" fmla="*/ 0 h 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lnTo>
                      <a:pt x="4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8" name="Freeform 116"/>
              <p:cNvSpPr/>
              <p:nvPr/>
            </p:nvSpPr>
            <p:spPr bwMode="auto">
              <a:xfrm>
                <a:off x="2634740" y="3321091"/>
                <a:ext cx="65203" cy="7245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9" name="Freeform 117"/>
              <p:cNvSpPr/>
              <p:nvPr/>
            </p:nvSpPr>
            <p:spPr bwMode="auto">
              <a:xfrm>
                <a:off x="2975018" y="3285842"/>
                <a:ext cx="55014" cy="41122"/>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w 50"/>
                  <a:gd name="T97" fmla="*/ 2 h 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0" name="Freeform 118"/>
              <p:cNvSpPr/>
              <p:nvPr/>
            </p:nvSpPr>
            <p:spPr bwMode="auto">
              <a:xfrm>
                <a:off x="2975018" y="3285842"/>
                <a:ext cx="55014" cy="41122"/>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1" name="Freeform 119"/>
              <p:cNvSpPr/>
              <p:nvPr/>
            </p:nvSpPr>
            <p:spPr bwMode="auto">
              <a:xfrm>
                <a:off x="2950566" y="3420960"/>
                <a:ext cx="222096" cy="191908"/>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lnTo>
                      <a:pt x="2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2" name="Freeform 120"/>
              <p:cNvSpPr/>
              <p:nvPr/>
            </p:nvSpPr>
            <p:spPr bwMode="auto">
              <a:xfrm>
                <a:off x="2950566" y="3420960"/>
                <a:ext cx="222096" cy="191908"/>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3" name="Freeform 121"/>
              <p:cNvSpPr/>
              <p:nvPr/>
            </p:nvSpPr>
            <p:spPr bwMode="auto">
              <a:xfrm>
                <a:off x="2824236" y="3605035"/>
                <a:ext cx="95766" cy="105745"/>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30 w 86"/>
                  <a:gd name="T69" fmla="*/ 0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lnTo>
                      <a:pt x="3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4" name="Freeform 122"/>
              <p:cNvSpPr/>
              <p:nvPr/>
            </p:nvSpPr>
            <p:spPr bwMode="auto">
              <a:xfrm>
                <a:off x="2824236" y="3605035"/>
                <a:ext cx="95766" cy="105745"/>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5" name="Freeform 123"/>
              <p:cNvSpPr/>
              <p:nvPr/>
            </p:nvSpPr>
            <p:spPr bwMode="auto">
              <a:xfrm>
                <a:off x="3123761" y="3953603"/>
                <a:ext cx="140594" cy="150785"/>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w 126"/>
                  <a:gd name="T113" fmla="*/ 48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lnTo>
                      <a:pt x="0" y="4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6" name="Freeform 124"/>
              <p:cNvSpPr/>
              <p:nvPr/>
            </p:nvSpPr>
            <p:spPr bwMode="auto">
              <a:xfrm>
                <a:off x="3123761" y="3953603"/>
                <a:ext cx="140594" cy="150785"/>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7" name="Freeform 125"/>
              <p:cNvSpPr/>
              <p:nvPr/>
            </p:nvSpPr>
            <p:spPr bwMode="auto">
              <a:xfrm>
                <a:off x="2911852" y="3922271"/>
                <a:ext cx="138556" cy="775464"/>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88 w 125"/>
                  <a:gd name="T117" fmla="*/ 0 h 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lnTo>
                      <a:pt x="8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8" name="Freeform 126"/>
              <p:cNvSpPr/>
              <p:nvPr/>
            </p:nvSpPr>
            <p:spPr bwMode="auto">
              <a:xfrm>
                <a:off x="2911852" y="3922271"/>
                <a:ext cx="138556" cy="775464"/>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9" name="Freeform 127"/>
              <p:cNvSpPr/>
              <p:nvPr/>
            </p:nvSpPr>
            <p:spPr bwMode="auto">
              <a:xfrm>
                <a:off x="4505245" y="1960111"/>
                <a:ext cx="179308" cy="40927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lnTo>
                      <a:pt x="0" y="4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0" name="Freeform 128"/>
              <p:cNvSpPr/>
              <p:nvPr/>
            </p:nvSpPr>
            <p:spPr bwMode="auto">
              <a:xfrm>
                <a:off x="4505245" y="1960111"/>
                <a:ext cx="179308" cy="40927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1" name="Freeform 129"/>
              <p:cNvSpPr/>
              <p:nvPr/>
            </p:nvSpPr>
            <p:spPr bwMode="auto">
              <a:xfrm>
                <a:off x="4274998" y="2733618"/>
                <a:ext cx="195608" cy="207574"/>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lnTo>
                      <a:pt x="5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2" name="Freeform 130"/>
              <p:cNvSpPr/>
              <p:nvPr/>
            </p:nvSpPr>
            <p:spPr bwMode="auto">
              <a:xfrm>
                <a:off x="4274998" y="2733618"/>
                <a:ext cx="195608" cy="207574"/>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3" name="Freeform 131"/>
              <p:cNvSpPr/>
              <p:nvPr/>
            </p:nvSpPr>
            <p:spPr bwMode="auto">
              <a:xfrm>
                <a:off x="4423741" y="2772782"/>
                <a:ext cx="65203" cy="68538"/>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lnTo>
                      <a:pt x="42" y="6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4" name="Freeform 132"/>
              <p:cNvSpPr/>
              <p:nvPr/>
            </p:nvSpPr>
            <p:spPr bwMode="auto">
              <a:xfrm>
                <a:off x="4423741" y="2772782"/>
                <a:ext cx="65203" cy="68538"/>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5" name="Freeform 133"/>
              <p:cNvSpPr/>
              <p:nvPr/>
            </p:nvSpPr>
            <p:spPr bwMode="auto">
              <a:xfrm>
                <a:off x="4499133" y="2856986"/>
                <a:ext cx="105955" cy="88122"/>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88 w 96"/>
                  <a:gd name="T101" fmla="*/ 21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lnTo>
                      <a:pt x="88" y="2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6" name="Freeform 135"/>
              <p:cNvSpPr/>
              <p:nvPr/>
            </p:nvSpPr>
            <p:spPr bwMode="auto">
              <a:xfrm>
                <a:off x="4499133" y="2856986"/>
                <a:ext cx="105955" cy="88122"/>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7" name="Freeform 136"/>
              <p:cNvSpPr/>
              <p:nvPr/>
            </p:nvSpPr>
            <p:spPr bwMode="auto">
              <a:xfrm>
                <a:off x="4743643" y="3005813"/>
                <a:ext cx="28526" cy="35248"/>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8 w 26"/>
                  <a:gd name="T83" fmla="*/ 28 h 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lnTo>
                      <a:pt x="8"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8" name="Freeform 137"/>
              <p:cNvSpPr/>
              <p:nvPr/>
            </p:nvSpPr>
            <p:spPr bwMode="auto">
              <a:xfrm>
                <a:off x="4743643" y="3005813"/>
                <a:ext cx="28526" cy="35248"/>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9" name="Freeform 138"/>
              <p:cNvSpPr/>
              <p:nvPr/>
            </p:nvSpPr>
            <p:spPr bwMode="auto">
              <a:xfrm>
                <a:off x="5092070" y="3168348"/>
                <a:ext cx="6113" cy="13707"/>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w 6"/>
                  <a:gd name="T31" fmla="*/ 4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0" name="Freeform 139"/>
              <p:cNvSpPr/>
              <p:nvPr/>
            </p:nvSpPr>
            <p:spPr bwMode="auto">
              <a:xfrm>
                <a:off x="5092070" y="3168348"/>
                <a:ext cx="6113" cy="13707"/>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1" name="Freeform 140"/>
              <p:cNvSpPr/>
              <p:nvPr/>
            </p:nvSpPr>
            <p:spPr bwMode="auto">
              <a:xfrm>
                <a:off x="5293792" y="2980356"/>
                <a:ext cx="482908" cy="509143"/>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lnTo>
                      <a:pt x="82" y="33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2" name="Freeform 141"/>
              <p:cNvSpPr/>
              <p:nvPr/>
            </p:nvSpPr>
            <p:spPr bwMode="auto">
              <a:xfrm>
                <a:off x="5293792" y="2980356"/>
                <a:ext cx="482908" cy="509143"/>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3" name="Freeform 142"/>
              <p:cNvSpPr/>
              <p:nvPr/>
            </p:nvSpPr>
            <p:spPr bwMode="auto">
              <a:xfrm>
                <a:off x="5858203" y="3227095"/>
                <a:ext cx="118180" cy="252613"/>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lnTo>
                      <a:pt x="62" y="20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4" name="Freeform 143"/>
              <p:cNvSpPr/>
              <p:nvPr/>
            </p:nvSpPr>
            <p:spPr bwMode="auto">
              <a:xfrm>
                <a:off x="5858203" y="3227095"/>
                <a:ext cx="118180" cy="252613"/>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5" name="Freeform 144"/>
              <p:cNvSpPr/>
              <p:nvPr/>
            </p:nvSpPr>
            <p:spPr bwMode="auto">
              <a:xfrm>
                <a:off x="6253495" y="2927483"/>
                <a:ext cx="59091" cy="88122"/>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36 w 54"/>
                  <a:gd name="T73" fmla="*/ 0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lnTo>
                      <a:pt x="3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6" name="Freeform 145"/>
              <p:cNvSpPr/>
              <p:nvPr/>
            </p:nvSpPr>
            <p:spPr bwMode="auto">
              <a:xfrm>
                <a:off x="6253495" y="2927483"/>
                <a:ext cx="59091" cy="88122"/>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7" name="Freeform 146"/>
              <p:cNvSpPr/>
              <p:nvPr/>
            </p:nvSpPr>
            <p:spPr bwMode="auto">
              <a:xfrm>
                <a:off x="5980458" y="3509082"/>
                <a:ext cx="160970" cy="101829"/>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66 w 144"/>
                  <a:gd name="T113" fmla="*/ 34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lnTo>
                      <a:pt x="66" y="3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8" name="Freeform 147"/>
              <p:cNvSpPr/>
              <p:nvPr/>
            </p:nvSpPr>
            <p:spPr bwMode="auto">
              <a:xfrm>
                <a:off x="5980458" y="3509082"/>
                <a:ext cx="160970" cy="101829"/>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9" name="Freeform 148"/>
              <p:cNvSpPr/>
              <p:nvPr/>
            </p:nvSpPr>
            <p:spPr bwMode="auto">
              <a:xfrm>
                <a:off x="3885818" y="3391587"/>
                <a:ext cx="50940" cy="13707"/>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w 46"/>
                  <a:gd name="T81" fmla="*/ 12 h 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lnTo>
                      <a:pt x="0"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0" name="Freeform 149"/>
              <p:cNvSpPr/>
              <p:nvPr/>
            </p:nvSpPr>
            <p:spPr bwMode="auto">
              <a:xfrm>
                <a:off x="3885818" y="3391587"/>
                <a:ext cx="50940" cy="13707"/>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1" name="Freeform 150"/>
              <p:cNvSpPr/>
              <p:nvPr/>
            </p:nvSpPr>
            <p:spPr bwMode="auto">
              <a:xfrm>
                <a:off x="3885818" y="3411170"/>
                <a:ext cx="52977" cy="29373"/>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46 w 48"/>
                  <a:gd name="T85" fmla="*/ 0 h 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lnTo>
                      <a:pt x="4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2" name="Freeform 151"/>
              <p:cNvSpPr/>
              <p:nvPr/>
            </p:nvSpPr>
            <p:spPr bwMode="auto">
              <a:xfrm>
                <a:off x="3885818" y="3411170"/>
                <a:ext cx="52977" cy="29373"/>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3" name="Freeform 152"/>
              <p:cNvSpPr/>
              <p:nvPr/>
            </p:nvSpPr>
            <p:spPr bwMode="auto">
              <a:xfrm>
                <a:off x="3975472" y="3479708"/>
                <a:ext cx="67241" cy="72456"/>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w 62"/>
                  <a:gd name="T79" fmla="*/ 24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lnTo>
                      <a:pt x="0"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4" name="Freeform 153"/>
              <p:cNvSpPr/>
              <p:nvPr/>
            </p:nvSpPr>
            <p:spPr bwMode="auto">
              <a:xfrm>
                <a:off x="3975472" y="3479708"/>
                <a:ext cx="67241" cy="72456"/>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5" name="Freeform 154"/>
              <p:cNvSpPr/>
              <p:nvPr/>
            </p:nvSpPr>
            <p:spPr bwMode="auto">
              <a:xfrm>
                <a:off x="4111991" y="3438585"/>
                <a:ext cx="73353" cy="109662"/>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66 w 66"/>
                  <a:gd name="T121" fmla="*/ 75 h 9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lnTo>
                      <a:pt x="66" y="7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6" name="Freeform 155"/>
              <p:cNvSpPr/>
              <p:nvPr/>
            </p:nvSpPr>
            <p:spPr bwMode="auto">
              <a:xfrm>
                <a:off x="4111991" y="3438585"/>
                <a:ext cx="73353" cy="109662"/>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7" name="Freeform 156"/>
              <p:cNvSpPr/>
              <p:nvPr/>
            </p:nvSpPr>
            <p:spPr bwMode="auto">
              <a:xfrm>
                <a:off x="4209795" y="3393545"/>
                <a:ext cx="193570" cy="160576"/>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lnTo>
                      <a:pt x="14"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8" name="Freeform 157"/>
              <p:cNvSpPr/>
              <p:nvPr/>
            </p:nvSpPr>
            <p:spPr bwMode="auto">
              <a:xfrm>
                <a:off x="4209795" y="3393545"/>
                <a:ext cx="193570" cy="160576"/>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9" name="Freeform 158"/>
              <p:cNvSpPr/>
              <p:nvPr/>
            </p:nvSpPr>
            <p:spPr bwMode="auto">
              <a:xfrm>
                <a:off x="4348351" y="3563913"/>
                <a:ext cx="126330" cy="146868"/>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112 w 114"/>
                  <a:gd name="T67" fmla="*/ 0 h 13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lnTo>
                      <a:pt x="1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0" name="Freeform 159"/>
              <p:cNvSpPr/>
              <p:nvPr/>
            </p:nvSpPr>
            <p:spPr bwMode="auto">
              <a:xfrm>
                <a:off x="4348351" y="3563913"/>
                <a:ext cx="126330" cy="146868"/>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1" name="Freeform 160"/>
              <p:cNvSpPr/>
              <p:nvPr/>
            </p:nvSpPr>
            <p:spPr bwMode="auto">
              <a:xfrm>
                <a:off x="4319825" y="3589369"/>
                <a:ext cx="30563" cy="19582"/>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28 w 2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lnTo>
                      <a:pt x="2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2" name="Freeform 161"/>
              <p:cNvSpPr/>
              <p:nvPr/>
            </p:nvSpPr>
            <p:spPr bwMode="auto">
              <a:xfrm>
                <a:off x="4319825" y="3589369"/>
                <a:ext cx="30563" cy="19582"/>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3" name="Freeform 162"/>
              <p:cNvSpPr/>
              <p:nvPr/>
            </p:nvSpPr>
            <p:spPr bwMode="auto">
              <a:xfrm>
                <a:off x="4768094" y="3319132"/>
                <a:ext cx="110030" cy="99871"/>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lnTo>
                      <a:pt x="3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4" name="Freeform 163"/>
              <p:cNvSpPr/>
              <p:nvPr/>
            </p:nvSpPr>
            <p:spPr bwMode="auto">
              <a:xfrm>
                <a:off x="4768094" y="3319132"/>
                <a:ext cx="110030" cy="99871"/>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5" name="Freeform 164"/>
              <p:cNvSpPr/>
              <p:nvPr/>
            </p:nvSpPr>
            <p:spPr bwMode="auto">
              <a:xfrm>
                <a:off x="4645839" y="3665742"/>
                <a:ext cx="30563" cy="3329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24 w 26"/>
                  <a:gd name="T63" fmla="*/ 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lnTo>
                      <a:pt x="2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6" name="Freeform 165"/>
              <p:cNvSpPr/>
              <p:nvPr/>
            </p:nvSpPr>
            <p:spPr bwMode="auto">
              <a:xfrm>
                <a:off x="4645839" y="3665742"/>
                <a:ext cx="30563" cy="3329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7" name="Freeform 166"/>
              <p:cNvSpPr/>
              <p:nvPr/>
            </p:nvSpPr>
            <p:spPr bwMode="auto">
              <a:xfrm>
                <a:off x="4706967" y="3783236"/>
                <a:ext cx="52977" cy="133161"/>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lnTo>
                      <a:pt x="1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8" name="Freeform 167"/>
              <p:cNvSpPr/>
              <p:nvPr/>
            </p:nvSpPr>
            <p:spPr bwMode="auto">
              <a:xfrm>
                <a:off x="4706967" y="3783236"/>
                <a:ext cx="52977" cy="133161"/>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9" name="Freeform 168"/>
              <p:cNvSpPr/>
              <p:nvPr/>
            </p:nvSpPr>
            <p:spPr bwMode="auto">
              <a:xfrm>
                <a:off x="4827184" y="2815864"/>
                <a:ext cx="110030" cy="54831"/>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24 w 100"/>
                  <a:gd name="T65" fmla="*/ 40 h 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lnTo>
                      <a:pt x="24"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0" name="Freeform 169"/>
              <p:cNvSpPr/>
              <p:nvPr/>
            </p:nvSpPr>
            <p:spPr bwMode="auto">
              <a:xfrm>
                <a:off x="4827184" y="2815864"/>
                <a:ext cx="110030" cy="54831"/>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1" name="Freeform 170"/>
              <p:cNvSpPr/>
              <p:nvPr/>
            </p:nvSpPr>
            <p:spPr bwMode="auto">
              <a:xfrm>
                <a:off x="5340656" y="2890277"/>
                <a:ext cx="4075" cy="7833"/>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4 w 4"/>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4" y="4"/>
                    </a:moveTo>
                    <a:lnTo>
                      <a:pt x="4" y="2"/>
                    </a:lnTo>
                    <a:lnTo>
                      <a:pt x="2" y="0"/>
                    </a:lnTo>
                    <a:lnTo>
                      <a:pt x="0" y="2"/>
                    </a:lnTo>
                    <a:lnTo>
                      <a:pt x="2" y="6"/>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2" name="Freeform 171"/>
              <p:cNvSpPr/>
              <p:nvPr/>
            </p:nvSpPr>
            <p:spPr bwMode="auto">
              <a:xfrm>
                <a:off x="5340656" y="2890277"/>
                <a:ext cx="4075" cy="7833"/>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4"/>
                    </a:moveTo>
                    <a:lnTo>
                      <a:pt x="4" y="2"/>
                    </a:lnTo>
                    <a:lnTo>
                      <a:pt x="2" y="0"/>
                    </a:lnTo>
                    <a:lnTo>
                      <a:pt x="0" y="2"/>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3" name="Freeform 172"/>
              <p:cNvSpPr/>
              <p:nvPr/>
            </p:nvSpPr>
            <p:spPr bwMode="auto">
              <a:xfrm>
                <a:off x="5350844" y="2896151"/>
                <a:ext cx="4075" cy="1959"/>
              </a:xfrm>
              <a:custGeom>
                <a:avLst/>
                <a:gdLst>
                  <a:gd name="T0" fmla="*/ 4 w 4"/>
                  <a:gd name="T1" fmla="*/ 0 h 2"/>
                  <a:gd name="T2" fmla="*/ 2 w 4"/>
                  <a:gd name="T3" fmla="*/ 0 h 2"/>
                  <a:gd name="T4" fmla="*/ 0 w 4"/>
                  <a:gd name="T5" fmla="*/ 0 h 2"/>
                  <a:gd name="T6" fmla="*/ 2 w 4"/>
                  <a:gd name="T7" fmla="*/ 2 h 2"/>
                  <a:gd name="T8" fmla="*/ 2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2" y="0"/>
                    </a:lnTo>
                    <a:lnTo>
                      <a:pt x="0" y="0"/>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4" name="Freeform 173"/>
              <p:cNvSpPr/>
              <p:nvPr/>
            </p:nvSpPr>
            <p:spPr bwMode="auto">
              <a:xfrm>
                <a:off x="5350844" y="2896151"/>
                <a:ext cx="4075" cy="1959"/>
              </a:xfrm>
              <a:custGeom>
                <a:avLst/>
                <a:gdLst>
                  <a:gd name="T0" fmla="*/ 4 w 4"/>
                  <a:gd name="T1" fmla="*/ 0 h 2"/>
                  <a:gd name="T2" fmla="*/ 2 w 4"/>
                  <a:gd name="T3" fmla="*/ 0 h 2"/>
                  <a:gd name="T4" fmla="*/ 0 w 4"/>
                  <a:gd name="T5" fmla="*/ 0 h 2"/>
                  <a:gd name="T6" fmla="*/ 2 w 4"/>
                  <a:gd name="T7" fmla="*/ 2 h 2"/>
                  <a:gd name="T8" fmla="*/ 2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4" y="0"/>
                    </a:moveTo>
                    <a:lnTo>
                      <a:pt x="2" y="0"/>
                    </a:lnTo>
                    <a:lnTo>
                      <a:pt x="0"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5" name="Freeform 174"/>
              <p:cNvSpPr/>
              <p:nvPr/>
            </p:nvSpPr>
            <p:spPr bwMode="auto">
              <a:xfrm>
                <a:off x="4896462" y="2898110"/>
                <a:ext cx="317864" cy="293737"/>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lnTo>
                      <a:pt x="260" y="2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6" name="Freeform 175"/>
              <p:cNvSpPr/>
              <p:nvPr/>
            </p:nvSpPr>
            <p:spPr bwMode="auto">
              <a:xfrm>
                <a:off x="4896462" y="2898110"/>
                <a:ext cx="317864" cy="293737"/>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7" name="Freeform 176"/>
              <p:cNvSpPr/>
              <p:nvPr/>
            </p:nvSpPr>
            <p:spPr bwMode="auto">
              <a:xfrm>
                <a:off x="4572486" y="3068477"/>
                <a:ext cx="183383" cy="186034"/>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lnTo>
                      <a:pt x="6" y="14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8" name="Freeform 177"/>
              <p:cNvSpPr/>
              <p:nvPr/>
            </p:nvSpPr>
            <p:spPr bwMode="auto">
              <a:xfrm>
                <a:off x="4572486" y="3068477"/>
                <a:ext cx="183383" cy="186034"/>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9" name="Freeform 178"/>
              <p:cNvSpPr/>
              <p:nvPr/>
            </p:nvSpPr>
            <p:spPr bwMode="auto">
              <a:xfrm>
                <a:off x="4022337" y="2956857"/>
                <a:ext cx="334164" cy="346608"/>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lnTo>
                      <a:pt x="54" y="21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0" name="Freeform 179"/>
              <p:cNvSpPr/>
              <p:nvPr/>
            </p:nvSpPr>
            <p:spPr bwMode="auto">
              <a:xfrm>
                <a:off x="4022337" y="2956857"/>
                <a:ext cx="334164" cy="346608"/>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1" name="Freeform 180"/>
              <p:cNvSpPr/>
              <p:nvPr/>
            </p:nvSpPr>
            <p:spPr bwMode="auto">
              <a:xfrm>
                <a:off x="4429855" y="2694453"/>
                <a:ext cx="110030" cy="70497"/>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16 w 100"/>
                  <a:gd name="T105" fmla="*/ 12 h 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lnTo>
                      <a:pt x="16"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2" name="Freeform 181"/>
              <p:cNvSpPr/>
              <p:nvPr/>
            </p:nvSpPr>
            <p:spPr bwMode="auto">
              <a:xfrm>
                <a:off x="4429855" y="2694453"/>
                <a:ext cx="110030" cy="70497"/>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path>
                </a:pathLst>
              </a:custGeom>
              <a:solidFill>
                <a:srgbClr val="08C886"/>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3" name="Freeform 182"/>
              <p:cNvSpPr/>
              <p:nvPr/>
            </p:nvSpPr>
            <p:spPr bwMode="auto">
              <a:xfrm>
                <a:off x="3757451" y="2120687"/>
                <a:ext cx="181345" cy="125328"/>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lnTo>
                      <a:pt x="68" y="10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4" name="Freeform 183"/>
              <p:cNvSpPr/>
              <p:nvPr/>
            </p:nvSpPr>
            <p:spPr bwMode="auto">
              <a:xfrm>
                <a:off x="3757451" y="2120687"/>
                <a:ext cx="181345" cy="125328"/>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5" name="Freeform 184"/>
              <p:cNvSpPr/>
              <p:nvPr/>
            </p:nvSpPr>
            <p:spPr bwMode="auto">
              <a:xfrm>
                <a:off x="4786432" y="4513660"/>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4" y="0"/>
                    </a:lnTo>
                    <a:lnTo>
                      <a:pt x="4" y="2"/>
                    </a:lnTo>
                    <a:lnTo>
                      <a:pt x="4" y="4"/>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6" name="Freeform 185"/>
              <p:cNvSpPr/>
              <p:nvPr/>
            </p:nvSpPr>
            <p:spPr bwMode="auto">
              <a:xfrm>
                <a:off x="4786432" y="4513660"/>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4" y="0"/>
                    </a:lnTo>
                    <a:lnTo>
                      <a:pt x="4" y="2"/>
                    </a:lnTo>
                    <a:lnTo>
                      <a:pt x="4" y="4"/>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7" name="Freeform 186"/>
              <p:cNvSpPr/>
              <p:nvPr/>
            </p:nvSpPr>
            <p:spPr bwMode="auto">
              <a:xfrm>
                <a:off x="5279528" y="2870695"/>
                <a:ext cx="126330" cy="97912"/>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6 w 114"/>
                  <a:gd name="T103" fmla="*/ 74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lnTo>
                      <a:pt x="6"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8" name="Freeform 187"/>
              <p:cNvSpPr/>
              <p:nvPr/>
            </p:nvSpPr>
            <p:spPr bwMode="auto">
              <a:xfrm>
                <a:off x="5279528" y="2870695"/>
                <a:ext cx="126330" cy="97912"/>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9" name="Freeform 188"/>
              <p:cNvSpPr/>
              <p:nvPr/>
            </p:nvSpPr>
            <p:spPr bwMode="auto">
              <a:xfrm>
                <a:off x="5617768" y="2600457"/>
                <a:ext cx="525698" cy="260446"/>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lnTo>
                      <a:pt x="0" y="7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0" name="Freeform 189"/>
              <p:cNvSpPr/>
              <p:nvPr/>
            </p:nvSpPr>
            <p:spPr bwMode="auto">
              <a:xfrm>
                <a:off x="5617768" y="2600457"/>
                <a:ext cx="525698" cy="260446"/>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1" name="Freeform 190"/>
              <p:cNvSpPr/>
              <p:nvPr/>
            </p:nvSpPr>
            <p:spPr bwMode="auto">
              <a:xfrm>
                <a:off x="5823565" y="3511040"/>
                <a:ext cx="69278" cy="90079"/>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2 w 62"/>
                  <a:gd name="T73" fmla="*/ 4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2" name="Freeform 191"/>
              <p:cNvSpPr/>
              <p:nvPr/>
            </p:nvSpPr>
            <p:spPr bwMode="auto">
              <a:xfrm>
                <a:off x="5823565" y="3511040"/>
                <a:ext cx="69278" cy="90079"/>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3" name="Freeform 192"/>
              <p:cNvSpPr/>
              <p:nvPr/>
            </p:nvSpPr>
            <p:spPr bwMode="auto">
              <a:xfrm>
                <a:off x="4397253" y="2524085"/>
                <a:ext cx="165044" cy="15665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lnTo>
                      <a:pt x="140" y="8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4" name="Freeform 193"/>
              <p:cNvSpPr/>
              <p:nvPr/>
            </p:nvSpPr>
            <p:spPr bwMode="auto">
              <a:xfrm>
                <a:off x="4397253" y="2524085"/>
                <a:ext cx="165044" cy="15665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5" name="Freeform 194"/>
              <p:cNvSpPr/>
              <p:nvPr/>
            </p:nvSpPr>
            <p:spPr bwMode="auto">
              <a:xfrm>
                <a:off x="4509320" y="2428132"/>
                <a:ext cx="124293" cy="7245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lnTo>
                      <a:pt x="2" y="5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6" name="Freeform 195"/>
              <p:cNvSpPr/>
              <p:nvPr/>
            </p:nvSpPr>
            <p:spPr bwMode="auto">
              <a:xfrm>
                <a:off x="4509320" y="2428132"/>
                <a:ext cx="124293" cy="7245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7" name="Freeform 196"/>
              <p:cNvSpPr/>
              <p:nvPr/>
            </p:nvSpPr>
            <p:spPr bwMode="auto">
              <a:xfrm>
                <a:off x="4040675" y="2291055"/>
                <a:ext cx="6113" cy="1958"/>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6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6" y="2"/>
                    </a:moveTo>
                    <a:lnTo>
                      <a:pt x="4" y="2"/>
                    </a:lnTo>
                    <a:lnTo>
                      <a:pt x="0" y="0"/>
                    </a:lnTo>
                    <a:lnTo>
                      <a:pt x="0" y="2"/>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8" name="Freeform 197"/>
              <p:cNvSpPr/>
              <p:nvPr/>
            </p:nvSpPr>
            <p:spPr bwMode="auto">
              <a:xfrm>
                <a:off x="4040675" y="2291055"/>
                <a:ext cx="6113" cy="1958"/>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6" y="2"/>
                    </a:moveTo>
                    <a:lnTo>
                      <a:pt x="4" y="2"/>
                    </a:lnTo>
                    <a:lnTo>
                      <a:pt x="0" y="0"/>
                    </a:lnTo>
                    <a:lnTo>
                      <a:pt x="0"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9" name="Freeform 198"/>
              <p:cNvSpPr/>
              <p:nvPr/>
            </p:nvSpPr>
            <p:spPr bwMode="auto">
              <a:xfrm>
                <a:off x="4042713" y="2287138"/>
                <a:ext cx="10187" cy="9791"/>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8 w 8"/>
                  <a:gd name="T23" fmla="*/ 9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9">
                    <a:moveTo>
                      <a:pt x="8" y="9"/>
                    </a:moveTo>
                    <a:lnTo>
                      <a:pt x="8" y="5"/>
                    </a:lnTo>
                    <a:lnTo>
                      <a:pt x="4" y="0"/>
                    </a:lnTo>
                    <a:lnTo>
                      <a:pt x="2" y="0"/>
                    </a:lnTo>
                    <a:lnTo>
                      <a:pt x="0" y="2"/>
                    </a:lnTo>
                    <a:lnTo>
                      <a:pt x="2" y="3"/>
                    </a:lnTo>
                    <a:lnTo>
                      <a:pt x="4" y="3"/>
                    </a:lnTo>
                    <a:lnTo>
                      <a:pt x="6" y="5"/>
                    </a:lnTo>
                    <a:lnTo>
                      <a:pt x="6" y="7"/>
                    </a:lnTo>
                    <a:lnTo>
                      <a:pt x="6" y="9"/>
                    </a:lnTo>
                    <a:lnTo>
                      <a:pt x="8" y="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0" name="Freeform 199"/>
              <p:cNvSpPr/>
              <p:nvPr/>
            </p:nvSpPr>
            <p:spPr bwMode="auto">
              <a:xfrm>
                <a:off x="4042713" y="2287138"/>
                <a:ext cx="10187" cy="9791"/>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9">
                    <a:moveTo>
                      <a:pt x="8" y="9"/>
                    </a:moveTo>
                    <a:lnTo>
                      <a:pt x="8" y="5"/>
                    </a:lnTo>
                    <a:lnTo>
                      <a:pt x="4" y="0"/>
                    </a:lnTo>
                    <a:lnTo>
                      <a:pt x="2" y="0"/>
                    </a:lnTo>
                    <a:lnTo>
                      <a:pt x="0" y="2"/>
                    </a:lnTo>
                    <a:lnTo>
                      <a:pt x="2" y="3"/>
                    </a:lnTo>
                    <a:lnTo>
                      <a:pt x="4" y="3"/>
                    </a:lnTo>
                    <a:lnTo>
                      <a:pt x="6" y="5"/>
                    </a:lnTo>
                    <a:lnTo>
                      <a:pt x="6" y="7"/>
                    </a:lnTo>
                    <a:lnTo>
                      <a:pt x="6" y="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1" name="Freeform 200"/>
              <p:cNvSpPr/>
              <p:nvPr/>
            </p:nvSpPr>
            <p:spPr bwMode="auto">
              <a:xfrm>
                <a:off x="4046788" y="2285179"/>
                <a:ext cx="8150" cy="7833"/>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6 w 6"/>
                  <a:gd name="T19" fmla="*/ 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7">
                    <a:moveTo>
                      <a:pt x="6" y="7"/>
                    </a:moveTo>
                    <a:lnTo>
                      <a:pt x="6" y="5"/>
                    </a:lnTo>
                    <a:lnTo>
                      <a:pt x="4" y="2"/>
                    </a:lnTo>
                    <a:lnTo>
                      <a:pt x="2" y="0"/>
                    </a:lnTo>
                    <a:lnTo>
                      <a:pt x="0" y="0"/>
                    </a:lnTo>
                    <a:lnTo>
                      <a:pt x="2" y="2"/>
                    </a:lnTo>
                    <a:lnTo>
                      <a:pt x="2" y="4"/>
                    </a:lnTo>
                    <a:lnTo>
                      <a:pt x="4" y="7"/>
                    </a:lnTo>
                    <a:lnTo>
                      <a:pt x="6" y="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2" name="Freeform 201"/>
              <p:cNvSpPr/>
              <p:nvPr/>
            </p:nvSpPr>
            <p:spPr bwMode="auto">
              <a:xfrm>
                <a:off x="4046788" y="2285179"/>
                <a:ext cx="8150" cy="7833"/>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7">
                    <a:moveTo>
                      <a:pt x="6" y="7"/>
                    </a:moveTo>
                    <a:lnTo>
                      <a:pt x="6" y="5"/>
                    </a:lnTo>
                    <a:lnTo>
                      <a:pt x="4" y="2"/>
                    </a:lnTo>
                    <a:lnTo>
                      <a:pt x="2" y="0"/>
                    </a:lnTo>
                    <a:lnTo>
                      <a:pt x="0" y="0"/>
                    </a:lnTo>
                    <a:lnTo>
                      <a:pt x="2" y="2"/>
                    </a:lnTo>
                    <a:lnTo>
                      <a:pt x="2" y="4"/>
                    </a:lnTo>
                    <a:lnTo>
                      <a:pt x="4" y="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3" name="Freeform 202"/>
              <p:cNvSpPr/>
              <p:nvPr/>
            </p:nvSpPr>
            <p:spPr bwMode="auto">
              <a:xfrm>
                <a:off x="4054939" y="2285179"/>
                <a:ext cx="4075" cy="3916"/>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2"/>
                    </a:moveTo>
                    <a:lnTo>
                      <a:pt x="4" y="2"/>
                    </a:lnTo>
                    <a:lnTo>
                      <a:pt x="0" y="0"/>
                    </a:lnTo>
                    <a:lnTo>
                      <a:pt x="0" y="2"/>
                    </a:lnTo>
                    <a:lnTo>
                      <a:pt x="0" y="4"/>
                    </a:lnTo>
                    <a:lnTo>
                      <a:pt x="2" y="4"/>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4" name="Freeform 203"/>
              <p:cNvSpPr/>
              <p:nvPr/>
            </p:nvSpPr>
            <p:spPr bwMode="auto">
              <a:xfrm>
                <a:off x="4054939" y="2285179"/>
                <a:ext cx="4075" cy="3916"/>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2"/>
                    </a:moveTo>
                    <a:lnTo>
                      <a:pt x="4" y="2"/>
                    </a:lnTo>
                    <a:lnTo>
                      <a:pt x="0" y="0"/>
                    </a:lnTo>
                    <a:lnTo>
                      <a:pt x="0" y="2"/>
                    </a:lnTo>
                    <a:lnTo>
                      <a:pt x="0"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5" name="Freeform 204"/>
              <p:cNvSpPr/>
              <p:nvPr/>
            </p:nvSpPr>
            <p:spPr bwMode="auto">
              <a:xfrm>
                <a:off x="4052901" y="2298888"/>
                <a:ext cx="2038" cy="587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2 w 2"/>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4"/>
                    </a:moveTo>
                    <a:lnTo>
                      <a:pt x="2" y="2"/>
                    </a:lnTo>
                    <a:lnTo>
                      <a:pt x="2" y="0"/>
                    </a:lnTo>
                    <a:lnTo>
                      <a:pt x="0" y="0"/>
                    </a:lnTo>
                    <a:lnTo>
                      <a:pt x="0" y="2"/>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6" name="Freeform 205"/>
              <p:cNvSpPr/>
              <p:nvPr/>
            </p:nvSpPr>
            <p:spPr bwMode="auto">
              <a:xfrm>
                <a:off x="4052901" y="2298888"/>
                <a:ext cx="2038" cy="587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4"/>
                    </a:moveTo>
                    <a:lnTo>
                      <a:pt x="2" y="2"/>
                    </a:lnTo>
                    <a:lnTo>
                      <a:pt x="2" y="0"/>
                    </a:lnTo>
                    <a:lnTo>
                      <a:pt x="0" y="0"/>
                    </a:lnTo>
                    <a:lnTo>
                      <a:pt x="0"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7" name="Freeform 206"/>
              <p:cNvSpPr/>
              <p:nvPr/>
            </p:nvSpPr>
            <p:spPr bwMode="auto">
              <a:xfrm>
                <a:off x="4050864" y="2308678"/>
                <a:ext cx="2037" cy="9792"/>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0" y="6"/>
                    </a:lnTo>
                    <a:lnTo>
                      <a:pt x="2" y="8"/>
                    </a:lnTo>
                    <a:lnTo>
                      <a:pt x="2" y="6"/>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8" name="Freeform 207"/>
              <p:cNvSpPr/>
              <p:nvPr/>
            </p:nvSpPr>
            <p:spPr bwMode="auto">
              <a:xfrm>
                <a:off x="4050864" y="2308678"/>
                <a:ext cx="2037" cy="9792"/>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0" y="6"/>
                    </a:lnTo>
                    <a:lnTo>
                      <a:pt x="2" y="8"/>
                    </a:lnTo>
                    <a:lnTo>
                      <a:pt x="2" y="6"/>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9" name="Freeform 208"/>
              <p:cNvSpPr/>
              <p:nvPr/>
            </p:nvSpPr>
            <p:spPr bwMode="auto">
              <a:xfrm>
                <a:off x="4405404" y="2514294"/>
                <a:ext cx="6112" cy="5874"/>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6 w 6"/>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6" y="6"/>
                    </a:moveTo>
                    <a:lnTo>
                      <a:pt x="6" y="2"/>
                    </a:lnTo>
                    <a:lnTo>
                      <a:pt x="2" y="0"/>
                    </a:lnTo>
                    <a:lnTo>
                      <a:pt x="0" y="0"/>
                    </a:lnTo>
                    <a:lnTo>
                      <a:pt x="0" y="4"/>
                    </a:lnTo>
                    <a:lnTo>
                      <a:pt x="2" y="6"/>
                    </a:lnTo>
                    <a:lnTo>
                      <a:pt x="4" y="6"/>
                    </a:lnTo>
                    <a:lnTo>
                      <a:pt x="6"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0" name="Freeform 209"/>
              <p:cNvSpPr/>
              <p:nvPr/>
            </p:nvSpPr>
            <p:spPr bwMode="auto">
              <a:xfrm>
                <a:off x="4405404" y="2514294"/>
                <a:ext cx="6112" cy="5874"/>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6" y="6"/>
                    </a:moveTo>
                    <a:lnTo>
                      <a:pt x="6" y="2"/>
                    </a:lnTo>
                    <a:lnTo>
                      <a:pt x="2" y="0"/>
                    </a:lnTo>
                    <a:lnTo>
                      <a:pt x="0" y="0"/>
                    </a:lnTo>
                    <a:lnTo>
                      <a:pt x="0" y="4"/>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1" name="Freeform 210"/>
              <p:cNvSpPr/>
              <p:nvPr/>
            </p:nvSpPr>
            <p:spPr bwMode="auto">
              <a:xfrm>
                <a:off x="4358539" y="2522127"/>
                <a:ext cx="6113" cy="11749"/>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w 6"/>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2" name="Freeform 211"/>
              <p:cNvSpPr/>
              <p:nvPr/>
            </p:nvSpPr>
            <p:spPr bwMode="auto">
              <a:xfrm>
                <a:off x="4358539" y="2522127"/>
                <a:ext cx="6113" cy="11749"/>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3" name="Freeform 212"/>
              <p:cNvSpPr/>
              <p:nvPr/>
            </p:nvSpPr>
            <p:spPr bwMode="auto">
              <a:xfrm>
                <a:off x="4346313" y="2522127"/>
                <a:ext cx="12226" cy="9791"/>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4 w 12"/>
                  <a:gd name="T33" fmla="*/ 0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4" name="Freeform 213"/>
              <p:cNvSpPr/>
              <p:nvPr/>
            </p:nvSpPr>
            <p:spPr bwMode="auto">
              <a:xfrm>
                <a:off x="4346313" y="2522127"/>
                <a:ext cx="12226" cy="9791"/>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5" name="Freeform 214"/>
              <p:cNvSpPr/>
              <p:nvPr/>
            </p:nvSpPr>
            <p:spPr bwMode="auto">
              <a:xfrm>
                <a:off x="4325937" y="2502545"/>
                <a:ext cx="18339" cy="17624"/>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4 w 16"/>
                  <a:gd name="T49" fmla="*/ 2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6" name="Freeform 215"/>
              <p:cNvSpPr/>
              <p:nvPr/>
            </p:nvSpPr>
            <p:spPr bwMode="auto">
              <a:xfrm>
                <a:off x="4325937" y="2502545"/>
                <a:ext cx="18339" cy="17624"/>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7" name="Freeform 216"/>
              <p:cNvSpPr/>
              <p:nvPr/>
            </p:nvSpPr>
            <p:spPr bwMode="auto">
              <a:xfrm>
                <a:off x="4340201" y="2516252"/>
                <a:ext cx="6112" cy="13708"/>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2 w 4"/>
                  <a:gd name="T27" fmla="*/ 4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8" name="Freeform 217"/>
              <p:cNvSpPr/>
              <p:nvPr/>
            </p:nvSpPr>
            <p:spPr bwMode="auto">
              <a:xfrm>
                <a:off x="4340201" y="2516252"/>
                <a:ext cx="6112" cy="13708"/>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9" name="Freeform 218"/>
              <p:cNvSpPr/>
              <p:nvPr/>
            </p:nvSpPr>
            <p:spPr bwMode="auto">
              <a:xfrm>
                <a:off x="4346313" y="2486879"/>
                <a:ext cx="28526" cy="35248"/>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6 w 26"/>
                  <a:gd name="T111" fmla="*/ 4 h 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0" name="Freeform 219"/>
              <p:cNvSpPr/>
              <p:nvPr/>
            </p:nvSpPr>
            <p:spPr bwMode="auto">
              <a:xfrm>
                <a:off x="4346313" y="2498628"/>
                <a:ext cx="28526" cy="35248"/>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1" name="Freeform 220"/>
              <p:cNvSpPr/>
              <p:nvPr/>
            </p:nvSpPr>
            <p:spPr bwMode="auto">
              <a:xfrm>
                <a:off x="4297411" y="2439881"/>
                <a:ext cx="46865" cy="84204"/>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lnTo>
                      <a:pt x="10" y="7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2" name="Freeform 221"/>
              <p:cNvSpPr/>
              <p:nvPr/>
            </p:nvSpPr>
            <p:spPr bwMode="auto">
              <a:xfrm>
                <a:off x="4297411" y="2451631"/>
                <a:ext cx="46865" cy="86163"/>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3" name="Freeform 222"/>
              <p:cNvSpPr/>
              <p:nvPr/>
            </p:nvSpPr>
            <p:spPr bwMode="auto">
              <a:xfrm>
                <a:off x="4258698" y="2653329"/>
                <a:ext cx="10187" cy="15666"/>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6 w 10"/>
                  <a:gd name="T29" fmla="*/ 14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lnTo>
                      <a:pt x="6"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4" name="Freeform 223"/>
              <p:cNvSpPr/>
              <p:nvPr/>
            </p:nvSpPr>
            <p:spPr bwMode="auto">
              <a:xfrm>
                <a:off x="4258698" y="2653329"/>
                <a:ext cx="10187" cy="15666"/>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5" name="Freeform 224"/>
              <p:cNvSpPr/>
              <p:nvPr/>
            </p:nvSpPr>
            <p:spPr bwMode="auto">
              <a:xfrm>
                <a:off x="3138025" y="3334798"/>
                <a:ext cx="4075" cy="1959"/>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2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2" y="0"/>
                    </a:moveTo>
                    <a:lnTo>
                      <a:pt x="0" y="2"/>
                    </a:lnTo>
                    <a:lnTo>
                      <a:pt x="2" y="2"/>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6" name="Freeform 225"/>
              <p:cNvSpPr/>
              <p:nvPr/>
            </p:nvSpPr>
            <p:spPr bwMode="auto">
              <a:xfrm>
                <a:off x="3138025" y="3334798"/>
                <a:ext cx="4075" cy="1959"/>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2"/>
                    </a:lnTo>
                    <a:lnTo>
                      <a:pt x="2" y="2"/>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7" name="Freeform 226"/>
              <p:cNvSpPr/>
              <p:nvPr/>
            </p:nvSpPr>
            <p:spPr bwMode="auto">
              <a:xfrm>
                <a:off x="3148212" y="3373963"/>
                <a:ext cx="6113" cy="7833"/>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0" y="0"/>
                    </a:moveTo>
                    <a:lnTo>
                      <a:pt x="2" y="2"/>
                    </a:lnTo>
                    <a:lnTo>
                      <a:pt x="4" y="2"/>
                    </a:lnTo>
                    <a:lnTo>
                      <a:pt x="6" y="8"/>
                    </a:lnTo>
                    <a:lnTo>
                      <a:pt x="4" y="8"/>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8" name="Freeform 227"/>
              <p:cNvSpPr/>
              <p:nvPr/>
            </p:nvSpPr>
            <p:spPr bwMode="auto">
              <a:xfrm>
                <a:off x="3148212" y="3373963"/>
                <a:ext cx="6113" cy="7833"/>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0" y="0"/>
                    </a:moveTo>
                    <a:lnTo>
                      <a:pt x="2" y="2"/>
                    </a:lnTo>
                    <a:lnTo>
                      <a:pt x="4" y="2"/>
                    </a:lnTo>
                    <a:lnTo>
                      <a:pt x="6" y="8"/>
                    </a:lnTo>
                    <a:lnTo>
                      <a:pt x="4" y="8"/>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9" name="Freeform 228"/>
              <p:cNvSpPr/>
              <p:nvPr/>
            </p:nvSpPr>
            <p:spPr bwMode="auto">
              <a:xfrm>
                <a:off x="3097273" y="3438585"/>
                <a:ext cx="8150" cy="3916"/>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6 w 8"/>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6" y="0"/>
                    </a:moveTo>
                    <a:lnTo>
                      <a:pt x="8" y="0"/>
                    </a:lnTo>
                    <a:lnTo>
                      <a:pt x="8" y="2"/>
                    </a:lnTo>
                    <a:lnTo>
                      <a:pt x="4" y="4"/>
                    </a:lnTo>
                    <a:lnTo>
                      <a:pt x="2" y="4"/>
                    </a:lnTo>
                    <a:lnTo>
                      <a:pt x="0" y="4"/>
                    </a:lnTo>
                    <a:lnTo>
                      <a:pt x="0" y="2"/>
                    </a:lnTo>
                    <a:lnTo>
                      <a:pt x="0" y="0"/>
                    </a:lnTo>
                    <a:lnTo>
                      <a:pt x="2" y="0"/>
                    </a:lnTo>
                    <a:lnTo>
                      <a:pt x="4"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0" name="Freeform 229"/>
              <p:cNvSpPr/>
              <p:nvPr/>
            </p:nvSpPr>
            <p:spPr bwMode="auto">
              <a:xfrm>
                <a:off x="3097273" y="3438585"/>
                <a:ext cx="8150" cy="3916"/>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4">
                    <a:moveTo>
                      <a:pt x="6" y="0"/>
                    </a:moveTo>
                    <a:lnTo>
                      <a:pt x="8" y="0"/>
                    </a:lnTo>
                    <a:lnTo>
                      <a:pt x="8" y="2"/>
                    </a:lnTo>
                    <a:lnTo>
                      <a:pt x="4" y="4"/>
                    </a:lnTo>
                    <a:lnTo>
                      <a:pt x="2" y="4"/>
                    </a:lnTo>
                    <a:lnTo>
                      <a:pt x="0" y="4"/>
                    </a:lnTo>
                    <a:lnTo>
                      <a:pt x="0" y="2"/>
                    </a:lnTo>
                    <a:lnTo>
                      <a:pt x="0" y="0"/>
                    </a:lnTo>
                    <a:lnTo>
                      <a:pt x="2" y="0"/>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1" name="Freeform 230"/>
              <p:cNvSpPr/>
              <p:nvPr/>
            </p:nvSpPr>
            <p:spPr bwMode="auto">
              <a:xfrm>
                <a:off x="4658065" y="3556080"/>
                <a:ext cx="85579" cy="93996"/>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62 w 78"/>
                  <a:gd name="T107" fmla="*/ 0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lnTo>
                      <a:pt x="6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2" name="Freeform 231"/>
              <p:cNvSpPr/>
              <p:nvPr/>
            </p:nvSpPr>
            <p:spPr bwMode="auto">
              <a:xfrm>
                <a:off x="4658065" y="3556080"/>
                <a:ext cx="85579" cy="93996"/>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3" name="Freeform 232"/>
              <p:cNvSpPr/>
              <p:nvPr/>
            </p:nvSpPr>
            <p:spPr bwMode="auto">
              <a:xfrm>
                <a:off x="5024830" y="3195763"/>
                <a:ext cx="128367" cy="148827"/>
              </a:xfrm>
              <a:custGeom>
                <a:avLst/>
                <a:gdLst>
                  <a:gd name="T0" fmla="*/ 56 w 116"/>
                  <a:gd name="T1" fmla="*/ 0 h 132"/>
                  <a:gd name="T2" fmla="*/ 56 w 116"/>
                  <a:gd name="T3" fmla="*/ 10 h 132"/>
                  <a:gd name="T4" fmla="*/ 58 w 116"/>
                  <a:gd name="T5" fmla="*/ 14 h 132"/>
                  <a:gd name="T6" fmla="*/ 48 w 116"/>
                  <a:gd name="T7" fmla="*/ 36 h 132"/>
                  <a:gd name="T8" fmla="*/ 46 w 116"/>
                  <a:gd name="T9" fmla="*/ 80 h 132"/>
                  <a:gd name="T10" fmla="*/ 16 w 116"/>
                  <a:gd name="T11" fmla="*/ 132 h 132"/>
                  <a:gd name="T12" fmla="*/ 42 w 116"/>
                  <a:gd name="T13" fmla="*/ 126 h 132"/>
                  <a:gd name="T14" fmla="*/ 44 w 116"/>
                  <a:gd name="T15" fmla="*/ 128 h 132"/>
                  <a:gd name="T16" fmla="*/ 50 w 116"/>
                  <a:gd name="T17" fmla="*/ 122 h 132"/>
                  <a:gd name="T18" fmla="*/ 54 w 116"/>
                  <a:gd name="T19" fmla="*/ 114 h 132"/>
                  <a:gd name="T20" fmla="*/ 64 w 116"/>
                  <a:gd name="T21" fmla="*/ 112 h 132"/>
                  <a:gd name="T22" fmla="*/ 68 w 116"/>
                  <a:gd name="T23" fmla="*/ 108 h 132"/>
                  <a:gd name="T24" fmla="*/ 72 w 116"/>
                  <a:gd name="T25" fmla="*/ 100 h 132"/>
                  <a:gd name="T26" fmla="*/ 76 w 116"/>
                  <a:gd name="T27" fmla="*/ 96 h 132"/>
                  <a:gd name="T28" fmla="*/ 80 w 116"/>
                  <a:gd name="T29" fmla="*/ 96 h 132"/>
                  <a:gd name="T30" fmla="*/ 86 w 116"/>
                  <a:gd name="T31" fmla="*/ 94 h 132"/>
                  <a:gd name="T32" fmla="*/ 86 w 116"/>
                  <a:gd name="T33" fmla="*/ 90 h 132"/>
                  <a:gd name="T34" fmla="*/ 86 w 116"/>
                  <a:gd name="T35" fmla="*/ 80 h 132"/>
                  <a:gd name="T36" fmla="*/ 92 w 116"/>
                  <a:gd name="T37" fmla="*/ 70 h 132"/>
                  <a:gd name="T38" fmla="*/ 94 w 116"/>
                  <a:gd name="T39" fmla="*/ 72 h 132"/>
                  <a:gd name="T40" fmla="*/ 98 w 116"/>
                  <a:gd name="T41" fmla="*/ 72 h 132"/>
                  <a:gd name="T42" fmla="*/ 108 w 116"/>
                  <a:gd name="T43" fmla="*/ 56 h 132"/>
                  <a:gd name="T44" fmla="*/ 116 w 116"/>
                  <a:gd name="T45" fmla="*/ 40 h 132"/>
                  <a:gd name="T46" fmla="*/ 114 w 116"/>
                  <a:gd name="T47" fmla="*/ 38 h 132"/>
                  <a:gd name="T48" fmla="*/ 108 w 116"/>
                  <a:gd name="T49" fmla="*/ 34 h 132"/>
                  <a:gd name="T50" fmla="*/ 104 w 116"/>
                  <a:gd name="T51" fmla="*/ 28 h 132"/>
                  <a:gd name="T52" fmla="*/ 98 w 116"/>
                  <a:gd name="T53" fmla="*/ 20 h 132"/>
                  <a:gd name="T54" fmla="*/ 90 w 116"/>
                  <a:gd name="T55" fmla="*/ 18 h 132"/>
                  <a:gd name="T56" fmla="*/ 78 w 116"/>
                  <a:gd name="T57" fmla="*/ 14 h 132"/>
                  <a:gd name="T58" fmla="*/ 72 w 116"/>
                  <a:gd name="T59" fmla="*/ 12 h 132"/>
                  <a:gd name="T60" fmla="*/ 66 w 116"/>
                  <a:gd name="T61" fmla="*/ 4 h 132"/>
                  <a:gd name="T62" fmla="*/ 64 w 116"/>
                  <a:gd name="T63" fmla="*/ 0 h 1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lnTo>
                      <a:pt x="6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4" name="Freeform 233"/>
              <p:cNvSpPr/>
              <p:nvPr/>
            </p:nvSpPr>
            <p:spPr bwMode="auto">
              <a:xfrm>
                <a:off x="5024830" y="3195763"/>
                <a:ext cx="128367" cy="148827"/>
              </a:xfrm>
              <a:custGeom>
                <a:avLst/>
                <a:gdLst>
                  <a:gd name="T0" fmla="*/ 64 w 116"/>
                  <a:gd name="T1" fmla="*/ 0 h 132"/>
                  <a:gd name="T2" fmla="*/ 56 w 116"/>
                  <a:gd name="T3" fmla="*/ 0 h 132"/>
                  <a:gd name="T4" fmla="*/ 58 w 116"/>
                  <a:gd name="T5" fmla="*/ 10 h 132"/>
                  <a:gd name="T6" fmla="*/ 56 w 116"/>
                  <a:gd name="T7" fmla="*/ 10 h 132"/>
                  <a:gd name="T8" fmla="*/ 58 w 116"/>
                  <a:gd name="T9" fmla="*/ 12 h 132"/>
                  <a:gd name="T10" fmla="*/ 58 w 116"/>
                  <a:gd name="T11" fmla="*/ 14 h 132"/>
                  <a:gd name="T12" fmla="*/ 54 w 116"/>
                  <a:gd name="T13" fmla="*/ 14 h 132"/>
                  <a:gd name="T14" fmla="*/ 48 w 116"/>
                  <a:gd name="T15" fmla="*/ 36 h 132"/>
                  <a:gd name="T16" fmla="*/ 56 w 116"/>
                  <a:gd name="T17" fmla="*/ 48 h 132"/>
                  <a:gd name="T18" fmla="*/ 46 w 116"/>
                  <a:gd name="T19" fmla="*/ 80 h 132"/>
                  <a:gd name="T20" fmla="*/ 0 w 116"/>
                  <a:gd name="T21" fmla="*/ 94 h 132"/>
                  <a:gd name="T22" fmla="*/ 16 w 116"/>
                  <a:gd name="T23" fmla="*/ 132 h 132"/>
                  <a:gd name="T24" fmla="*/ 32 w 116"/>
                  <a:gd name="T25" fmla="*/ 126 h 132"/>
                  <a:gd name="T26" fmla="*/ 42 w 116"/>
                  <a:gd name="T27" fmla="*/ 126 h 132"/>
                  <a:gd name="T28" fmla="*/ 42 w 116"/>
                  <a:gd name="T29" fmla="*/ 128 h 132"/>
                  <a:gd name="T30" fmla="*/ 44 w 116"/>
                  <a:gd name="T31" fmla="*/ 128 h 132"/>
                  <a:gd name="T32" fmla="*/ 48 w 116"/>
                  <a:gd name="T33" fmla="*/ 126 h 132"/>
                  <a:gd name="T34" fmla="*/ 50 w 116"/>
                  <a:gd name="T35" fmla="*/ 122 h 132"/>
                  <a:gd name="T36" fmla="*/ 50 w 116"/>
                  <a:gd name="T37" fmla="*/ 118 h 132"/>
                  <a:gd name="T38" fmla="*/ 54 w 116"/>
                  <a:gd name="T39" fmla="*/ 114 h 132"/>
                  <a:gd name="T40" fmla="*/ 62 w 116"/>
                  <a:gd name="T41" fmla="*/ 112 h 132"/>
                  <a:gd name="T42" fmla="*/ 64 w 116"/>
                  <a:gd name="T43" fmla="*/ 112 h 132"/>
                  <a:gd name="T44" fmla="*/ 66 w 116"/>
                  <a:gd name="T45" fmla="*/ 112 h 132"/>
                  <a:gd name="T46" fmla="*/ 68 w 116"/>
                  <a:gd name="T47" fmla="*/ 108 h 132"/>
                  <a:gd name="T48" fmla="*/ 70 w 116"/>
                  <a:gd name="T49" fmla="*/ 102 h 132"/>
                  <a:gd name="T50" fmla="*/ 72 w 116"/>
                  <a:gd name="T51" fmla="*/ 100 h 132"/>
                  <a:gd name="T52" fmla="*/ 74 w 116"/>
                  <a:gd name="T53" fmla="*/ 98 h 132"/>
                  <a:gd name="T54" fmla="*/ 76 w 116"/>
                  <a:gd name="T55" fmla="*/ 96 h 132"/>
                  <a:gd name="T56" fmla="*/ 78 w 116"/>
                  <a:gd name="T57" fmla="*/ 96 h 132"/>
                  <a:gd name="T58" fmla="*/ 80 w 116"/>
                  <a:gd name="T59" fmla="*/ 96 h 132"/>
                  <a:gd name="T60" fmla="*/ 84 w 116"/>
                  <a:gd name="T61" fmla="*/ 96 h 132"/>
                  <a:gd name="T62" fmla="*/ 86 w 116"/>
                  <a:gd name="T63" fmla="*/ 94 h 132"/>
                  <a:gd name="T64" fmla="*/ 88 w 116"/>
                  <a:gd name="T65" fmla="*/ 92 h 132"/>
                  <a:gd name="T66" fmla="*/ 86 w 116"/>
                  <a:gd name="T67" fmla="*/ 90 h 132"/>
                  <a:gd name="T68" fmla="*/ 86 w 116"/>
                  <a:gd name="T69" fmla="*/ 84 h 132"/>
                  <a:gd name="T70" fmla="*/ 86 w 116"/>
                  <a:gd name="T71" fmla="*/ 80 h 132"/>
                  <a:gd name="T72" fmla="*/ 86 w 116"/>
                  <a:gd name="T73" fmla="*/ 78 h 132"/>
                  <a:gd name="T74" fmla="*/ 92 w 116"/>
                  <a:gd name="T75" fmla="*/ 70 h 132"/>
                  <a:gd name="T76" fmla="*/ 94 w 116"/>
                  <a:gd name="T77" fmla="*/ 70 h 132"/>
                  <a:gd name="T78" fmla="*/ 94 w 116"/>
                  <a:gd name="T79" fmla="*/ 72 h 132"/>
                  <a:gd name="T80" fmla="*/ 96 w 116"/>
                  <a:gd name="T81" fmla="*/ 72 h 132"/>
                  <a:gd name="T82" fmla="*/ 98 w 116"/>
                  <a:gd name="T83" fmla="*/ 72 h 132"/>
                  <a:gd name="T84" fmla="*/ 104 w 116"/>
                  <a:gd name="T85" fmla="*/ 60 h 132"/>
                  <a:gd name="T86" fmla="*/ 108 w 116"/>
                  <a:gd name="T87" fmla="*/ 56 h 132"/>
                  <a:gd name="T88" fmla="*/ 114 w 116"/>
                  <a:gd name="T89" fmla="*/ 46 h 132"/>
                  <a:gd name="T90" fmla="*/ 116 w 116"/>
                  <a:gd name="T91" fmla="*/ 40 h 132"/>
                  <a:gd name="T92" fmla="*/ 116 w 116"/>
                  <a:gd name="T93" fmla="*/ 38 h 132"/>
                  <a:gd name="T94" fmla="*/ 114 w 116"/>
                  <a:gd name="T95" fmla="*/ 38 h 132"/>
                  <a:gd name="T96" fmla="*/ 110 w 116"/>
                  <a:gd name="T97" fmla="*/ 36 h 132"/>
                  <a:gd name="T98" fmla="*/ 108 w 116"/>
                  <a:gd name="T99" fmla="*/ 34 h 132"/>
                  <a:gd name="T100" fmla="*/ 108 w 116"/>
                  <a:gd name="T101" fmla="*/ 30 h 132"/>
                  <a:gd name="T102" fmla="*/ 104 w 116"/>
                  <a:gd name="T103" fmla="*/ 28 h 132"/>
                  <a:gd name="T104" fmla="*/ 100 w 116"/>
                  <a:gd name="T105" fmla="*/ 22 h 132"/>
                  <a:gd name="T106" fmla="*/ 98 w 116"/>
                  <a:gd name="T107" fmla="*/ 20 h 132"/>
                  <a:gd name="T108" fmla="*/ 96 w 116"/>
                  <a:gd name="T109" fmla="*/ 20 h 132"/>
                  <a:gd name="T110" fmla="*/ 90 w 116"/>
                  <a:gd name="T111" fmla="*/ 18 h 132"/>
                  <a:gd name="T112" fmla="*/ 86 w 116"/>
                  <a:gd name="T113" fmla="*/ 18 h 132"/>
                  <a:gd name="T114" fmla="*/ 78 w 116"/>
                  <a:gd name="T115" fmla="*/ 14 h 132"/>
                  <a:gd name="T116" fmla="*/ 76 w 116"/>
                  <a:gd name="T117" fmla="*/ 12 h 132"/>
                  <a:gd name="T118" fmla="*/ 72 w 116"/>
                  <a:gd name="T119" fmla="*/ 12 h 132"/>
                  <a:gd name="T120" fmla="*/ 68 w 116"/>
                  <a:gd name="T121" fmla="*/ 6 h 132"/>
                  <a:gd name="T122" fmla="*/ 66 w 116"/>
                  <a:gd name="T123" fmla="*/ 4 h 132"/>
                  <a:gd name="T124" fmla="*/ 66 w 116"/>
                  <a:gd name="T125" fmla="*/ 0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5" name="Freeform 234"/>
              <p:cNvSpPr/>
              <p:nvPr/>
            </p:nvSpPr>
            <p:spPr bwMode="auto">
              <a:xfrm>
                <a:off x="4356502" y="3910521"/>
                <a:ext cx="222096" cy="221282"/>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94 w 200"/>
                  <a:gd name="T125" fmla="*/ 6 h 1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lnTo>
                      <a:pt x="9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6" name="Freeform 235"/>
              <p:cNvSpPr/>
              <p:nvPr/>
            </p:nvSpPr>
            <p:spPr bwMode="auto">
              <a:xfrm>
                <a:off x="4356502" y="3910521"/>
                <a:ext cx="222096" cy="221282"/>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7" name="Freeform 236"/>
              <p:cNvSpPr/>
              <p:nvPr/>
            </p:nvSpPr>
            <p:spPr bwMode="auto">
              <a:xfrm>
                <a:off x="4676402" y="4067181"/>
                <a:ext cx="18339" cy="29374"/>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18 w 18"/>
                  <a:gd name="T23" fmla="*/ 18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lnTo>
                      <a:pt x="18"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8" name="Freeform 237"/>
              <p:cNvSpPr/>
              <p:nvPr/>
            </p:nvSpPr>
            <p:spPr bwMode="auto">
              <a:xfrm>
                <a:off x="4676402" y="4067181"/>
                <a:ext cx="18339" cy="29374"/>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9" name="Freeform 238"/>
              <p:cNvSpPr/>
              <p:nvPr/>
            </p:nvSpPr>
            <p:spPr bwMode="auto">
              <a:xfrm>
                <a:off x="7121507" y="1883740"/>
                <a:ext cx="65203" cy="37206"/>
              </a:xfrm>
              <a:custGeom>
                <a:avLst/>
                <a:gdLst>
                  <a:gd name="T0" fmla="*/ 60 w 60"/>
                  <a:gd name="T1" fmla="*/ 14 h 34"/>
                  <a:gd name="T2" fmla="*/ 52 w 60"/>
                  <a:gd name="T3" fmla="*/ 8 h 34"/>
                  <a:gd name="T4" fmla="*/ 52 w 60"/>
                  <a:gd name="T5" fmla="*/ 6 h 34"/>
                  <a:gd name="T6" fmla="*/ 38 w 60"/>
                  <a:gd name="T7" fmla="*/ 0 h 34"/>
                  <a:gd name="T8" fmla="*/ 36 w 60"/>
                  <a:gd name="T9" fmla="*/ 0 h 34"/>
                  <a:gd name="T10" fmla="*/ 32 w 60"/>
                  <a:gd name="T11" fmla="*/ 2 h 34"/>
                  <a:gd name="T12" fmla="*/ 28 w 60"/>
                  <a:gd name="T13" fmla="*/ 0 h 34"/>
                  <a:gd name="T14" fmla="*/ 26 w 60"/>
                  <a:gd name="T15" fmla="*/ 2 h 34"/>
                  <a:gd name="T16" fmla="*/ 24 w 60"/>
                  <a:gd name="T17" fmla="*/ 2 h 34"/>
                  <a:gd name="T18" fmla="*/ 24 w 60"/>
                  <a:gd name="T19" fmla="*/ 0 h 34"/>
                  <a:gd name="T20" fmla="*/ 24 w 60"/>
                  <a:gd name="T21" fmla="*/ 2 h 34"/>
                  <a:gd name="T22" fmla="*/ 20 w 60"/>
                  <a:gd name="T23" fmla="*/ 2 h 34"/>
                  <a:gd name="T24" fmla="*/ 18 w 60"/>
                  <a:gd name="T25" fmla="*/ 6 h 34"/>
                  <a:gd name="T26" fmla="*/ 16 w 60"/>
                  <a:gd name="T27" fmla="*/ 6 h 34"/>
                  <a:gd name="T28" fmla="*/ 12 w 60"/>
                  <a:gd name="T29" fmla="*/ 8 h 34"/>
                  <a:gd name="T30" fmla="*/ 10 w 60"/>
                  <a:gd name="T31" fmla="*/ 12 h 34"/>
                  <a:gd name="T32" fmla="*/ 6 w 60"/>
                  <a:gd name="T33" fmla="*/ 16 h 34"/>
                  <a:gd name="T34" fmla="*/ 4 w 60"/>
                  <a:gd name="T35" fmla="*/ 20 h 34"/>
                  <a:gd name="T36" fmla="*/ 2 w 60"/>
                  <a:gd name="T37" fmla="*/ 22 h 34"/>
                  <a:gd name="T38" fmla="*/ 0 w 60"/>
                  <a:gd name="T39" fmla="*/ 24 h 34"/>
                  <a:gd name="T40" fmla="*/ 4 w 60"/>
                  <a:gd name="T41" fmla="*/ 32 h 34"/>
                  <a:gd name="T42" fmla="*/ 6 w 60"/>
                  <a:gd name="T43" fmla="*/ 34 h 34"/>
                  <a:gd name="T44" fmla="*/ 10 w 60"/>
                  <a:gd name="T45" fmla="*/ 32 h 34"/>
                  <a:gd name="T46" fmla="*/ 12 w 60"/>
                  <a:gd name="T47" fmla="*/ 34 h 34"/>
                  <a:gd name="T48" fmla="*/ 18 w 60"/>
                  <a:gd name="T49" fmla="*/ 32 h 34"/>
                  <a:gd name="T50" fmla="*/ 18 w 60"/>
                  <a:gd name="T51" fmla="*/ 30 h 34"/>
                  <a:gd name="T52" fmla="*/ 20 w 60"/>
                  <a:gd name="T53" fmla="*/ 28 h 34"/>
                  <a:gd name="T54" fmla="*/ 22 w 60"/>
                  <a:gd name="T55" fmla="*/ 26 h 34"/>
                  <a:gd name="T56" fmla="*/ 24 w 60"/>
                  <a:gd name="T57" fmla="*/ 28 h 34"/>
                  <a:gd name="T58" fmla="*/ 30 w 60"/>
                  <a:gd name="T59" fmla="*/ 28 h 34"/>
                  <a:gd name="T60" fmla="*/ 32 w 60"/>
                  <a:gd name="T61" fmla="*/ 30 h 34"/>
                  <a:gd name="T62" fmla="*/ 38 w 60"/>
                  <a:gd name="T63" fmla="*/ 30 h 34"/>
                  <a:gd name="T64" fmla="*/ 60 w 60"/>
                  <a:gd name="T65" fmla="*/ 20 h 34"/>
                  <a:gd name="T66" fmla="*/ 60 w 60"/>
                  <a:gd name="T67" fmla="*/ 18 h 34"/>
                  <a:gd name="T68" fmla="*/ 60 w 60"/>
                  <a:gd name="T69" fmla="*/ 14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0" h="34">
                    <a:moveTo>
                      <a:pt x="60" y="14"/>
                    </a:moveTo>
                    <a:lnTo>
                      <a:pt x="52" y="8"/>
                    </a:lnTo>
                    <a:lnTo>
                      <a:pt x="52" y="6"/>
                    </a:lnTo>
                    <a:lnTo>
                      <a:pt x="38" y="0"/>
                    </a:lnTo>
                    <a:lnTo>
                      <a:pt x="36" y="0"/>
                    </a:lnTo>
                    <a:lnTo>
                      <a:pt x="32" y="2"/>
                    </a:lnTo>
                    <a:lnTo>
                      <a:pt x="28" y="0"/>
                    </a:lnTo>
                    <a:lnTo>
                      <a:pt x="26" y="2"/>
                    </a:lnTo>
                    <a:lnTo>
                      <a:pt x="24" y="2"/>
                    </a:lnTo>
                    <a:lnTo>
                      <a:pt x="24" y="0"/>
                    </a:lnTo>
                    <a:lnTo>
                      <a:pt x="24" y="2"/>
                    </a:lnTo>
                    <a:lnTo>
                      <a:pt x="20" y="2"/>
                    </a:lnTo>
                    <a:lnTo>
                      <a:pt x="18" y="6"/>
                    </a:lnTo>
                    <a:lnTo>
                      <a:pt x="16" y="6"/>
                    </a:lnTo>
                    <a:lnTo>
                      <a:pt x="12" y="8"/>
                    </a:lnTo>
                    <a:lnTo>
                      <a:pt x="10" y="12"/>
                    </a:lnTo>
                    <a:lnTo>
                      <a:pt x="6" y="16"/>
                    </a:lnTo>
                    <a:lnTo>
                      <a:pt x="4" y="20"/>
                    </a:lnTo>
                    <a:lnTo>
                      <a:pt x="2" y="22"/>
                    </a:lnTo>
                    <a:lnTo>
                      <a:pt x="0" y="24"/>
                    </a:lnTo>
                    <a:lnTo>
                      <a:pt x="4" y="32"/>
                    </a:lnTo>
                    <a:lnTo>
                      <a:pt x="6" y="34"/>
                    </a:lnTo>
                    <a:lnTo>
                      <a:pt x="10" y="32"/>
                    </a:lnTo>
                    <a:lnTo>
                      <a:pt x="12" y="34"/>
                    </a:lnTo>
                    <a:lnTo>
                      <a:pt x="18" y="32"/>
                    </a:lnTo>
                    <a:lnTo>
                      <a:pt x="18" y="30"/>
                    </a:lnTo>
                    <a:lnTo>
                      <a:pt x="20" y="28"/>
                    </a:lnTo>
                    <a:lnTo>
                      <a:pt x="22" y="26"/>
                    </a:lnTo>
                    <a:lnTo>
                      <a:pt x="24" y="28"/>
                    </a:lnTo>
                    <a:lnTo>
                      <a:pt x="30" y="28"/>
                    </a:lnTo>
                    <a:lnTo>
                      <a:pt x="32" y="30"/>
                    </a:lnTo>
                    <a:lnTo>
                      <a:pt x="38" y="30"/>
                    </a:lnTo>
                    <a:lnTo>
                      <a:pt x="60" y="20"/>
                    </a:lnTo>
                    <a:lnTo>
                      <a:pt x="60" y="18"/>
                    </a:lnTo>
                    <a:lnTo>
                      <a:pt x="60" y="14"/>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0" name="Freeform 239"/>
              <p:cNvSpPr/>
              <p:nvPr/>
            </p:nvSpPr>
            <p:spPr bwMode="auto">
              <a:xfrm>
                <a:off x="3824691" y="1345222"/>
                <a:ext cx="16301" cy="25458"/>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12 w 16"/>
                  <a:gd name="T25" fmla="*/ 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lnTo>
                      <a:pt x="1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1" name="Freeform 240"/>
              <p:cNvSpPr/>
              <p:nvPr/>
            </p:nvSpPr>
            <p:spPr bwMode="auto">
              <a:xfrm>
                <a:off x="3824691" y="1345222"/>
                <a:ext cx="16301" cy="25458"/>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2" name="Freeform 241"/>
              <p:cNvSpPr/>
              <p:nvPr/>
            </p:nvSpPr>
            <p:spPr bwMode="auto">
              <a:xfrm>
                <a:off x="3863406" y="1472509"/>
                <a:ext cx="10187" cy="21540"/>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6 w 8"/>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8">
                    <a:moveTo>
                      <a:pt x="6" y="0"/>
                    </a:moveTo>
                    <a:lnTo>
                      <a:pt x="8" y="0"/>
                    </a:lnTo>
                    <a:lnTo>
                      <a:pt x="8" y="4"/>
                    </a:lnTo>
                    <a:lnTo>
                      <a:pt x="8" y="14"/>
                    </a:lnTo>
                    <a:lnTo>
                      <a:pt x="6" y="16"/>
                    </a:lnTo>
                    <a:lnTo>
                      <a:pt x="0" y="18"/>
                    </a:lnTo>
                    <a:lnTo>
                      <a:pt x="0" y="12"/>
                    </a:lnTo>
                    <a:lnTo>
                      <a:pt x="4"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3" name="Freeform 242"/>
              <p:cNvSpPr/>
              <p:nvPr/>
            </p:nvSpPr>
            <p:spPr bwMode="auto">
              <a:xfrm>
                <a:off x="3863406" y="1472509"/>
                <a:ext cx="10187" cy="21540"/>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8">
                    <a:moveTo>
                      <a:pt x="6" y="0"/>
                    </a:moveTo>
                    <a:lnTo>
                      <a:pt x="8" y="0"/>
                    </a:lnTo>
                    <a:lnTo>
                      <a:pt x="8" y="4"/>
                    </a:lnTo>
                    <a:lnTo>
                      <a:pt x="8" y="14"/>
                    </a:lnTo>
                    <a:lnTo>
                      <a:pt x="6" y="16"/>
                    </a:lnTo>
                    <a:lnTo>
                      <a:pt x="0" y="18"/>
                    </a:lnTo>
                    <a:lnTo>
                      <a:pt x="0" y="12"/>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4" name="Freeform 243"/>
              <p:cNvSpPr/>
              <p:nvPr/>
            </p:nvSpPr>
            <p:spPr bwMode="auto">
              <a:xfrm>
                <a:off x="3254166" y="1946404"/>
                <a:ext cx="48902" cy="52872"/>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8 w 44"/>
                  <a:gd name="T69" fmla="*/ 0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lnTo>
                      <a:pt x="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5" name="Freeform 244"/>
              <p:cNvSpPr/>
              <p:nvPr/>
            </p:nvSpPr>
            <p:spPr bwMode="auto">
              <a:xfrm>
                <a:off x="3254166" y="1946404"/>
                <a:ext cx="48902" cy="52872"/>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6" name="Freeform 245"/>
              <p:cNvSpPr/>
              <p:nvPr/>
            </p:nvSpPr>
            <p:spPr bwMode="auto">
              <a:xfrm>
                <a:off x="3847105" y="1562588"/>
                <a:ext cx="8150" cy="56788"/>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6 w 8"/>
                  <a:gd name="T17" fmla="*/ 14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50">
                    <a:moveTo>
                      <a:pt x="6" y="14"/>
                    </a:moveTo>
                    <a:lnTo>
                      <a:pt x="8" y="50"/>
                    </a:lnTo>
                    <a:lnTo>
                      <a:pt x="0" y="12"/>
                    </a:lnTo>
                    <a:lnTo>
                      <a:pt x="6" y="10"/>
                    </a:lnTo>
                    <a:lnTo>
                      <a:pt x="2" y="10"/>
                    </a:lnTo>
                    <a:lnTo>
                      <a:pt x="2" y="0"/>
                    </a:lnTo>
                    <a:lnTo>
                      <a:pt x="6" y="10"/>
                    </a:lnTo>
                    <a:lnTo>
                      <a:pt x="6" y="12"/>
                    </a:lnTo>
                    <a:lnTo>
                      <a:pt x="6"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7" name="Freeform 246"/>
              <p:cNvSpPr/>
              <p:nvPr/>
            </p:nvSpPr>
            <p:spPr bwMode="auto">
              <a:xfrm>
                <a:off x="3847105" y="1562588"/>
                <a:ext cx="8150" cy="56788"/>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50">
                    <a:moveTo>
                      <a:pt x="6" y="14"/>
                    </a:moveTo>
                    <a:lnTo>
                      <a:pt x="8" y="50"/>
                    </a:lnTo>
                    <a:lnTo>
                      <a:pt x="0" y="12"/>
                    </a:lnTo>
                    <a:lnTo>
                      <a:pt x="6" y="10"/>
                    </a:lnTo>
                    <a:lnTo>
                      <a:pt x="2" y="10"/>
                    </a:lnTo>
                    <a:lnTo>
                      <a:pt x="2" y="0"/>
                    </a:lnTo>
                    <a:lnTo>
                      <a:pt x="6" y="10"/>
                    </a:lnTo>
                    <a:lnTo>
                      <a:pt x="6"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8" name="Freeform 247"/>
              <p:cNvSpPr/>
              <p:nvPr/>
            </p:nvSpPr>
            <p:spPr bwMode="auto">
              <a:xfrm>
                <a:off x="3851180" y="1658541"/>
                <a:ext cx="24451" cy="27415"/>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14 w 22"/>
                  <a:gd name="T49" fmla="*/ 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lnTo>
                      <a:pt x="1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9" name="Freeform 248"/>
              <p:cNvSpPr/>
              <p:nvPr/>
            </p:nvSpPr>
            <p:spPr bwMode="auto">
              <a:xfrm>
                <a:off x="3851180" y="1658541"/>
                <a:ext cx="24451" cy="27415"/>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0" name="Freeform 249"/>
              <p:cNvSpPr/>
              <p:nvPr/>
            </p:nvSpPr>
            <p:spPr bwMode="auto">
              <a:xfrm>
                <a:off x="3800240" y="1717289"/>
                <a:ext cx="28526" cy="21541"/>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4 w 26"/>
                  <a:gd name="T29" fmla="*/ 4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1" name="Freeform 250"/>
              <p:cNvSpPr/>
              <p:nvPr/>
            </p:nvSpPr>
            <p:spPr bwMode="auto">
              <a:xfrm>
                <a:off x="3800240" y="1717289"/>
                <a:ext cx="28526" cy="21541"/>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2" name="Freeform 251"/>
              <p:cNvSpPr/>
              <p:nvPr/>
            </p:nvSpPr>
            <p:spPr bwMode="auto">
              <a:xfrm>
                <a:off x="3737075" y="1779952"/>
                <a:ext cx="46864" cy="23499"/>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2 w 42"/>
                  <a:gd name="T33" fmla="*/ 1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lnTo>
                      <a:pt x="2"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3" name="Freeform 252"/>
              <p:cNvSpPr/>
              <p:nvPr/>
            </p:nvSpPr>
            <p:spPr bwMode="auto">
              <a:xfrm>
                <a:off x="3737075" y="1779952"/>
                <a:ext cx="46864" cy="23499"/>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4" name="Freeform 253"/>
              <p:cNvSpPr/>
              <p:nvPr/>
            </p:nvSpPr>
            <p:spPr bwMode="auto">
              <a:xfrm>
                <a:off x="3755413" y="1803451"/>
                <a:ext cx="44827" cy="17625"/>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40 w 40"/>
                  <a:gd name="T35" fmla="*/ 8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lnTo>
                      <a:pt x="4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5" name="Freeform 254"/>
              <p:cNvSpPr/>
              <p:nvPr/>
            </p:nvSpPr>
            <p:spPr bwMode="auto">
              <a:xfrm>
                <a:off x="3755413" y="1803451"/>
                <a:ext cx="44827" cy="17625"/>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6" name="Freeform 255"/>
              <p:cNvSpPr/>
              <p:nvPr/>
            </p:nvSpPr>
            <p:spPr bwMode="auto">
              <a:xfrm>
                <a:off x="3757451" y="1811284"/>
                <a:ext cx="42789" cy="43081"/>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22 w 38"/>
                  <a:gd name="T61" fmla="*/ 8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lnTo>
                      <a:pt x="2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7" name="Freeform 256"/>
              <p:cNvSpPr/>
              <p:nvPr/>
            </p:nvSpPr>
            <p:spPr bwMode="auto">
              <a:xfrm>
                <a:off x="3757451" y="1811284"/>
                <a:ext cx="42789" cy="43081"/>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8" name="Freeform 257"/>
              <p:cNvSpPr/>
              <p:nvPr/>
            </p:nvSpPr>
            <p:spPr bwMode="auto">
              <a:xfrm>
                <a:off x="3700399" y="1911155"/>
                <a:ext cx="44827" cy="31332"/>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38 w 40"/>
                  <a:gd name="T35" fmla="*/ 8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lnTo>
                      <a:pt x="38"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9" name="Freeform 258"/>
              <p:cNvSpPr/>
              <p:nvPr/>
            </p:nvSpPr>
            <p:spPr bwMode="auto">
              <a:xfrm>
                <a:off x="3700399" y="1911155"/>
                <a:ext cx="44827" cy="31332"/>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0" name="Freeform 259"/>
              <p:cNvSpPr/>
              <p:nvPr/>
            </p:nvSpPr>
            <p:spPr bwMode="auto">
              <a:xfrm>
                <a:off x="3021881" y="1511674"/>
                <a:ext cx="48902" cy="19582"/>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w 45"/>
                  <a:gd name="T31" fmla="*/ 1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1" name="Freeform 260"/>
              <p:cNvSpPr/>
              <p:nvPr/>
            </p:nvSpPr>
            <p:spPr bwMode="auto">
              <a:xfrm>
                <a:off x="3021881" y="1511674"/>
                <a:ext cx="48902" cy="19582"/>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2" name="Freeform 261"/>
              <p:cNvSpPr/>
              <p:nvPr/>
            </p:nvSpPr>
            <p:spPr bwMode="auto">
              <a:xfrm>
                <a:off x="3433474" y="2367425"/>
                <a:ext cx="8150" cy="5875"/>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2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2" y="0"/>
                    </a:moveTo>
                    <a:lnTo>
                      <a:pt x="2" y="6"/>
                    </a:lnTo>
                    <a:lnTo>
                      <a:pt x="0" y="0"/>
                    </a:lnTo>
                    <a:lnTo>
                      <a:pt x="0" y="2"/>
                    </a:lnTo>
                    <a:lnTo>
                      <a:pt x="0" y="4"/>
                    </a:lnTo>
                    <a:lnTo>
                      <a:pt x="4" y="2"/>
                    </a:lnTo>
                    <a:lnTo>
                      <a:pt x="6" y="2"/>
                    </a:lnTo>
                    <a:lnTo>
                      <a:pt x="6" y="0"/>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3" name="Freeform 262"/>
              <p:cNvSpPr/>
              <p:nvPr/>
            </p:nvSpPr>
            <p:spPr bwMode="auto">
              <a:xfrm>
                <a:off x="3433474" y="2367425"/>
                <a:ext cx="8150" cy="5875"/>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2" y="0"/>
                    </a:moveTo>
                    <a:lnTo>
                      <a:pt x="2" y="6"/>
                    </a:lnTo>
                    <a:lnTo>
                      <a:pt x="0" y="0"/>
                    </a:lnTo>
                    <a:lnTo>
                      <a:pt x="0" y="2"/>
                    </a:lnTo>
                    <a:lnTo>
                      <a:pt x="0" y="4"/>
                    </a:lnTo>
                    <a:lnTo>
                      <a:pt x="4" y="2"/>
                    </a:lnTo>
                    <a:lnTo>
                      <a:pt x="6" y="2"/>
                    </a:lnTo>
                    <a:lnTo>
                      <a:pt x="6"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4" name="Freeform 263"/>
              <p:cNvSpPr/>
              <p:nvPr/>
            </p:nvSpPr>
            <p:spPr bwMode="auto">
              <a:xfrm>
                <a:off x="3435512" y="2359592"/>
                <a:ext cx="14262" cy="5875"/>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12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4">
                    <a:moveTo>
                      <a:pt x="12" y="2"/>
                    </a:moveTo>
                    <a:lnTo>
                      <a:pt x="10" y="2"/>
                    </a:lnTo>
                    <a:lnTo>
                      <a:pt x="0" y="0"/>
                    </a:lnTo>
                    <a:lnTo>
                      <a:pt x="0" y="2"/>
                    </a:lnTo>
                    <a:lnTo>
                      <a:pt x="0" y="4"/>
                    </a:lnTo>
                    <a:lnTo>
                      <a:pt x="2" y="4"/>
                    </a:lnTo>
                    <a:lnTo>
                      <a:pt x="6" y="4"/>
                    </a:lnTo>
                    <a:lnTo>
                      <a:pt x="6" y="2"/>
                    </a:lnTo>
                    <a:lnTo>
                      <a:pt x="10" y="2"/>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5" name="Freeform 264"/>
              <p:cNvSpPr/>
              <p:nvPr/>
            </p:nvSpPr>
            <p:spPr bwMode="auto">
              <a:xfrm>
                <a:off x="3435512" y="2359592"/>
                <a:ext cx="14262" cy="5875"/>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4">
                    <a:moveTo>
                      <a:pt x="12" y="2"/>
                    </a:moveTo>
                    <a:lnTo>
                      <a:pt x="10" y="2"/>
                    </a:lnTo>
                    <a:lnTo>
                      <a:pt x="0" y="0"/>
                    </a:lnTo>
                    <a:lnTo>
                      <a:pt x="0" y="2"/>
                    </a:lnTo>
                    <a:lnTo>
                      <a:pt x="0" y="4"/>
                    </a:lnTo>
                    <a:lnTo>
                      <a:pt x="2" y="4"/>
                    </a:lnTo>
                    <a:lnTo>
                      <a:pt x="6" y="4"/>
                    </a:lnTo>
                    <a:lnTo>
                      <a:pt x="6" y="2"/>
                    </a:lnTo>
                    <a:lnTo>
                      <a:pt x="1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6" name="Freeform 265"/>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7" name="Freeform 266"/>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8" name="Freeform 267"/>
              <p:cNvSpPr/>
              <p:nvPr/>
            </p:nvSpPr>
            <p:spPr bwMode="auto">
              <a:xfrm>
                <a:off x="2255749" y="3135057"/>
                <a:ext cx="2038" cy="5875"/>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2 w 2"/>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2" y="4"/>
                    </a:moveTo>
                    <a:lnTo>
                      <a:pt x="0" y="4"/>
                    </a:lnTo>
                    <a:lnTo>
                      <a:pt x="0" y="2"/>
                    </a:lnTo>
                    <a:lnTo>
                      <a:pt x="2" y="0"/>
                    </a:lnTo>
                    <a:lnTo>
                      <a:pt x="2" y="2"/>
                    </a:lnTo>
                    <a:lnTo>
                      <a:pt x="2" y="6"/>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9" name="Freeform 268"/>
              <p:cNvSpPr/>
              <p:nvPr/>
            </p:nvSpPr>
            <p:spPr bwMode="auto">
              <a:xfrm>
                <a:off x="2255749" y="3135057"/>
                <a:ext cx="2038" cy="5875"/>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2" y="4"/>
                    </a:moveTo>
                    <a:lnTo>
                      <a:pt x="0" y="4"/>
                    </a:lnTo>
                    <a:lnTo>
                      <a:pt x="0" y="2"/>
                    </a:lnTo>
                    <a:lnTo>
                      <a:pt x="2" y="0"/>
                    </a:lnTo>
                    <a:lnTo>
                      <a:pt x="2" y="2"/>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0" name="Freeform 269"/>
              <p:cNvSpPr/>
              <p:nvPr/>
            </p:nvSpPr>
            <p:spPr bwMode="auto">
              <a:xfrm>
                <a:off x="2284275" y="3111558"/>
                <a:ext cx="8150" cy="9792"/>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8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8" y="8"/>
                    </a:moveTo>
                    <a:lnTo>
                      <a:pt x="6" y="8"/>
                    </a:lnTo>
                    <a:lnTo>
                      <a:pt x="0" y="0"/>
                    </a:lnTo>
                    <a:lnTo>
                      <a:pt x="2" y="0"/>
                    </a:lnTo>
                    <a:lnTo>
                      <a:pt x="4" y="4"/>
                    </a:lnTo>
                    <a:lnTo>
                      <a:pt x="6" y="4"/>
                    </a:lnTo>
                    <a:lnTo>
                      <a:pt x="6" y="6"/>
                    </a:lnTo>
                    <a:lnTo>
                      <a:pt x="6" y="8"/>
                    </a:lnTo>
                    <a:lnTo>
                      <a:pt x="8"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1" name="Freeform 270"/>
              <p:cNvSpPr/>
              <p:nvPr/>
            </p:nvSpPr>
            <p:spPr bwMode="auto">
              <a:xfrm>
                <a:off x="2284275" y="3111558"/>
                <a:ext cx="8150" cy="9792"/>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8" y="8"/>
                    </a:moveTo>
                    <a:lnTo>
                      <a:pt x="6" y="8"/>
                    </a:lnTo>
                    <a:lnTo>
                      <a:pt x="0" y="0"/>
                    </a:lnTo>
                    <a:lnTo>
                      <a:pt x="2" y="0"/>
                    </a:lnTo>
                    <a:lnTo>
                      <a:pt x="4" y="4"/>
                    </a:lnTo>
                    <a:lnTo>
                      <a:pt x="6" y="4"/>
                    </a:lnTo>
                    <a:lnTo>
                      <a:pt x="6" y="6"/>
                    </a:lnTo>
                    <a:lnTo>
                      <a:pt x="6"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2" name="Freeform 271"/>
              <p:cNvSpPr/>
              <p:nvPr/>
            </p:nvSpPr>
            <p:spPr bwMode="auto">
              <a:xfrm>
                <a:off x="2300576" y="3119391"/>
                <a:ext cx="6113" cy="5875"/>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0" y="2"/>
                    </a:moveTo>
                    <a:lnTo>
                      <a:pt x="0" y="0"/>
                    </a:lnTo>
                    <a:lnTo>
                      <a:pt x="2" y="0"/>
                    </a:lnTo>
                    <a:lnTo>
                      <a:pt x="4" y="2"/>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3" name="Freeform 272"/>
              <p:cNvSpPr/>
              <p:nvPr/>
            </p:nvSpPr>
            <p:spPr bwMode="auto">
              <a:xfrm>
                <a:off x="2300576" y="3119391"/>
                <a:ext cx="6113" cy="5875"/>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0" y="2"/>
                    </a:moveTo>
                    <a:lnTo>
                      <a:pt x="0" y="0"/>
                    </a:lnTo>
                    <a:lnTo>
                      <a:pt x="2" y="0"/>
                    </a:lnTo>
                    <a:lnTo>
                      <a:pt x="4" y="2"/>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4" name="Freeform 273"/>
              <p:cNvSpPr/>
              <p:nvPr/>
            </p:nvSpPr>
            <p:spPr bwMode="auto">
              <a:xfrm>
                <a:off x="2549161" y="3189888"/>
                <a:ext cx="2038" cy="3916"/>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2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0"/>
                    </a:moveTo>
                    <a:lnTo>
                      <a:pt x="2" y="2"/>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5" name="Freeform 274"/>
              <p:cNvSpPr/>
              <p:nvPr/>
            </p:nvSpPr>
            <p:spPr bwMode="auto">
              <a:xfrm>
                <a:off x="2549161" y="3189888"/>
                <a:ext cx="2038" cy="3916"/>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2" y="2"/>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6" name="Freeform 275"/>
              <p:cNvSpPr/>
              <p:nvPr/>
            </p:nvSpPr>
            <p:spPr bwMode="auto">
              <a:xfrm>
                <a:off x="2722357" y="3274093"/>
                <a:ext cx="4075" cy="587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7" name="Freeform 276"/>
              <p:cNvSpPr/>
              <p:nvPr/>
            </p:nvSpPr>
            <p:spPr bwMode="auto">
              <a:xfrm>
                <a:off x="2722357" y="3274093"/>
                <a:ext cx="4075" cy="587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8" name="Freeform 277"/>
              <p:cNvSpPr/>
              <p:nvPr/>
            </p:nvSpPr>
            <p:spPr bwMode="auto">
              <a:xfrm>
                <a:off x="2854799" y="3160515"/>
                <a:ext cx="18339" cy="3916"/>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14 w 16"/>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
                    <a:moveTo>
                      <a:pt x="14" y="0"/>
                    </a:moveTo>
                    <a:lnTo>
                      <a:pt x="14" y="2"/>
                    </a:lnTo>
                    <a:lnTo>
                      <a:pt x="16" y="2"/>
                    </a:lnTo>
                    <a:lnTo>
                      <a:pt x="16" y="4"/>
                    </a:lnTo>
                    <a:lnTo>
                      <a:pt x="14" y="2"/>
                    </a:lnTo>
                    <a:lnTo>
                      <a:pt x="4" y="4"/>
                    </a:lnTo>
                    <a:lnTo>
                      <a:pt x="2" y="4"/>
                    </a:lnTo>
                    <a:lnTo>
                      <a:pt x="0" y="2"/>
                    </a:lnTo>
                    <a:lnTo>
                      <a:pt x="4" y="2"/>
                    </a:lnTo>
                    <a:lnTo>
                      <a:pt x="10" y="0"/>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9" name="Freeform 278"/>
              <p:cNvSpPr/>
              <p:nvPr/>
            </p:nvSpPr>
            <p:spPr bwMode="auto">
              <a:xfrm>
                <a:off x="2854799" y="3160515"/>
                <a:ext cx="18339" cy="3916"/>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4">
                    <a:moveTo>
                      <a:pt x="14" y="0"/>
                    </a:moveTo>
                    <a:lnTo>
                      <a:pt x="14" y="2"/>
                    </a:lnTo>
                    <a:lnTo>
                      <a:pt x="16" y="2"/>
                    </a:lnTo>
                    <a:lnTo>
                      <a:pt x="16" y="4"/>
                    </a:lnTo>
                    <a:lnTo>
                      <a:pt x="14" y="2"/>
                    </a:lnTo>
                    <a:lnTo>
                      <a:pt x="4" y="4"/>
                    </a:lnTo>
                    <a:lnTo>
                      <a:pt x="2" y="4"/>
                    </a:lnTo>
                    <a:lnTo>
                      <a:pt x="0" y="2"/>
                    </a:lnTo>
                    <a:lnTo>
                      <a:pt x="4" y="2"/>
                    </a:lnTo>
                    <a:lnTo>
                      <a:pt x="10"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0" name="Freeform 279"/>
              <p:cNvSpPr/>
              <p:nvPr/>
            </p:nvSpPr>
            <p:spPr bwMode="auto">
              <a:xfrm>
                <a:off x="2881289" y="3164431"/>
                <a:ext cx="4075" cy="13707"/>
              </a:xfrm>
              <a:custGeom>
                <a:avLst/>
                <a:gdLst>
                  <a:gd name="T0" fmla="*/ 4 w 4"/>
                  <a:gd name="T1" fmla="*/ 4 h 12"/>
                  <a:gd name="T2" fmla="*/ 2 w 4"/>
                  <a:gd name="T3" fmla="*/ 12 h 12"/>
                  <a:gd name="T4" fmla="*/ 0 w 4"/>
                  <a:gd name="T5" fmla="*/ 8 h 12"/>
                  <a:gd name="T6" fmla="*/ 2 w 4"/>
                  <a:gd name="T7" fmla="*/ 8 h 12"/>
                  <a:gd name="T8" fmla="*/ 2 w 4"/>
                  <a:gd name="T9" fmla="*/ 6 h 12"/>
                  <a:gd name="T10" fmla="*/ 2 w 4"/>
                  <a:gd name="T11" fmla="*/ 4 h 12"/>
                  <a:gd name="T12" fmla="*/ 2 w 4"/>
                  <a:gd name="T13" fmla="*/ 0 h 12"/>
                  <a:gd name="T14" fmla="*/ 4 w 4"/>
                  <a:gd name="T15" fmla="*/ 0 h 12"/>
                  <a:gd name="T16" fmla="*/ 4 w 4"/>
                  <a:gd name="T17" fmla="*/ 2 h 12"/>
                  <a:gd name="T18" fmla="*/ 4 w 4"/>
                  <a:gd name="T19" fmla="*/ 2 h 12"/>
                  <a:gd name="T20" fmla="*/ 4 w 4"/>
                  <a:gd name="T21" fmla="*/ 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2">
                    <a:moveTo>
                      <a:pt x="4" y="4"/>
                    </a:moveTo>
                    <a:lnTo>
                      <a:pt x="2" y="12"/>
                    </a:lnTo>
                    <a:lnTo>
                      <a:pt x="0" y="8"/>
                    </a:lnTo>
                    <a:lnTo>
                      <a:pt x="2" y="8"/>
                    </a:lnTo>
                    <a:lnTo>
                      <a:pt x="2" y="6"/>
                    </a:lnTo>
                    <a:lnTo>
                      <a:pt x="2" y="4"/>
                    </a:lnTo>
                    <a:lnTo>
                      <a:pt x="2" y="0"/>
                    </a:lnTo>
                    <a:lnTo>
                      <a:pt x="4" y="0"/>
                    </a:lnTo>
                    <a:lnTo>
                      <a:pt x="4" y="2"/>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1" name="Freeform 280"/>
              <p:cNvSpPr/>
              <p:nvPr/>
            </p:nvSpPr>
            <p:spPr bwMode="auto">
              <a:xfrm>
                <a:off x="2881289" y="3164431"/>
                <a:ext cx="4075" cy="13707"/>
              </a:xfrm>
              <a:custGeom>
                <a:avLst/>
                <a:gdLst>
                  <a:gd name="T0" fmla="*/ 4 w 4"/>
                  <a:gd name="T1" fmla="*/ 4 h 12"/>
                  <a:gd name="T2" fmla="*/ 4 w 4"/>
                  <a:gd name="T3" fmla="*/ 0 h 12"/>
                  <a:gd name="T4" fmla="*/ 4 w 4"/>
                  <a:gd name="T5" fmla="*/ 2 h 12"/>
                  <a:gd name="T6" fmla="*/ 2 w 4"/>
                  <a:gd name="T7" fmla="*/ 12 h 12"/>
                  <a:gd name="T8" fmla="*/ 0 w 4"/>
                  <a:gd name="T9" fmla="*/ 8 h 12"/>
                  <a:gd name="T10" fmla="*/ 2 w 4"/>
                  <a:gd name="T11" fmla="*/ 8 h 12"/>
                  <a:gd name="T12" fmla="*/ 2 w 4"/>
                  <a:gd name="T13" fmla="*/ 6 h 12"/>
                  <a:gd name="T14" fmla="*/ 2 w 4"/>
                  <a:gd name="T15" fmla="*/ 4 h 12"/>
                  <a:gd name="T16" fmla="*/ 2 w 4"/>
                  <a:gd name="T17" fmla="*/ 0 h 12"/>
                  <a:gd name="T18" fmla="*/ 4 w 4"/>
                  <a:gd name="T19" fmla="*/ 0 h 12"/>
                  <a:gd name="T20" fmla="*/ 4 w 4"/>
                  <a:gd name="T21" fmla="*/ 2 h 12"/>
                  <a:gd name="T22" fmla="*/ 4 w 4"/>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12">
                    <a:moveTo>
                      <a:pt x="4" y="4"/>
                    </a:moveTo>
                    <a:lnTo>
                      <a:pt x="4" y="0"/>
                    </a:lnTo>
                    <a:lnTo>
                      <a:pt x="4" y="2"/>
                    </a:lnTo>
                    <a:lnTo>
                      <a:pt x="2" y="12"/>
                    </a:lnTo>
                    <a:lnTo>
                      <a:pt x="0" y="8"/>
                    </a:lnTo>
                    <a:lnTo>
                      <a:pt x="2" y="8"/>
                    </a:lnTo>
                    <a:lnTo>
                      <a:pt x="2" y="6"/>
                    </a:lnTo>
                    <a:lnTo>
                      <a:pt x="2" y="4"/>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2" name="Freeform 281"/>
              <p:cNvSpPr/>
              <p:nvPr/>
            </p:nvSpPr>
            <p:spPr bwMode="auto">
              <a:xfrm>
                <a:off x="2879250" y="3191847"/>
                <a:ext cx="4075" cy="1958"/>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2" y="2"/>
                    </a:moveTo>
                    <a:lnTo>
                      <a:pt x="4" y="2"/>
                    </a:lnTo>
                    <a:lnTo>
                      <a:pt x="4"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3" name="Freeform 282"/>
              <p:cNvSpPr/>
              <p:nvPr/>
            </p:nvSpPr>
            <p:spPr bwMode="auto">
              <a:xfrm>
                <a:off x="2879250" y="3191847"/>
                <a:ext cx="4075" cy="1958"/>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2"/>
                    </a:moveTo>
                    <a:lnTo>
                      <a:pt x="4" y="2"/>
                    </a:lnTo>
                    <a:lnTo>
                      <a:pt x="4"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4" name="Freeform 283"/>
              <p:cNvSpPr/>
              <p:nvPr/>
            </p:nvSpPr>
            <p:spPr bwMode="auto">
              <a:xfrm>
                <a:off x="2867025" y="3191847"/>
                <a:ext cx="8150" cy="13707"/>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4 w 8"/>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2">
                    <a:moveTo>
                      <a:pt x="4" y="2"/>
                    </a:moveTo>
                    <a:lnTo>
                      <a:pt x="8" y="6"/>
                    </a:lnTo>
                    <a:lnTo>
                      <a:pt x="8" y="10"/>
                    </a:lnTo>
                    <a:lnTo>
                      <a:pt x="8" y="12"/>
                    </a:lnTo>
                    <a:lnTo>
                      <a:pt x="6" y="12"/>
                    </a:lnTo>
                    <a:lnTo>
                      <a:pt x="4" y="12"/>
                    </a:lnTo>
                    <a:lnTo>
                      <a:pt x="2" y="10"/>
                    </a:lnTo>
                    <a:lnTo>
                      <a:pt x="0" y="10"/>
                    </a:lnTo>
                    <a:lnTo>
                      <a:pt x="0" y="8"/>
                    </a:lnTo>
                    <a:lnTo>
                      <a:pt x="0" y="0"/>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5" name="Freeform 284"/>
              <p:cNvSpPr/>
              <p:nvPr/>
            </p:nvSpPr>
            <p:spPr bwMode="auto">
              <a:xfrm>
                <a:off x="2867025" y="3191847"/>
                <a:ext cx="8150" cy="13707"/>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2">
                    <a:moveTo>
                      <a:pt x="4" y="2"/>
                    </a:moveTo>
                    <a:lnTo>
                      <a:pt x="8" y="6"/>
                    </a:lnTo>
                    <a:lnTo>
                      <a:pt x="8" y="10"/>
                    </a:lnTo>
                    <a:lnTo>
                      <a:pt x="8" y="12"/>
                    </a:lnTo>
                    <a:lnTo>
                      <a:pt x="6" y="12"/>
                    </a:lnTo>
                    <a:lnTo>
                      <a:pt x="4" y="12"/>
                    </a:lnTo>
                    <a:lnTo>
                      <a:pt x="2" y="10"/>
                    </a:lnTo>
                    <a:lnTo>
                      <a:pt x="0" y="10"/>
                    </a:lnTo>
                    <a:lnTo>
                      <a:pt x="0" y="8"/>
                    </a:lnTo>
                    <a:lnTo>
                      <a:pt x="0"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6" name="Freeform 285"/>
              <p:cNvSpPr/>
              <p:nvPr/>
            </p:nvSpPr>
            <p:spPr bwMode="auto">
              <a:xfrm>
                <a:off x="2875175" y="3209470"/>
                <a:ext cx="4075" cy="5875"/>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w 4"/>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2"/>
                    </a:moveTo>
                    <a:lnTo>
                      <a:pt x="2" y="0"/>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7" name="Freeform 286"/>
              <p:cNvSpPr/>
              <p:nvPr/>
            </p:nvSpPr>
            <p:spPr bwMode="auto">
              <a:xfrm>
                <a:off x="2875175" y="3209470"/>
                <a:ext cx="4075" cy="5875"/>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2"/>
                    </a:moveTo>
                    <a:lnTo>
                      <a:pt x="2" y="0"/>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8" name="Freeform 287"/>
              <p:cNvSpPr/>
              <p:nvPr/>
            </p:nvSpPr>
            <p:spPr bwMode="auto">
              <a:xfrm>
                <a:off x="2899626" y="3191847"/>
                <a:ext cx="2038" cy="7833"/>
              </a:xfrm>
              <a:custGeom>
                <a:avLst/>
                <a:gdLst>
                  <a:gd name="T0" fmla="*/ 2 w 2"/>
                  <a:gd name="T1" fmla="*/ 0 h 8"/>
                  <a:gd name="T2" fmla="*/ 2 w 2"/>
                  <a:gd name="T3" fmla="*/ 8 h 8"/>
                  <a:gd name="T4" fmla="*/ 0 w 2"/>
                  <a:gd name="T5" fmla="*/ 6 h 8"/>
                  <a:gd name="T6" fmla="*/ 0 w 2"/>
                  <a:gd name="T7" fmla="*/ 4 h 8"/>
                  <a:gd name="T8" fmla="*/ 0 w 2"/>
                  <a:gd name="T9" fmla="*/ 0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2" y="0"/>
                    </a:moveTo>
                    <a:lnTo>
                      <a:pt x="2" y="8"/>
                    </a:lnTo>
                    <a:lnTo>
                      <a:pt x="0" y="6"/>
                    </a:lnTo>
                    <a:lnTo>
                      <a:pt x="0" y="4"/>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9" name="Freeform 288"/>
              <p:cNvSpPr/>
              <p:nvPr/>
            </p:nvSpPr>
            <p:spPr bwMode="auto">
              <a:xfrm>
                <a:off x="2899626" y="3189888"/>
                <a:ext cx="2038" cy="9792"/>
              </a:xfrm>
              <a:custGeom>
                <a:avLst/>
                <a:gdLst>
                  <a:gd name="T0" fmla="*/ 2 w 2"/>
                  <a:gd name="T1" fmla="*/ 2 h 10"/>
                  <a:gd name="T2" fmla="*/ 2 w 2"/>
                  <a:gd name="T3" fmla="*/ 0 h 10"/>
                  <a:gd name="T4" fmla="*/ 2 w 2"/>
                  <a:gd name="T5" fmla="*/ 0 h 10"/>
                  <a:gd name="T6" fmla="*/ 2 w 2"/>
                  <a:gd name="T7" fmla="*/ 10 h 10"/>
                  <a:gd name="T8" fmla="*/ 0 w 2"/>
                  <a:gd name="T9" fmla="*/ 8 h 10"/>
                  <a:gd name="T10" fmla="*/ 0 w 2"/>
                  <a:gd name="T11" fmla="*/ 6 h 10"/>
                  <a:gd name="T12" fmla="*/ 0 w 2"/>
                  <a:gd name="T13" fmla="*/ 2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2" y="2"/>
                    </a:moveTo>
                    <a:lnTo>
                      <a:pt x="2" y="0"/>
                    </a:lnTo>
                    <a:lnTo>
                      <a:pt x="2" y="10"/>
                    </a:lnTo>
                    <a:lnTo>
                      <a:pt x="0" y="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0" name="Freeform 289"/>
              <p:cNvSpPr/>
              <p:nvPr/>
            </p:nvSpPr>
            <p:spPr bwMode="auto">
              <a:xfrm>
                <a:off x="2907777" y="3197721"/>
                <a:ext cx="10189" cy="11749"/>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6 w 8"/>
                  <a:gd name="T17" fmla="*/ 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0">
                    <a:moveTo>
                      <a:pt x="6" y="8"/>
                    </a:moveTo>
                    <a:lnTo>
                      <a:pt x="8" y="10"/>
                    </a:lnTo>
                    <a:lnTo>
                      <a:pt x="6" y="10"/>
                    </a:lnTo>
                    <a:lnTo>
                      <a:pt x="4" y="10"/>
                    </a:lnTo>
                    <a:lnTo>
                      <a:pt x="4" y="8"/>
                    </a:lnTo>
                    <a:lnTo>
                      <a:pt x="0" y="0"/>
                    </a:lnTo>
                    <a:lnTo>
                      <a:pt x="2" y="0"/>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1" name="Freeform 290"/>
              <p:cNvSpPr/>
              <p:nvPr/>
            </p:nvSpPr>
            <p:spPr bwMode="auto">
              <a:xfrm>
                <a:off x="2907777" y="3197721"/>
                <a:ext cx="10189" cy="11749"/>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10">
                    <a:moveTo>
                      <a:pt x="6" y="8"/>
                    </a:moveTo>
                    <a:lnTo>
                      <a:pt x="8" y="10"/>
                    </a:lnTo>
                    <a:lnTo>
                      <a:pt x="6" y="10"/>
                    </a:lnTo>
                    <a:lnTo>
                      <a:pt x="4" y="10"/>
                    </a:lnTo>
                    <a:lnTo>
                      <a:pt x="4" y="8"/>
                    </a:lnTo>
                    <a:lnTo>
                      <a:pt x="0" y="0"/>
                    </a:lnTo>
                    <a:lnTo>
                      <a:pt x="2" y="0"/>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2" name="Freeform 291"/>
              <p:cNvSpPr/>
              <p:nvPr/>
            </p:nvSpPr>
            <p:spPr bwMode="auto">
              <a:xfrm>
                <a:off x="2928152" y="3209470"/>
                <a:ext cx="2038" cy="1959"/>
              </a:xfrm>
              <a:custGeom>
                <a:avLst/>
                <a:gdLst>
                  <a:gd name="T0" fmla="*/ 2 w 2"/>
                  <a:gd name="T1" fmla="*/ 0 h 2"/>
                  <a:gd name="T2" fmla="*/ 0 w 2"/>
                  <a:gd name="T3" fmla="*/ 2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2"/>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3" name="Freeform 292"/>
              <p:cNvSpPr/>
              <p:nvPr/>
            </p:nvSpPr>
            <p:spPr bwMode="auto">
              <a:xfrm>
                <a:off x="2928152" y="3209470"/>
                <a:ext cx="2038" cy="1959"/>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4" name="Freeform 293"/>
              <p:cNvSpPr/>
              <p:nvPr/>
            </p:nvSpPr>
            <p:spPr bwMode="auto">
              <a:xfrm>
                <a:off x="2917965" y="3221220"/>
                <a:ext cx="6112" cy="11749"/>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w 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
                    <a:moveTo>
                      <a:pt x="0" y="0"/>
                    </a:moveTo>
                    <a:lnTo>
                      <a:pt x="2" y="6"/>
                    </a:lnTo>
                    <a:lnTo>
                      <a:pt x="4" y="6"/>
                    </a:lnTo>
                    <a:lnTo>
                      <a:pt x="6" y="10"/>
                    </a:lnTo>
                    <a:lnTo>
                      <a:pt x="4" y="8"/>
                    </a:lnTo>
                    <a:lnTo>
                      <a:pt x="2" y="8"/>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5" name="Freeform 294"/>
              <p:cNvSpPr/>
              <p:nvPr/>
            </p:nvSpPr>
            <p:spPr bwMode="auto">
              <a:xfrm>
                <a:off x="2917965" y="3221220"/>
                <a:ext cx="6112" cy="11749"/>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0">
                    <a:moveTo>
                      <a:pt x="0" y="0"/>
                    </a:moveTo>
                    <a:lnTo>
                      <a:pt x="2" y="6"/>
                    </a:lnTo>
                    <a:lnTo>
                      <a:pt x="4" y="6"/>
                    </a:lnTo>
                    <a:lnTo>
                      <a:pt x="6" y="10"/>
                    </a:lnTo>
                    <a:lnTo>
                      <a:pt x="4" y="8"/>
                    </a:lnTo>
                    <a:lnTo>
                      <a:pt x="2" y="8"/>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6" name="Freeform 295"/>
              <p:cNvSpPr/>
              <p:nvPr/>
            </p:nvSpPr>
            <p:spPr bwMode="auto">
              <a:xfrm>
                <a:off x="2930191" y="3234928"/>
                <a:ext cx="8150" cy="9791"/>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6 w 8"/>
                  <a:gd name="T29" fmla="*/ 2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7" name="Freeform 296"/>
              <p:cNvSpPr/>
              <p:nvPr/>
            </p:nvSpPr>
            <p:spPr bwMode="auto">
              <a:xfrm>
                <a:off x="2930191" y="3234928"/>
                <a:ext cx="8150" cy="9791"/>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8" name="Freeform 297"/>
              <p:cNvSpPr/>
              <p:nvPr/>
            </p:nvSpPr>
            <p:spPr bwMode="auto">
              <a:xfrm>
                <a:off x="2952603" y="3240802"/>
                <a:ext cx="6113" cy="1959"/>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6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6" y="2"/>
                    </a:moveTo>
                    <a:lnTo>
                      <a:pt x="4" y="0"/>
                    </a:lnTo>
                    <a:lnTo>
                      <a:pt x="2" y="0"/>
                    </a:lnTo>
                    <a:lnTo>
                      <a:pt x="0" y="2"/>
                    </a:lnTo>
                    <a:lnTo>
                      <a:pt x="2"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9" name="Freeform 298"/>
              <p:cNvSpPr/>
              <p:nvPr/>
            </p:nvSpPr>
            <p:spPr bwMode="auto">
              <a:xfrm>
                <a:off x="2952603" y="3240802"/>
                <a:ext cx="6113" cy="1959"/>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6" y="2"/>
                    </a:moveTo>
                    <a:lnTo>
                      <a:pt x="4" y="0"/>
                    </a:lnTo>
                    <a:lnTo>
                      <a:pt x="2" y="0"/>
                    </a:lnTo>
                    <a:lnTo>
                      <a:pt x="0" y="2"/>
                    </a:lnTo>
                    <a:lnTo>
                      <a:pt x="2"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0" name="Freeform 299"/>
              <p:cNvSpPr/>
              <p:nvPr/>
            </p:nvSpPr>
            <p:spPr bwMode="auto">
              <a:xfrm>
                <a:off x="2964829" y="3248635"/>
                <a:ext cx="14264" cy="5875"/>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2 w 12"/>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6">
                    <a:moveTo>
                      <a:pt x="2" y="2"/>
                    </a:moveTo>
                    <a:lnTo>
                      <a:pt x="4" y="0"/>
                    </a:lnTo>
                    <a:lnTo>
                      <a:pt x="12" y="6"/>
                    </a:lnTo>
                    <a:lnTo>
                      <a:pt x="10" y="6"/>
                    </a:lnTo>
                    <a:lnTo>
                      <a:pt x="4" y="2"/>
                    </a:lnTo>
                    <a:lnTo>
                      <a:pt x="2" y="4"/>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1" name="Freeform 300"/>
              <p:cNvSpPr/>
              <p:nvPr/>
            </p:nvSpPr>
            <p:spPr bwMode="auto">
              <a:xfrm>
                <a:off x="2964829" y="3248635"/>
                <a:ext cx="14264" cy="5875"/>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6">
                    <a:moveTo>
                      <a:pt x="2" y="2"/>
                    </a:moveTo>
                    <a:lnTo>
                      <a:pt x="4" y="0"/>
                    </a:lnTo>
                    <a:lnTo>
                      <a:pt x="12" y="6"/>
                    </a:lnTo>
                    <a:lnTo>
                      <a:pt x="10" y="6"/>
                    </a:lnTo>
                    <a:lnTo>
                      <a:pt x="4" y="2"/>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2" name="Freeform 301"/>
              <p:cNvSpPr/>
              <p:nvPr/>
            </p:nvSpPr>
            <p:spPr bwMode="auto">
              <a:xfrm>
                <a:off x="2944453" y="3258427"/>
                <a:ext cx="10189" cy="9791"/>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10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8">
                    <a:moveTo>
                      <a:pt x="10" y="0"/>
                    </a:moveTo>
                    <a:lnTo>
                      <a:pt x="8" y="6"/>
                    </a:lnTo>
                    <a:lnTo>
                      <a:pt x="6" y="8"/>
                    </a:lnTo>
                    <a:lnTo>
                      <a:pt x="0" y="8"/>
                    </a:lnTo>
                    <a:lnTo>
                      <a:pt x="0" y="4"/>
                    </a:lnTo>
                    <a:lnTo>
                      <a:pt x="4" y="4"/>
                    </a:lnTo>
                    <a:lnTo>
                      <a:pt x="6" y="4"/>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3" name="Freeform 302"/>
              <p:cNvSpPr/>
              <p:nvPr/>
            </p:nvSpPr>
            <p:spPr bwMode="auto">
              <a:xfrm>
                <a:off x="2944453" y="3258427"/>
                <a:ext cx="10189" cy="9791"/>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8">
                    <a:moveTo>
                      <a:pt x="10" y="0"/>
                    </a:moveTo>
                    <a:lnTo>
                      <a:pt x="8" y="6"/>
                    </a:lnTo>
                    <a:lnTo>
                      <a:pt x="6" y="8"/>
                    </a:lnTo>
                    <a:lnTo>
                      <a:pt x="0" y="8"/>
                    </a:lnTo>
                    <a:lnTo>
                      <a:pt x="0" y="4"/>
                    </a:lnTo>
                    <a:lnTo>
                      <a:pt x="4" y="4"/>
                    </a:lnTo>
                    <a:lnTo>
                      <a:pt x="6" y="4"/>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4" name="Freeform 303"/>
              <p:cNvSpPr/>
              <p:nvPr/>
            </p:nvSpPr>
            <p:spPr bwMode="auto">
              <a:xfrm>
                <a:off x="2873138" y="3207513"/>
                <a:ext cx="4075" cy="3916"/>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0" y="2"/>
                    </a:lnTo>
                    <a:lnTo>
                      <a:pt x="0" y="4"/>
                    </a:lnTo>
                    <a:lnTo>
                      <a:pt x="2"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5" name="Freeform 304"/>
              <p:cNvSpPr/>
              <p:nvPr/>
            </p:nvSpPr>
            <p:spPr bwMode="auto">
              <a:xfrm>
                <a:off x="2873138" y="3207513"/>
                <a:ext cx="4075" cy="3916"/>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0" y="2"/>
                    </a:lnTo>
                    <a:lnTo>
                      <a:pt x="0" y="4"/>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6" name="Freeform 305"/>
              <p:cNvSpPr/>
              <p:nvPr/>
            </p:nvSpPr>
            <p:spPr bwMode="auto">
              <a:xfrm>
                <a:off x="3148212" y="4637030"/>
                <a:ext cx="8150" cy="7833"/>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6 w 8"/>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4"/>
                    </a:moveTo>
                    <a:lnTo>
                      <a:pt x="8" y="4"/>
                    </a:lnTo>
                    <a:lnTo>
                      <a:pt x="8" y="6"/>
                    </a:lnTo>
                    <a:lnTo>
                      <a:pt x="6" y="8"/>
                    </a:lnTo>
                    <a:lnTo>
                      <a:pt x="4" y="8"/>
                    </a:lnTo>
                    <a:lnTo>
                      <a:pt x="0" y="4"/>
                    </a:lnTo>
                    <a:lnTo>
                      <a:pt x="0" y="2"/>
                    </a:lnTo>
                    <a:lnTo>
                      <a:pt x="2" y="0"/>
                    </a:lnTo>
                    <a:lnTo>
                      <a:pt x="2" y="2"/>
                    </a:lnTo>
                    <a:lnTo>
                      <a:pt x="2" y="4"/>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7" name="Freeform 306"/>
              <p:cNvSpPr/>
              <p:nvPr/>
            </p:nvSpPr>
            <p:spPr bwMode="auto">
              <a:xfrm>
                <a:off x="3148212" y="4637030"/>
                <a:ext cx="8150" cy="7833"/>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6" y="4"/>
                    </a:moveTo>
                    <a:lnTo>
                      <a:pt x="8" y="4"/>
                    </a:lnTo>
                    <a:lnTo>
                      <a:pt x="8" y="6"/>
                    </a:lnTo>
                    <a:lnTo>
                      <a:pt x="6" y="8"/>
                    </a:lnTo>
                    <a:lnTo>
                      <a:pt x="4" y="8"/>
                    </a:lnTo>
                    <a:lnTo>
                      <a:pt x="0" y="4"/>
                    </a:lnTo>
                    <a:lnTo>
                      <a:pt x="0" y="2"/>
                    </a:lnTo>
                    <a:lnTo>
                      <a:pt x="2" y="0"/>
                    </a:lnTo>
                    <a:lnTo>
                      <a:pt x="2" y="2"/>
                    </a:lnTo>
                    <a:lnTo>
                      <a:pt x="2" y="4"/>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8" name="Freeform 307"/>
              <p:cNvSpPr/>
              <p:nvPr/>
            </p:nvSpPr>
            <p:spPr bwMode="auto">
              <a:xfrm>
                <a:off x="3154325" y="4627238"/>
                <a:ext cx="30563" cy="25458"/>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24 w 26"/>
                  <a:gd name="T81" fmla="*/ 2 h 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lnTo>
                      <a:pt x="2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9" name="Freeform 308"/>
              <p:cNvSpPr/>
              <p:nvPr/>
            </p:nvSpPr>
            <p:spPr bwMode="auto">
              <a:xfrm>
                <a:off x="3154325" y="4627238"/>
                <a:ext cx="30563" cy="25458"/>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0" name="Freeform 309"/>
              <p:cNvSpPr/>
              <p:nvPr/>
            </p:nvSpPr>
            <p:spPr bwMode="auto">
              <a:xfrm>
                <a:off x="3176738" y="4627238"/>
                <a:ext cx="30564" cy="27415"/>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26 w 28"/>
                  <a:gd name="T75" fmla="*/ 10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lnTo>
                      <a:pt x="26"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1" name="Freeform 310"/>
              <p:cNvSpPr/>
              <p:nvPr/>
            </p:nvSpPr>
            <p:spPr bwMode="auto">
              <a:xfrm>
                <a:off x="3176738" y="4627238"/>
                <a:ext cx="30564" cy="27415"/>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2" name="Freeform 311"/>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3" name="Freeform 312"/>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4" name="Freeform 313"/>
              <p:cNvSpPr/>
              <p:nvPr/>
            </p:nvSpPr>
            <p:spPr bwMode="auto">
              <a:xfrm>
                <a:off x="4431892" y="2449672"/>
                <a:ext cx="14264" cy="35248"/>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w 12"/>
                  <a:gd name="T15" fmla="*/ 30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30">
                    <a:moveTo>
                      <a:pt x="0" y="30"/>
                    </a:moveTo>
                    <a:lnTo>
                      <a:pt x="4" y="26"/>
                    </a:lnTo>
                    <a:lnTo>
                      <a:pt x="10" y="2"/>
                    </a:lnTo>
                    <a:lnTo>
                      <a:pt x="10" y="0"/>
                    </a:lnTo>
                    <a:lnTo>
                      <a:pt x="12" y="0"/>
                    </a:lnTo>
                    <a:lnTo>
                      <a:pt x="10" y="0"/>
                    </a:lnTo>
                    <a:lnTo>
                      <a:pt x="2" y="30"/>
                    </a:lnTo>
                    <a:lnTo>
                      <a:pt x="0"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5" name="Freeform 314"/>
              <p:cNvSpPr/>
              <p:nvPr/>
            </p:nvSpPr>
            <p:spPr bwMode="auto">
              <a:xfrm>
                <a:off x="4431892" y="2449672"/>
                <a:ext cx="14264" cy="35248"/>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30">
                    <a:moveTo>
                      <a:pt x="0" y="30"/>
                    </a:moveTo>
                    <a:lnTo>
                      <a:pt x="4" y="26"/>
                    </a:lnTo>
                    <a:lnTo>
                      <a:pt x="10" y="2"/>
                    </a:lnTo>
                    <a:lnTo>
                      <a:pt x="10" y="0"/>
                    </a:lnTo>
                    <a:lnTo>
                      <a:pt x="12" y="0"/>
                    </a:lnTo>
                    <a:lnTo>
                      <a:pt x="10" y="0"/>
                    </a:lnTo>
                    <a:lnTo>
                      <a:pt x="2" y="3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6" name="Freeform 315"/>
              <p:cNvSpPr/>
              <p:nvPr/>
            </p:nvSpPr>
            <p:spPr bwMode="auto">
              <a:xfrm>
                <a:off x="4462456" y="2432048"/>
                <a:ext cx="14262" cy="29373"/>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w 12"/>
                  <a:gd name="T39" fmla="*/ 26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lnTo>
                      <a:pt x="0"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7" name="Freeform 316"/>
              <p:cNvSpPr/>
              <p:nvPr/>
            </p:nvSpPr>
            <p:spPr bwMode="auto">
              <a:xfrm>
                <a:off x="4462456" y="2432048"/>
                <a:ext cx="14262" cy="29373"/>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8" name="Freeform 317"/>
              <p:cNvSpPr/>
              <p:nvPr/>
            </p:nvSpPr>
            <p:spPr bwMode="auto">
              <a:xfrm>
                <a:off x="4244434" y="2571083"/>
                <a:ext cx="4075" cy="7833"/>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4 w 4"/>
                  <a:gd name="T13" fmla="*/ 2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7">
                    <a:moveTo>
                      <a:pt x="4" y="2"/>
                    </a:moveTo>
                    <a:lnTo>
                      <a:pt x="4" y="0"/>
                    </a:lnTo>
                    <a:lnTo>
                      <a:pt x="0" y="7"/>
                    </a:lnTo>
                    <a:lnTo>
                      <a:pt x="2" y="6"/>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9" name="Freeform 318"/>
              <p:cNvSpPr/>
              <p:nvPr/>
            </p:nvSpPr>
            <p:spPr bwMode="auto">
              <a:xfrm>
                <a:off x="4244434" y="2571083"/>
                <a:ext cx="4075" cy="7833"/>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
                    <a:moveTo>
                      <a:pt x="4" y="2"/>
                    </a:moveTo>
                    <a:lnTo>
                      <a:pt x="4" y="0"/>
                    </a:lnTo>
                    <a:lnTo>
                      <a:pt x="0" y="7"/>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0" name="Freeform 319"/>
              <p:cNvSpPr/>
              <p:nvPr/>
            </p:nvSpPr>
            <p:spPr bwMode="auto">
              <a:xfrm>
                <a:off x="4232208" y="2612206"/>
                <a:ext cx="4075" cy="1958"/>
              </a:xfrm>
              <a:custGeom>
                <a:avLst/>
                <a:gdLst>
                  <a:gd name="T0" fmla="*/ 0 w 4"/>
                  <a:gd name="T1" fmla="*/ 0 h 2"/>
                  <a:gd name="T2" fmla="*/ 2 w 4"/>
                  <a:gd name="T3" fmla="*/ 0 h 2"/>
                  <a:gd name="T4" fmla="*/ 4 w 4"/>
                  <a:gd name="T5" fmla="*/ 2 h 2"/>
                  <a:gd name="T6" fmla="*/ 2 w 4"/>
                  <a:gd name="T7" fmla="*/ 0 h 2"/>
                  <a:gd name="T8" fmla="*/ 0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0" y="0"/>
                    </a:moveTo>
                    <a:lnTo>
                      <a:pt x="2" y="0"/>
                    </a:lnTo>
                    <a:lnTo>
                      <a:pt x="4"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1" name="Freeform 320"/>
              <p:cNvSpPr/>
              <p:nvPr/>
            </p:nvSpPr>
            <p:spPr bwMode="auto">
              <a:xfrm>
                <a:off x="4232208" y="2612206"/>
                <a:ext cx="4075" cy="1958"/>
              </a:xfrm>
              <a:custGeom>
                <a:avLst/>
                <a:gdLst>
                  <a:gd name="T0" fmla="*/ 0 w 4"/>
                  <a:gd name="T1" fmla="*/ 0 h 2"/>
                  <a:gd name="T2" fmla="*/ 2 w 4"/>
                  <a:gd name="T3" fmla="*/ 0 h 2"/>
                  <a:gd name="T4" fmla="*/ 4 w 4"/>
                  <a:gd name="T5" fmla="*/ 2 h 2"/>
                  <a:gd name="T6" fmla="*/ 2 w 4"/>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0"/>
                    </a:moveTo>
                    <a:lnTo>
                      <a:pt x="2" y="0"/>
                    </a:lnTo>
                    <a:lnTo>
                      <a:pt x="4"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2" name="Freeform 321"/>
              <p:cNvSpPr/>
              <p:nvPr/>
            </p:nvSpPr>
            <p:spPr bwMode="auto">
              <a:xfrm>
                <a:off x="4226096" y="2614164"/>
                <a:ext cx="8150" cy="1959"/>
              </a:xfrm>
              <a:custGeom>
                <a:avLst/>
                <a:gdLst>
                  <a:gd name="T0" fmla="*/ 0 w 6"/>
                  <a:gd name="T1" fmla="*/ 0 h 2"/>
                  <a:gd name="T2" fmla="*/ 2 w 6"/>
                  <a:gd name="T3" fmla="*/ 0 h 2"/>
                  <a:gd name="T4" fmla="*/ 4 w 6"/>
                  <a:gd name="T5" fmla="*/ 0 h 2"/>
                  <a:gd name="T6" fmla="*/ 6 w 6"/>
                  <a:gd name="T7" fmla="*/ 2 h 2"/>
                  <a:gd name="T8" fmla="*/ 2 w 6"/>
                  <a:gd name="T9" fmla="*/ 0 h 2"/>
                  <a:gd name="T10" fmla="*/ 0 w 6"/>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0" y="0"/>
                    </a:moveTo>
                    <a:lnTo>
                      <a:pt x="2" y="0"/>
                    </a:lnTo>
                    <a:lnTo>
                      <a:pt x="4" y="0"/>
                    </a:lnTo>
                    <a:lnTo>
                      <a:pt x="6"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3" name="Freeform 322"/>
              <p:cNvSpPr/>
              <p:nvPr/>
            </p:nvSpPr>
            <p:spPr bwMode="auto">
              <a:xfrm>
                <a:off x="4226096" y="2614164"/>
                <a:ext cx="8150" cy="1959"/>
              </a:xfrm>
              <a:custGeom>
                <a:avLst/>
                <a:gdLst>
                  <a:gd name="T0" fmla="*/ 0 w 6"/>
                  <a:gd name="T1" fmla="*/ 0 h 2"/>
                  <a:gd name="T2" fmla="*/ 2 w 6"/>
                  <a:gd name="T3" fmla="*/ 0 h 2"/>
                  <a:gd name="T4" fmla="*/ 4 w 6"/>
                  <a:gd name="T5" fmla="*/ 0 h 2"/>
                  <a:gd name="T6" fmla="*/ 6 w 6"/>
                  <a:gd name="T7" fmla="*/ 2 h 2"/>
                  <a:gd name="T8" fmla="*/ 2 w 6"/>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0" y="0"/>
                    </a:moveTo>
                    <a:lnTo>
                      <a:pt x="2" y="0"/>
                    </a:lnTo>
                    <a:lnTo>
                      <a:pt x="4" y="0"/>
                    </a:lnTo>
                    <a:lnTo>
                      <a:pt x="6"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4" name="Freeform 323"/>
              <p:cNvSpPr/>
              <p:nvPr/>
            </p:nvSpPr>
            <p:spPr bwMode="auto">
              <a:xfrm>
                <a:off x="4224058" y="2618081"/>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5" name="Freeform 324"/>
              <p:cNvSpPr/>
              <p:nvPr/>
            </p:nvSpPr>
            <p:spPr bwMode="auto">
              <a:xfrm>
                <a:off x="4224058" y="2618081"/>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6" name="Freeform 325"/>
              <p:cNvSpPr/>
              <p:nvPr/>
            </p:nvSpPr>
            <p:spPr bwMode="auto">
              <a:xfrm>
                <a:off x="4305561" y="2829571"/>
                <a:ext cx="16301" cy="35248"/>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12 w 14"/>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7" name="Freeform 326"/>
              <p:cNvSpPr/>
              <p:nvPr/>
            </p:nvSpPr>
            <p:spPr bwMode="auto">
              <a:xfrm>
                <a:off x="4305561" y="2829571"/>
                <a:ext cx="16301" cy="35248"/>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8" name="Freeform 327"/>
              <p:cNvSpPr/>
              <p:nvPr/>
            </p:nvSpPr>
            <p:spPr bwMode="auto">
              <a:xfrm>
                <a:off x="5051318" y="3207513"/>
                <a:ext cx="6113" cy="1958"/>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0" y="2"/>
                    </a:moveTo>
                    <a:lnTo>
                      <a:pt x="2" y="2"/>
                    </a:lnTo>
                    <a:lnTo>
                      <a:pt x="4" y="2"/>
                    </a:lnTo>
                    <a:lnTo>
                      <a:pt x="4" y="0"/>
                    </a:lnTo>
                    <a:lnTo>
                      <a:pt x="2" y="0"/>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9" name="Freeform 328"/>
              <p:cNvSpPr/>
              <p:nvPr/>
            </p:nvSpPr>
            <p:spPr bwMode="auto">
              <a:xfrm>
                <a:off x="5051318" y="3207513"/>
                <a:ext cx="6113" cy="1958"/>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2"/>
                    </a:moveTo>
                    <a:lnTo>
                      <a:pt x="2" y="2"/>
                    </a:lnTo>
                    <a:lnTo>
                      <a:pt x="4" y="2"/>
                    </a:lnTo>
                    <a:lnTo>
                      <a:pt x="4" y="0"/>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0" name="Freeform 329"/>
              <p:cNvSpPr/>
              <p:nvPr/>
            </p:nvSpPr>
            <p:spPr bwMode="auto">
              <a:xfrm>
                <a:off x="4869974" y="3395504"/>
                <a:ext cx="2037" cy="1958"/>
              </a:xfrm>
              <a:custGeom>
                <a:avLst/>
                <a:gdLst>
                  <a:gd name="T0" fmla="*/ 2 w 2"/>
                  <a:gd name="T1" fmla="*/ 0 h 1"/>
                  <a:gd name="T2" fmla="*/ 0 w 2"/>
                  <a:gd name="T3" fmla="*/ 0 h 1"/>
                  <a:gd name="T4" fmla="*/ 0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2" y="0"/>
                    </a:move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1" name="Freeform 330"/>
              <p:cNvSpPr/>
              <p:nvPr/>
            </p:nvSpPr>
            <p:spPr bwMode="auto">
              <a:xfrm>
                <a:off x="4867935" y="3364172"/>
                <a:ext cx="2038" cy="1958"/>
              </a:xfrm>
              <a:custGeom>
                <a:avLst/>
                <a:gdLst>
                  <a:gd name="T0" fmla="*/ 0 w 1"/>
                  <a:gd name="T1" fmla="*/ 2 h 2"/>
                  <a:gd name="T2" fmla="*/ 0 w 1"/>
                  <a:gd name="T3" fmla="*/ 0 h 2"/>
                  <a:gd name="T4" fmla="*/ 0 w 1"/>
                  <a:gd name="T5" fmla="*/ 0 h 2"/>
                  <a:gd name="T6" fmla="*/ 0 60000 65536"/>
                  <a:gd name="T7" fmla="*/ 0 60000 65536"/>
                  <a:gd name="T8" fmla="*/ 0 60000 65536"/>
                </a:gdLst>
                <a:ahLst/>
                <a:cxnLst>
                  <a:cxn ang="T6">
                    <a:pos x="T0" y="T1"/>
                  </a:cxn>
                  <a:cxn ang="T7">
                    <a:pos x="T2" y="T3"/>
                  </a:cxn>
                  <a:cxn ang="T8">
                    <a:pos x="T4" y="T5"/>
                  </a:cxn>
                </a:cxnLst>
                <a:rect l="0" t="0" r="r" b="b"/>
                <a:pathLst>
                  <a:path w="1" h="2">
                    <a:moveTo>
                      <a:pt x="0" y="2"/>
                    </a:move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2" name="Freeform 331"/>
              <p:cNvSpPr/>
              <p:nvPr/>
            </p:nvSpPr>
            <p:spPr bwMode="auto">
              <a:xfrm>
                <a:off x="5793000" y="3426836"/>
                <a:ext cx="4075" cy="587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0"/>
                    </a:moveTo>
                    <a:lnTo>
                      <a:pt x="2" y="0"/>
                    </a:lnTo>
                    <a:lnTo>
                      <a:pt x="0" y="4"/>
                    </a:lnTo>
                    <a:lnTo>
                      <a:pt x="2" y="4"/>
                    </a:lnTo>
                    <a:lnTo>
                      <a:pt x="4" y="4"/>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3" name="Freeform 332"/>
              <p:cNvSpPr/>
              <p:nvPr/>
            </p:nvSpPr>
            <p:spPr bwMode="auto">
              <a:xfrm>
                <a:off x="5793000" y="3426836"/>
                <a:ext cx="4075" cy="587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4"/>
                    </a:lnTo>
                    <a:lnTo>
                      <a:pt x="2" y="4"/>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4" name="Freeform 333"/>
              <p:cNvSpPr/>
              <p:nvPr/>
            </p:nvSpPr>
            <p:spPr bwMode="auto">
              <a:xfrm>
                <a:off x="5793000" y="3426836"/>
                <a:ext cx="2038" cy="5874"/>
              </a:xfrm>
              <a:custGeom>
                <a:avLst/>
                <a:gdLst>
                  <a:gd name="T0" fmla="*/ 0 w 2"/>
                  <a:gd name="T1" fmla="*/ 0 h 4"/>
                  <a:gd name="T2" fmla="*/ 0 w 2"/>
                  <a:gd name="T3" fmla="*/ 2 h 4"/>
                  <a:gd name="T4" fmla="*/ 0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5" name="Freeform 334"/>
              <p:cNvSpPr/>
              <p:nvPr/>
            </p:nvSpPr>
            <p:spPr bwMode="auto">
              <a:xfrm>
                <a:off x="5793000" y="3426836"/>
                <a:ext cx="2038" cy="5874"/>
              </a:xfrm>
              <a:custGeom>
                <a:avLst/>
                <a:gdLst>
                  <a:gd name="T0" fmla="*/ 0 w 2"/>
                  <a:gd name="T1" fmla="*/ 0 h 4"/>
                  <a:gd name="T2" fmla="*/ 0 w 2"/>
                  <a:gd name="T3" fmla="*/ 2 h 4"/>
                  <a:gd name="T4" fmla="*/ 0 w 2"/>
                  <a:gd name="T5" fmla="*/ 4 h 4"/>
                  <a:gd name="T6" fmla="*/ 2 w 2"/>
                  <a:gd name="T7" fmla="*/ 0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0" y="2"/>
                    </a:lnTo>
                    <a:lnTo>
                      <a:pt x="0"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6" name="Freeform 335"/>
              <p:cNvSpPr/>
              <p:nvPr/>
            </p:nvSpPr>
            <p:spPr bwMode="auto">
              <a:xfrm>
                <a:off x="5793000" y="3411170"/>
                <a:ext cx="2038" cy="7833"/>
              </a:xfrm>
              <a:custGeom>
                <a:avLst/>
                <a:gdLst>
                  <a:gd name="T0" fmla="*/ 2 w 2"/>
                  <a:gd name="T1" fmla="*/ 0 h 6"/>
                  <a:gd name="T2" fmla="*/ 0 w 2"/>
                  <a:gd name="T3" fmla="*/ 4 h 6"/>
                  <a:gd name="T4" fmla="*/ 2 w 2"/>
                  <a:gd name="T5" fmla="*/ 6 h 6"/>
                  <a:gd name="T6" fmla="*/ 2 w 2"/>
                  <a:gd name="T7" fmla="*/ 4 h 6"/>
                  <a:gd name="T8" fmla="*/ 2 w 2"/>
                  <a:gd name="T9" fmla="*/ 2 h 6"/>
                  <a:gd name="T10" fmla="*/ 2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2" y="0"/>
                    </a:moveTo>
                    <a:lnTo>
                      <a:pt x="0" y="4"/>
                    </a:lnTo>
                    <a:lnTo>
                      <a:pt x="2" y="6"/>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7" name="Freeform 336"/>
              <p:cNvSpPr/>
              <p:nvPr/>
            </p:nvSpPr>
            <p:spPr bwMode="auto">
              <a:xfrm>
                <a:off x="5793000" y="3411170"/>
                <a:ext cx="2038" cy="7833"/>
              </a:xfrm>
              <a:custGeom>
                <a:avLst/>
                <a:gdLst>
                  <a:gd name="T0" fmla="*/ 2 w 2"/>
                  <a:gd name="T1" fmla="*/ 0 h 6"/>
                  <a:gd name="T2" fmla="*/ 0 w 2"/>
                  <a:gd name="T3" fmla="*/ 4 h 6"/>
                  <a:gd name="T4" fmla="*/ 2 w 2"/>
                  <a:gd name="T5" fmla="*/ 6 h 6"/>
                  <a:gd name="T6" fmla="*/ 2 w 2"/>
                  <a:gd name="T7" fmla="*/ 4 h 6"/>
                  <a:gd name="T8" fmla="*/ 2 w 2"/>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0"/>
                    </a:moveTo>
                    <a:lnTo>
                      <a:pt x="0" y="4"/>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8" name="Freeform 337"/>
              <p:cNvSpPr/>
              <p:nvPr/>
            </p:nvSpPr>
            <p:spPr bwMode="auto">
              <a:xfrm>
                <a:off x="6106788" y="3434669"/>
                <a:ext cx="40752" cy="50914"/>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32 w 36"/>
                  <a:gd name="T67" fmla="*/ 2 h 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9" name="Freeform 338"/>
              <p:cNvSpPr/>
              <p:nvPr/>
            </p:nvSpPr>
            <p:spPr bwMode="auto">
              <a:xfrm>
                <a:off x="6106788" y="3434669"/>
                <a:ext cx="40752" cy="50914"/>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0" name="Freeform 339"/>
              <p:cNvSpPr/>
              <p:nvPr/>
            </p:nvSpPr>
            <p:spPr bwMode="auto">
              <a:xfrm>
                <a:off x="6151615" y="3424877"/>
                <a:ext cx="2038" cy="5875"/>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2" y="2"/>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1" name="Freeform 340"/>
              <p:cNvSpPr/>
              <p:nvPr/>
            </p:nvSpPr>
            <p:spPr bwMode="auto">
              <a:xfrm>
                <a:off x="6151615" y="3424877"/>
                <a:ext cx="2038" cy="5875"/>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2" y="2"/>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2" name="Freeform 341"/>
              <p:cNvSpPr/>
              <p:nvPr/>
            </p:nvSpPr>
            <p:spPr bwMode="auto">
              <a:xfrm>
                <a:off x="6151615" y="3419003"/>
                <a:ext cx="4075" cy="3916"/>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2"/>
                    </a:lnTo>
                    <a:lnTo>
                      <a:pt x="4" y="2"/>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3" name="Freeform 342"/>
              <p:cNvSpPr/>
              <p:nvPr/>
            </p:nvSpPr>
            <p:spPr bwMode="auto">
              <a:xfrm>
                <a:off x="6151615" y="3419003"/>
                <a:ext cx="4075" cy="3916"/>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2"/>
                    </a:lnTo>
                    <a:lnTo>
                      <a:pt x="4" y="2"/>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4" name="Freeform 343"/>
              <p:cNvSpPr/>
              <p:nvPr/>
            </p:nvSpPr>
            <p:spPr bwMode="auto">
              <a:xfrm>
                <a:off x="6157729" y="3397462"/>
                <a:ext cx="20376" cy="23499"/>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w 18"/>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5" name="Freeform 344"/>
              <p:cNvSpPr/>
              <p:nvPr/>
            </p:nvSpPr>
            <p:spPr bwMode="auto">
              <a:xfrm>
                <a:off x="6157729" y="3397462"/>
                <a:ext cx="20376" cy="23499"/>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6" name="Freeform 345"/>
              <p:cNvSpPr/>
              <p:nvPr/>
            </p:nvSpPr>
            <p:spPr bwMode="auto">
              <a:xfrm>
                <a:off x="6149578" y="3311299"/>
                <a:ext cx="71315" cy="105745"/>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lnTo>
                      <a:pt x="3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7" name="Freeform 346"/>
              <p:cNvSpPr/>
              <p:nvPr/>
            </p:nvSpPr>
            <p:spPr bwMode="auto">
              <a:xfrm>
                <a:off x="6149578" y="3311299"/>
                <a:ext cx="71315" cy="105745"/>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8" name="Freeform 347"/>
              <p:cNvSpPr/>
              <p:nvPr/>
            </p:nvSpPr>
            <p:spPr bwMode="auto">
              <a:xfrm>
                <a:off x="6184217" y="3372005"/>
                <a:ext cx="2038" cy="5874"/>
              </a:xfrm>
              <a:custGeom>
                <a:avLst/>
                <a:gdLst>
                  <a:gd name="T0" fmla="*/ 0 w 2"/>
                  <a:gd name="T1" fmla="*/ 2 h 6"/>
                  <a:gd name="T2" fmla="*/ 0 w 2"/>
                  <a:gd name="T3" fmla="*/ 0 h 6"/>
                  <a:gd name="T4" fmla="*/ 2 w 2"/>
                  <a:gd name="T5" fmla="*/ 6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0" y="0"/>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9" name="Freeform 348"/>
              <p:cNvSpPr/>
              <p:nvPr/>
            </p:nvSpPr>
            <p:spPr bwMode="auto">
              <a:xfrm>
                <a:off x="6184217" y="3372005"/>
                <a:ext cx="2038" cy="5874"/>
              </a:xfrm>
              <a:custGeom>
                <a:avLst/>
                <a:gdLst>
                  <a:gd name="T0" fmla="*/ 0 w 2"/>
                  <a:gd name="T1" fmla="*/ 2 h 6"/>
                  <a:gd name="T2" fmla="*/ 0 w 2"/>
                  <a:gd name="T3" fmla="*/ 0 h 6"/>
                  <a:gd name="T4" fmla="*/ 2 w 2"/>
                  <a:gd name="T5" fmla="*/ 6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0" y="0"/>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0" name="Freeform 349"/>
              <p:cNvSpPr/>
              <p:nvPr/>
            </p:nvSpPr>
            <p:spPr bwMode="auto">
              <a:xfrm>
                <a:off x="6182180" y="3397462"/>
                <a:ext cx="4075" cy="5875"/>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4"/>
                    </a:moveTo>
                    <a:lnTo>
                      <a:pt x="0" y="2"/>
                    </a:lnTo>
                    <a:lnTo>
                      <a:pt x="0" y="0"/>
                    </a:lnTo>
                    <a:lnTo>
                      <a:pt x="4" y="0"/>
                    </a:lnTo>
                    <a:lnTo>
                      <a:pt x="4" y="2"/>
                    </a:lnTo>
                    <a:lnTo>
                      <a:pt x="4" y="4"/>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1" name="Freeform 350"/>
              <p:cNvSpPr/>
              <p:nvPr/>
            </p:nvSpPr>
            <p:spPr bwMode="auto">
              <a:xfrm>
                <a:off x="6182180" y="3397462"/>
                <a:ext cx="4075" cy="5875"/>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0" y="2"/>
                    </a:lnTo>
                    <a:lnTo>
                      <a:pt x="0" y="0"/>
                    </a:lnTo>
                    <a:lnTo>
                      <a:pt x="4" y="0"/>
                    </a:lnTo>
                    <a:lnTo>
                      <a:pt x="4" y="2"/>
                    </a:lnTo>
                    <a:lnTo>
                      <a:pt x="4"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2" name="Freeform 351"/>
              <p:cNvSpPr/>
              <p:nvPr/>
            </p:nvSpPr>
            <p:spPr bwMode="auto">
              <a:xfrm>
                <a:off x="6184217" y="3415086"/>
                <a:ext cx="2038" cy="7833"/>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w 2"/>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2"/>
                    </a:moveTo>
                    <a:lnTo>
                      <a:pt x="2" y="0"/>
                    </a:lnTo>
                    <a:lnTo>
                      <a:pt x="2" y="6"/>
                    </a:lnTo>
                    <a:lnTo>
                      <a:pt x="2" y="8"/>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3" name="Freeform 352"/>
              <p:cNvSpPr/>
              <p:nvPr/>
            </p:nvSpPr>
            <p:spPr bwMode="auto">
              <a:xfrm>
                <a:off x="6184217" y="3415086"/>
                <a:ext cx="2038" cy="7833"/>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2"/>
                    </a:moveTo>
                    <a:lnTo>
                      <a:pt x="2" y="0"/>
                    </a:lnTo>
                    <a:lnTo>
                      <a:pt x="2" y="6"/>
                    </a:lnTo>
                    <a:lnTo>
                      <a:pt x="2"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4" name="Freeform 353"/>
              <p:cNvSpPr/>
              <p:nvPr/>
            </p:nvSpPr>
            <p:spPr bwMode="auto">
              <a:xfrm>
                <a:off x="6194405" y="341704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5" name="Freeform 354"/>
              <p:cNvSpPr/>
              <p:nvPr/>
            </p:nvSpPr>
            <p:spPr bwMode="auto">
              <a:xfrm>
                <a:off x="6194405" y="341704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6" name="Freeform 355"/>
              <p:cNvSpPr/>
              <p:nvPr/>
            </p:nvSpPr>
            <p:spPr bwMode="auto">
              <a:xfrm>
                <a:off x="6202556" y="3405294"/>
                <a:ext cx="4075" cy="5875"/>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2" y="2"/>
                    </a:lnTo>
                    <a:lnTo>
                      <a:pt x="4" y="4"/>
                    </a:lnTo>
                    <a:lnTo>
                      <a:pt x="4"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7" name="Freeform 356"/>
              <p:cNvSpPr/>
              <p:nvPr/>
            </p:nvSpPr>
            <p:spPr bwMode="auto">
              <a:xfrm>
                <a:off x="6202556" y="3405294"/>
                <a:ext cx="4075" cy="5875"/>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2" y="2"/>
                    </a:lnTo>
                    <a:lnTo>
                      <a:pt x="4" y="4"/>
                    </a:lnTo>
                    <a:lnTo>
                      <a:pt x="4"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8" name="Freeform 357"/>
              <p:cNvSpPr/>
              <p:nvPr/>
            </p:nvSpPr>
            <p:spPr bwMode="auto">
              <a:xfrm>
                <a:off x="6214781" y="3415086"/>
                <a:ext cx="2037" cy="1958"/>
              </a:xfrm>
              <a:custGeom>
                <a:avLst/>
                <a:gdLst>
                  <a:gd name="T0" fmla="*/ 0 w 2"/>
                  <a:gd name="T1" fmla="*/ 0 h 2"/>
                  <a:gd name="T2" fmla="*/ 2 w 2"/>
                  <a:gd name="T3" fmla="*/ 2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0"/>
                    </a:move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9" name="Freeform 358"/>
              <p:cNvSpPr/>
              <p:nvPr/>
            </p:nvSpPr>
            <p:spPr bwMode="auto">
              <a:xfrm>
                <a:off x="6206631" y="3415086"/>
                <a:ext cx="14262" cy="11749"/>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w 12"/>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0" name="Freeform 359"/>
              <p:cNvSpPr/>
              <p:nvPr/>
            </p:nvSpPr>
            <p:spPr bwMode="auto">
              <a:xfrm>
                <a:off x="6206631" y="3415086"/>
                <a:ext cx="14262" cy="11749"/>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1" name="Freeform 360"/>
              <p:cNvSpPr/>
              <p:nvPr/>
            </p:nvSpPr>
            <p:spPr bwMode="auto">
              <a:xfrm>
                <a:off x="6224969" y="3415086"/>
                <a:ext cx="22414" cy="25457"/>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w 20"/>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2" name="Freeform 361"/>
              <p:cNvSpPr/>
              <p:nvPr/>
            </p:nvSpPr>
            <p:spPr bwMode="auto">
              <a:xfrm>
                <a:off x="6224969" y="3415086"/>
                <a:ext cx="22414" cy="25457"/>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3" name="Freeform 362"/>
              <p:cNvSpPr/>
              <p:nvPr/>
            </p:nvSpPr>
            <p:spPr bwMode="auto">
              <a:xfrm>
                <a:off x="6184217" y="3424877"/>
                <a:ext cx="20376" cy="25458"/>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w 18"/>
                  <a:gd name="T37" fmla="*/ 2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4" name="Freeform 363"/>
              <p:cNvSpPr/>
              <p:nvPr/>
            </p:nvSpPr>
            <p:spPr bwMode="auto">
              <a:xfrm>
                <a:off x="6184217" y="3424877"/>
                <a:ext cx="20376" cy="25458"/>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5" name="Freeform 364"/>
              <p:cNvSpPr/>
              <p:nvPr/>
            </p:nvSpPr>
            <p:spPr bwMode="auto">
              <a:xfrm>
                <a:off x="6196442" y="3448376"/>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6" name="Freeform 365"/>
              <p:cNvSpPr/>
              <p:nvPr/>
            </p:nvSpPr>
            <p:spPr bwMode="auto">
              <a:xfrm>
                <a:off x="6196442" y="3448376"/>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7" name="Freeform 366"/>
              <p:cNvSpPr/>
              <p:nvPr/>
            </p:nvSpPr>
            <p:spPr bwMode="auto">
              <a:xfrm>
                <a:off x="6194405" y="3442502"/>
                <a:ext cx="16301" cy="31332"/>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8 w 16"/>
                  <a:gd name="T43" fmla="*/ 2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lnTo>
                      <a:pt x="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8" name="Freeform 367"/>
              <p:cNvSpPr/>
              <p:nvPr/>
            </p:nvSpPr>
            <p:spPr bwMode="auto">
              <a:xfrm>
                <a:off x="6194405" y="3442502"/>
                <a:ext cx="16301" cy="31332"/>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9" name="Freeform 368"/>
              <p:cNvSpPr/>
              <p:nvPr/>
            </p:nvSpPr>
            <p:spPr bwMode="auto">
              <a:xfrm>
                <a:off x="6224969" y="3430752"/>
                <a:ext cx="4075" cy="1958"/>
              </a:xfrm>
              <a:custGeom>
                <a:avLst/>
                <a:gdLst>
                  <a:gd name="T0" fmla="*/ 0 w 4"/>
                  <a:gd name="T1" fmla="*/ 0 h 2"/>
                  <a:gd name="T2" fmla="*/ 2 w 4"/>
                  <a:gd name="T3" fmla="*/ 0 h 2"/>
                  <a:gd name="T4" fmla="*/ 4 w 4"/>
                  <a:gd name="T5" fmla="*/ 2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2" y="0"/>
                    </a:lnTo>
                    <a:lnTo>
                      <a:pt x="4"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0" name="Freeform 369"/>
              <p:cNvSpPr/>
              <p:nvPr/>
            </p:nvSpPr>
            <p:spPr bwMode="auto">
              <a:xfrm>
                <a:off x="6224969" y="3430752"/>
                <a:ext cx="4075" cy="1958"/>
              </a:xfrm>
              <a:custGeom>
                <a:avLst/>
                <a:gdLst>
                  <a:gd name="T0" fmla="*/ 0 w 4"/>
                  <a:gd name="T1" fmla="*/ 0 h 2"/>
                  <a:gd name="T2" fmla="*/ 2 w 4"/>
                  <a:gd name="T3" fmla="*/ 0 h 2"/>
                  <a:gd name="T4" fmla="*/ 4 w 4"/>
                  <a:gd name="T5" fmla="*/ 2 h 2"/>
                  <a:gd name="T6" fmla="*/ 2 w 4"/>
                  <a:gd name="T7" fmla="*/ 2 h 2"/>
                  <a:gd name="T8" fmla="*/ 2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0" y="0"/>
                    </a:moveTo>
                    <a:lnTo>
                      <a:pt x="2" y="0"/>
                    </a:lnTo>
                    <a:lnTo>
                      <a:pt x="4"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1" name="Freeform 370"/>
              <p:cNvSpPr/>
              <p:nvPr/>
            </p:nvSpPr>
            <p:spPr bwMode="auto">
              <a:xfrm>
                <a:off x="6224969" y="3432710"/>
                <a:ext cx="16301" cy="25458"/>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w 14"/>
                  <a:gd name="T41" fmla="*/ 0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2" name="Freeform 371"/>
              <p:cNvSpPr/>
              <p:nvPr/>
            </p:nvSpPr>
            <p:spPr bwMode="auto">
              <a:xfrm>
                <a:off x="6224969" y="3432710"/>
                <a:ext cx="16301" cy="25458"/>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3" name="Freeform 372"/>
              <p:cNvSpPr/>
              <p:nvPr/>
            </p:nvSpPr>
            <p:spPr bwMode="auto">
              <a:xfrm>
                <a:off x="6245344" y="3450335"/>
                <a:ext cx="2038" cy="9791"/>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w 2"/>
                  <a:gd name="T15" fmla="*/ 5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9">
                    <a:moveTo>
                      <a:pt x="0" y="5"/>
                    </a:moveTo>
                    <a:lnTo>
                      <a:pt x="0" y="1"/>
                    </a:lnTo>
                    <a:lnTo>
                      <a:pt x="2" y="0"/>
                    </a:lnTo>
                    <a:lnTo>
                      <a:pt x="2" y="1"/>
                    </a:lnTo>
                    <a:lnTo>
                      <a:pt x="2" y="9"/>
                    </a:lnTo>
                    <a:lnTo>
                      <a:pt x="2" y="7"/>
                    </a:lnTo>
                    <a:lnTo>
                      <a:pt x="2" y="5"/>
                    </a:lnTo>
                    <a:lnTo>
                      <a:pt x="0" y="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4" name="Freeform 373"/>
              <p:cNvSpPr/>
              <p:nvPr/>
            </p:nvSpPr>
            <p:spPr bwMode="auto">
              <a:xfrm>
                <a:off x="6245344" y="3450335"/>
                <a:ext cx="2038" cy="9791"/>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0" y="5"/>
                    </a:moveTo>
                    <a:lnTo>
                      <a:pt x="0" y="1"/>
                    </a:lnTo>
                    <a:lnTo>
                      <a:pt x="2" y="0"/>
                    </a:lnTo>
                    <a:lnTo>
                      <a:pt x="2" y="1"/>
                    </a:lnTo>
                    <a:lnTo>
                      <a:pt x="2" y="9"/>
                    </a:lnTo>
                    <a:lnTo>
                      <a:pt x="2" y="7"/>
                    </a:lnTo>
                    <a:lnTo>
                      <a:pt x="2" y="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5" name="Rectangle 374"/>
              <p:cNvSpPr>
                <a:spLocks noChangeArrowheads="1"/>
              </p:cNvSpPr>
              <p:nvPr/>
            </p:nvSpPr>
            <p:spPr bwMode="auto">
              <a:xfrm>
                <a:off x="6251458" y="3458168"/>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6" name="Freeform 375"/>
              <p:cNvSpPr/>
              <p:nvPr/>
            </p:nvSpPr>
            <p:spPr bwMode="auto">
              <a:xfrm>
                <a:off x="6208668" y="3436626"/>
                <a:ext cx="12226" cy="31332"/>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8 w 10"/>
                  <a:gd name="T17" fmla="*/ 2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27">
                    <a:moveTo>
                      <a:pt x="8" y="2"/>
                    </a:moveTo>
                    <a:lnTo>
                      <a:pt x="10" y="0"/>
                    </a:lnTo>
                    <a:lnTo>
                      <a:pt x="10" y="13"/>
                    </a:lnTo>
                    <a:lnTo>
                      <a:pt x="6" y="15"/>
                    </a:lnTo>
                    <a:lnTo>
                      <a:pt x="2" y="25"/>
                    </a:lnTo>
                    <a:lnTo>
                      <a:pt x="0" y="27"/>
                    </a:lnTo>
                    <a:lnTo>
                      <a:pt x="0" y="21"/>
                    </a:lnTo>
                    <a:lnTo>
                      <a:pt x="6" y="2"/>
                    </a:lnTo>
                    <a:lnTo>
                      <a:pt x="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7" name="Freeform 376"/>
              <p:cNvSpPr/>
              <p:nvPr/>
            </p:nvSpPr>
            <p:spPr bwMode="auto">
              <a:xfrm>
                <a:off x="6208668" y="3436626"/>
                <a:ext cx="12226" cy="31332"/>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27">
                    <a:moveTo>
                      <a:pt x="8" y="2"/>
                    </a:moveTo>
                    <a:lnTo>
                      <a:pt x="10" y="0"/>
                    </a:lnTo>
                    <a:lnTo>
                      <a:pt x="10" y="13"/>
                    </a:lnTo>
                    <a:lnTo>
                      <a:pt x="6" y="15"/>
                    </a:lnTo>
                    <a:lnTo>
                      <a:pt x="2" y="25"/>
                    </a:lnTo>
                    <a:lnTo>
                      <a:pt x="0" y="27"/>
                    </a:lnTo>
                    <a:lnTo>
                      <a:pt x="0" y="21"/>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8" name="Freeform 377"/>
              <p:cNvSpPr/>
              <p:nvPr/>
            </p:nvSpPr>
            <p:spPr bwMode="auto">
              <a:xfrm>
                <a:off x="6216818" y="3456209"/>
                <a:ext cx="12226" cy="7833"/>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w 12"/>
                  <a:gd name="T29" fmla="*/ 4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9" name="Freeform 378"/>
              <p:cNvSpPr/>
              <p:nvPr/>
            </p:nvSpPr>
            <p:spPr bwMode="auto">
              <a:xfrm>
                <a:off x="6216818" y="3456209"/>
                <a:ext cx="12226" cy="7833"/>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0" name="Freeform 379"/>
              <p:cNvSpPr/>
              <p:nvPr/>
            </p:nvSpPr>
            <p:spPr bwMode="auto">
              <a:xfrm>
                <a:off x="6184217" y="3462084"/>
                <a:ext cx="77428" cy="70497"/>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52 w 70"/>
                  <a:gd name="T75" fmla="*/ 0 h 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lnTo>
                      <a:pt x="5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1" name="Freeform 380"/>
              <p:cNvSpPr/>
              <p:nvPr/>
            </p:nvSpPr>
            <p:spPr bwMode="auto">
              <a:xfrm>
                <a:off x="6184217" y="3462084"/>
                <a:ext cx="77428" cy="70497"/>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2" name="Freeform 381"/>
              <p:cNvSpPr/>
              <p:nvPr/>
            </p:nvSpPr>
            <p:spPr bwMode="auto">
              <a:xfrm>
                <a:off x="6182180" y="3511040"/>
                <a:ext cx="10187" cy="7833"/>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w 8"/>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0" y="2"/>
                    </a:moveTo>
                    <a:lnTo>
                      <a:pt x="2" y="0"/>
                    </a:lnTo>
                    <a:lnTo>
                      <a:pt x="4" y="0"/>
                    </a:lnTo>
                    <a:lnTo>
                      <a:pt x="6" y="2"/>
                    </a:lnTo>
                    <a:lnTo>
                      <a:pt x="8" y="2"/>
                    </a:lnTo>
                    <a:lnTo>
                      <a:pt x="6" y="4"/>
                    </a:lnTo>
                    <a:lnTo>
                      <a:pt x="2"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3" name="Freeform 382"/>
              <p:cNvSpPr/>
              <p:nvPr/>
            </p:nvSpPr>
            <p:spPr bwMode="auto">
              <a:xfrm>
                <a:off x="6182180" y="3511040"/>
                <a:ext cx="10187" cy="7833"/>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6">
                    <a:moveTo>
                      <a:pt x="0" y="2"/>
                    </a:moveTo>
                    <a:lnTo>
                      <a:pt x="2" y="0"/>
                    </a:lnTo>
                    <a:lnTo>
                      <a:pt x="4" y="0"/>
                    </a:lnTo>
                    <a:lnTo>
                      <a:pt x="6" y="2"/>
                    </a:lnTo>
                    <a:lnTo>
                      <a:pt x="8" y="2"/>
                    </a:lnTo>
                    <a:lnTo>
                      <a:pt x="6" y="4"/>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4" name="Freeform 383"/>
              <p:cNvSpPr/>
              <p:nvPr/>
            </p:nvSpPr>
            <p:spPr bwMode="auto">
              <a:xfrm>
                <a:off x="6169954" y="3524748"/>
                <a:ext cx="6112" cy="3916"/>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0" y="0"/>
                    </a:lnTo>
                    <a:lnTo>
                      <a:pt x="2" y="0"/>
                    </a:lnTo>
                    <a:lnTo>
                      <a:pt x="6" y="0"/>
                    </a:lnTo>
                    <a:lnTo>
                      <a:pt x="6" y="2"/>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5" name="Freeform 384"/>
              <p:cNvSpPr/>
              <p:nvPr/>
            </p:nvSpPr>
            <p:spPr bwMode="auto">
              <a:xfrm>
                <a:off x="6169954" y="3524748"/>
                <a:ext cx="6112" cy="3916"/>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2"/>
                    </a:moveTo>
                    <a:lnTo>
                      <a:pt x="0" y="0"/>
                    </a:lnTo>
                    <a:lnTo>
                      <a:pt x="2" y="0"/>
                    </a:lnTo>
                    <a:lnTo>
                      <a:pt x="6" y="0"/>
                    </a:lnTo>
                    <a:lnTo>
                      <a:pt x="6"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6" name="Freeform 385"/>
              <p:cNvSpPr/>
              <p:nvPr/>
            </p:nvSpPr>
            <p:spPr bwMode="auto">
              <a:xfrm>
                <a:off x="6149578" y="3536497"/>
                <a:ext cx="6112" cy="3916"/>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2 w 6"/>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2" y="4"/>
                    </a:moveTo>
                    <a:lnTo>
                      <a:pt x="0" y="4"/>
                    </a:lnTo>
                    <a:lnTo>
                      <a:pt x="2" y="2"/>
                    </a:lnTo>
                    <a:lnTo>
                      <a:pt x="4" y="0"/>
                    </a:lnTo>
                    <a:lnTo>
                      <a:pt x="6"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7" name="Freeform 386"/>
              <p:cNvSpPr/>
              <p:nvPr/>
            </p:nvSpPr>
            <p:spPr bwMode="auto">
              <a:xfrm>
                <a:off x="6149578" y="3536497"/>
                <a:ext cx="6112" cy="3916"/>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2" y="4"/>
                    </a:moveTo>
                    <a:lnTo>
                      <a:pt x="0" y="4"/>
                    </a:lnTo>
                    <a:lnTo>
                      <a:pt x="2" y="2"/>
                    </a:lnTo>
                    <a:lnTo>
                      <a:pt x="4" y="0"/>
                    </a:lnTo>
                    <a:lnTo>
                      <a:pt x="6"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8" name="Freeform 387"/>
              <p:cNvSpPr/>
              <p:nvPr/>
            </p:nvSpPr>
            <p:spPr bwMode="auto">
              <a:xfrm>
                <a:off x="6813832" y="3820442"/>
                <a:ext cx="6112" cy="5875"/>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2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2" y="2"/>
                    </a:moveTo>
                    <a:lnTo>
                      <a:pt x="0" y="2"/>
                    </a:lnTo>
                    <a:lnTo>
                      <a:pt x="2" y="0"/>
                    </a:lnTo>
                    <a:lnTo>
                      <a:pt x="6" y="2"/>
                    </a:lnTo>
                    <a:lnTo>
                      <a:pt x="6" y="4"/>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9" name="Freeform 388"/>
              <p:cNvSpPr/>
              <p:nvPr/>
            </p:nvSpPr>
            <p:spPr bwMode="auto">
              <a:xfrm>
                <a:off x="6813832" y="3820442"/>
                <a:ext cx="6112" cy="5875"/>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2" y="2"/>
                    </a:moveTo>
                    <a:lnTo>
                      <a:pt x="0" y="2"/>
                    </a:lnTo>
                    <a:lnTo>
                      <a:pt x="2" y="0"/>
                    </a:lnTo>
                    <a:lnTo>
                      <a:pt x="6" y="2"/>
                    </a:lnTo>
                    <a:lnTo>
                      <a:pt x="6"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0" name="Freeform 389"/>
              <p:cNvSpPr/>
              <p:nvPr/>
            </p:nvSpPr>
            <p:spPr bwMode="auto">
              <a:xfrm>
                <a:off x="6940162" y="4509744"/>
                <a:ext cx="10187" cy="15666"/>
              </a:xfrm>
              <a:custGeom>
                <a:avLst/>
                <a:gdLst>
                  <a:gd name="T0" fmla="*/ 6 w 10"/>
                  <a:gd name="T1" fmla="*/ 2 h 14"/>
                  <a:gd name="T2" fmla="*/ 8 w 10"/>
                  <a:gd name="T3" fmla="*/ 4 h 14"/>
                  <a:gd name="T4" fmla="*/ 8 w 10"/>
                  <a:gd name="T5" fmla="*/ 6 h 14"/>
                  <a:gd name="T6" fmla="*/ 10 w 10"/>
                  <a:gd name="T7" fmla="*/ 6 h 14"/>
                  <a:gd name="T8" fmla="*/ 10 w 10"/>
                  <a:gd name="T9" fmla="*/ 8 h 14"/>
                  <a:gd name="T10" fmla="*/ 8 w 10"/>
                  <a:gd name="T11" fmla="*/ 8 h 14"/>
                  <a:gd name="T12" fmla="*/ 6 w 10"/>
                  <a:gd name="T13" fmla="*/ 10 h 14"/>
                  <a:gd name="T14" fmla="*/ 4 w 10"/>
                  <a:gd name="T15" fmla="*/ 10 h 14"/>
                  <a:gd name="T16" fmla="*/ 2 w 10"/>
                  <a:gd name="T17" fmla="*/ 14 h 14"/>
                  <a:gd name="T18" fmla="*/ 0 w 10"/>
                  <a:gd name="T19" fmla="*/ 12 h 14"/>
                  <a:gd name="T20" fmla="*/ 0 w 10"/>
                  <a:gd name="T21" fmla="*/ 8 h 14"/>
                  <a:gd name="T22" fmla="*/ 4 w 10"/>
                  <a:gd name="T23" fmla="*/ 4 h 14"/>
                  <a:gd name="T24" fmla="*/ 4 w 10"/>
                  <a:gd name="T25" fmla="*/ 0 h 14"/>
                  <a:gd name="T26" fmla="*/ 4 w 10"/>
                  <a:gd name="T27" fmla="*/ 2 h 14"/>
                  <a:gd name="T28" fmla="*/ 6 w 10"/>
                  <a:gd name="T29" fmla="*/ 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6" y="2"/>
                    </a:move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1" name="Freeform 390"/>
              <p:cNvSpPr/>
              <p:nvPr/>
            </p:nvSpPr>
            <p:spPr bwMode="auto">
              <a:xfrm>
                <a:off x="6940162" y="4509744"/>
                <a:ext cx="10187" cy="15666"/>
              </a:xfrm>
              <a:custGeom>
                <a:avLst/>
                <a:gdLst>
                  <a:gd name="T0" fmla="*/ 6 w 10"/>
                  <a:gd name="T1" fmla="*/ 2 h 14"/>
                  <a:gd name="T2" fmla="*/ 6 w 10"/>
                  <a:gd name="T3" fmla="*/ 0 h 14"/>
                  <a:gd name="T4" fmla="*/ 6 w 10"/>
                  <a:gd name="T5" fmla="*/ 0 h 14"/>
                  <a:gd name="T6" fmla="*/ 8 w 10"/>
                  <a:gd name="T7" fmla="*/ 4 h 14"/>
                  <a:gd name="T8" fmla="*/ 8 w 10"/>
                  <a:gd name="T9" fmla="*/ 6 h 14"/>
                  <a:gd name="T10" fmla="*/ 10 w 10"/>
                  <a:gd name="T11" fmla="*/ 6 h 14"/>
                  <a:gd name="T12" fmla="*/ 10 w 10"/>
                  <a:gd name="T13" fmla="*/ 8 h 14"/>
                  <a:gd name="T14" fmla="*/ 8 w 10"/>
                  <a:gd name="T15" fmla="*/ 8 h 14"/>
                  <a:gd name="T16" fmla="*/ 6 w 10"/>
                  <a:gd name="T17" fmla="*/ 10 h 14"/>
                  <a:gd name="T18" fmla="*/ 4 w 10"/>
                  <a:gd name="T19" fmla="*/ 10 h 14"/>
                  <a:gd name="T20" fmla="*/ 2 w 10"/>
                  <a:gd name="T21" fmla="*/ 14 h 14"/>
                  <a:gd name="T22" fmla="*/ 0 w 10"/>
                  <a:gd name="T23" fmla="*/ 12 h 14"/>
                  <a:gd name="T24" fmla="*/ 0 w 10"/>
                  <a:gd name="T25" fmla="*/ 8 h 14"/>
                  <a:gd name="T26" fmla="*/ 4 w 10"/>
                  <a:gd name="T27" fmla="*/ 4 h 14"/>
                  <a:gd name="T28" fmla="*/ 4 w 10"/>
                  <a:gd name="T29" fmla="*/ 0 h 14"/>
                  <a:gd name="T30" fmla="*/ 4 w 10"/>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4">
                    <a:moveTo>
                      <a:pt x="6" y="2"/>
                    </a:moveTo>
                    <a:lnTo>
                      <a:pt x="6" y="0"/>
                    </a:ln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2" name="Freeform 391"/>
              <p:cNvSpPr/>
              <p:nvPr/>
            </p:nvSpPr>
            <p:spPr bwMode="auto">
              <a:xfrm>
                <a:off x="6921823" y="4368750"/>
                <a:ext cx="128369" cy="140994"/>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lnTo>
                      <a:pt x="8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3" name="Freeform 392"/>
              <p:cNvSpPr/>
              <p:nvPr/>
            </p:nvSpPr>
            <p:spPr bwMode="auto">
              <a:xfrm>
                <a:off x="6921823" y="4368750"/>
                <a:ext cx="128369" cy="140994"/>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4" name="Freeform 393"/>
              <p:cNvSpPr/>
              <p:nvPr/>
            </p:nvSpPr>
            <p:spPr bwMode="auto">
              <a:xfrm>
                <a:off x="7025741" y="4237549"/>
                <a:ext cx="95766" cy="152743"/>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lnTo>
                      <a:pt x="30"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5" name="Freeform 394"/>
              <p:cNvSpPr/>
              <p:nvPr/>
            </p:nvSpPr>
            <p:spPr bwMode="auto">
              <a:xfrm>
                <a:off x="7025741" y="4237549"/>
                <a:ext cx="95766" cy="152743"/>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6" name="Freeform 395"/>
              <p:cNvSpPr/>
              <p:nvPr/>
            </p:nvSpPr>
            <p:spPr bwMode="auto">
              <a:xfrm>
                <a:off x="6726215" y="3706864"/>
                <a:ext cx="2038" cy="7833"/>
              </a:xfrm>
              <a:custGeom>
                <a:avLst/>
                <a:gdLst>
                  <a:gd name="T0" fmla="*/ 0 w 2"/>
                  <a:gd name="T1" fmla="*/ 0 h 6"/>
                  <a:gd name="T2" fmla="*/ 2 w 2"/>
                  <a:gd name="T3" fmla="*/ 6 h 6"/>
                  <a:gd name="T4" fmla="*/ 0 w 2"/>
                  <a:gd name="T5" fmla="*/ 4 h 6"/>
                  <a:gd name="T6" fmla="*/ 0 w 2"/>
                  <a:gd name="T7" fmla="*/ 2 h 6"/>
                  <a:gd name="T8" fmla="*/ 0 w 2"/>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0"/>
                    </a:moveTo>
                    <a:lnTo>
                      <a:pt x="2"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7" name="Freeform 396"/>
              <p:cNvSpPr/>
              <p:nvPr/>
            </p:nvSpPr>
            <p:spPr bwMode="auto">
              <a:xfrm>
                <a:off x="6726215" y="3706864"/>
                <a:ext cx="2038" cy="7833"/>
              </a:xfrm>
              <a:custGeom>
                <a:avLst/>
                <a:gdLst>
                  <a:gd name="T0" fmla="*/ 0 w 2"/>
                  <a:gd name="T1" fmla="*/ 0 h 6"/>
                  <a:gd name="T2" fmla="*/ 2 w 2"/>
                  <a:gd name="T3" fmla="*/ 6 h 6"/>
                  <a:gd name="T4" fmla="*/ 0 w 2"/>
                  <a:gd name="T5" fmla="*/ 4 h 6"/>
                  <a:gd name="T6" fmla="*/ 0 w 2"/>
                  <a:gd name="T7" fmla="*/ 2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6">
                    <a:moveTo>
                      <a:pt x="0" y="0"/>
                    </a:move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8" name="Freeform 397"/>
              <p:cNvSpPr/>
              <p:nvPr/>
            </p:nvSpPr>
            <p:spPr bwMode="auto">
              <a:xfrm>
                <a:off x="6728253" y="3716656"/>
                <a:ext cx="22413" cy="2154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w 20"/>
                  <a:gd name="T29" fmla="*/ 0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9" name="Freeform 398"/>
              <p:cNvSpPr/>
              <p:nvPr/>
            </p:nvSpPr>
            <p:spPr bwMode="auto">
              <a:xfrm>
                <a:off x="6728253" y="3716656"/>
                <a:ext cx="22413" cy="2154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0" name="Freeform 399"/>
              <p:cNvSpPr/>
              <p:nvPr/>
            </p:nvSpPr>
            <p:spPr bwMode="auto">
              <a:xfrm>
                <a:off x="6758816" y="3734279"/>
                <a:ext cx="16301" cy="13708"/>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w 14"/>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1" name="Freeform 400"/>
              <p:cNvSpPr/>
              <p:nvPr/>
            </p:nvSpPr>
            <p:spPr bwMode="auto">
              <a:xfrm>
                <a:off x="6758816" y="3734279"/>
                <a:ext cx="16301" cy="13708"/>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2" name="Freeform 401"/>
              <p:cNvSpPr/>
              <p:nvPr/>
            </p:nvSpPr>
            <p:spPr bwMode="auto">
              <a:xfrm>
                <a:off x="6758816" y="3751904"/>
                <a:ext cx="6113" cy="3916"/>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0"/>
                    </a:lnTo>
                    <a:lnTo>
                      <a:pt x="4" y="2"/>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3" name="Freeform 402"/>
              <p:cNvSpPr/>
              <p:nvPr/>
            </p:nvSpPr>
            <p:spPr bwMode="auto">
              <a:xfrm>
                <a:off x="6758816" y="3751904"/>
                <a:ext cx="6113" cy="3916"/>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0"/>
                    </a:lnTo>
                    <a:lnTo>
                      <a:pt x="4" y="2"/>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4" name="Freeform 403"/>
              <p:cNvSpPr/>
              <p:nvPr/>
            </p:nvSpPr>
            <p:spPr bwMode="auto">
              <a:xfrm>
                <a:off x="6766967" y="3755821"/>
                <a:ext cx="4075" cy="3916"/>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4" y="2"/>
                    </a:ln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5" name="Freeform 404"/>
              <p:cNvSpPr/>
              <p:nvPr/>
            </p:nvSpPr>
            <p:spPr bwMode="auto">
              <a:xfrm>
                <a:off x="6766967" y="3755821"/>
                <a:ext cx="4075" cy="3916"/>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6" name="Freeform 405"/>
              <p:cNvSpPr/>
              <p:nvPr/>
            </p:nvSpPr>
            <p:spPr bwMode="auto">
              <a:xfrm>
                <a:off x="6771042" y="3757778"/>
                <a:ext cx="10189" cy="9792"/>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w 10"/>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8">
                    <a:moveTo>
                      <a:pt x="0" y="4"/>
                    </a:moveTo>
                    <a:lnTo>
                      <a:pt x="0" y="2"/>
                    </a:lnTo>
                    <a:lnTo>
                      <a:pt x="0" y="0"/>
                    </a:lnTo>
                    <a:lnTo>
                      <a:pt x="2" y="0"/>
                    </a:lnTo>
                    <a:lnTo>
                      <a:pt x="4" y="0"/>
                    </a:lnTo>
                    <a:lnTo>
                      <a:pt x="6" y="2"/>
                    </a:lnTo>
                    <a:lnTo>
                      <a:pt x="8" y="4"/>
                    </a:lnTo>
                    <a:lnTo>
                      <a:pt x="10" y="8"/>
                    </a:lnTo>
                    <a:lnTo>
                      <a:pt x="8" y="8"/>
                    </a:lnTo>
                    <a:lnTo>
                      <a:pt x="4" y="4"/>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7" name="Freeform 406"/>
              <p:cNvSpPr/>
              <p:nvPr/>
            </p:nvSpPr>
            <p:spPr bwMode="auto">
              <a:xfrm>
                <a:off x="6771042" y="3757778"/>
                <a:ext cx="10189" cy="9792"/>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8">
                    <a:moveTo>
                      <a:pt x="0" y="4"/>
                    </a:moveTo>
                    <a:lnTo>
                      <a:pt x="0" y="2"/>
                    </a:lnTo>
                    <a:lnTo>
                      <a:pt x="0" y="0"/>
                    </a:lnTo>
                    <a:lnTo>
                      <a:pt x="2" y="0"/>
                    </a:lnTo>
                    <a:lnTo>
                      <a:pt x="4" y="0"/>
                    </a:lnTo>
                    <a:lnTo>
                      <a:pt x="6" y="2"/>
                    </a:lnTo>
                    <a:lnTo>
                      <a:pt x="8" y="4"/>
                    </a:lnTo>
                    <a:lnTo>
                      <a:pt x="10" y="8"/>
                    </a:lnTo>
                    <a:lnTo>
                      <a:pt x="8" y="8"/>
                    </a:lnTo>
                    <a:lnTo>
                      <a:pt x="4"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8" name="Freeform 407"/>
              <p:cNvSpPr/>
              <p:nvPr/>
            </p:nvSpPr>
            <p:spPr bwMode="auto">
              <a:xfrm>
                <a:off x="6771042" y="3765611"/>
                <a:ext cx="2038" cy="3916"/>
              </a:xfrm>
              <a:custGeom>
                <a:avLst/>
                <a:gdLst>
                  <a:gd name="T0" fmla="*/ 0 w 2"/>
                  <a:gd name="T1" fmla="*/ 2 h 4"/>
                  <a:gd name="T2" fmla="*/ 2 w 2"/>
                  <a:gd name="T3" fmla="*/ 0 h 4"/>
                  <a:gd name="T4" fmla="*/ 2 w 2"/>
                  <a:gd name="T5" fmla="*/ 2 h 4"/>
                  <a:gd name="T6" fmla="*/ 2 w 2"/>
                  <a:gd name="T7" fmla="*/ 4 h 4"/>
                  <a:gd name="T8" fmla="*/ 2 w 2"/>
                  <a:gd name="T9" fmla="*/ 2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0"/>
                    </a:lnTo>
                    <a:lnTo>
                      <a:pt x="2" y="2"/>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9" name="Freeform 408"/>
              <p:cNvSpPr/>
              <p:nvPr/>
            </p:nvSpPr>
            <p:spPr bwMode="auto">
              <a:xfrm>
                <a:off x="6771042" y="3765611"/>
                <a:ext cx="2038" cy="3916"/>
              </a:xfrm>
              <a:custGeom>
                <a:avLst/>
                <a:gdLst>
                  <a:gd name="T0" fmla="*/ 0 w 2"/>
                  <a:gd name="T1" fmla="*/ 2 h 4"/>
                  <a:gd name="T2" fmla="*/ 2 w 2"/>
                  <a:gd name="T3" fmla="*/ 0 h 4"/>
                  <a:gd name="T4" fmla="*/ 2 w 2"/>
                  <a:gd name="T5" fmla="*/ 2 h 4"/>
                  <a:gd name="T6" fmla="*/ 2 w 2"/>
                  <a:gd name="T7" fmla="*/ 4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0" name="Freeform 409"/>
              <p:cNvSpPr/>
              <p:nvPr/>
            </p:nvSpPr>
            <p:spPr bwMode="auto">
              <a:xfrm>
                <a:off x="6781231" y="3767570"/>
                <a:ext cx="2037" cy="1958"/>
              </a:xfrm>
              <a:custGeom>
                <a:avLst/>
                <a:gdLst>
                  <a:gd name="T0" fmla="*/ 0 w 2"/>
                  <a:gd name="T1" fmla="*/ 2 h 2"/>
                  <a:gd name="T2" fmla="*/ 0 w 2"/>
                  <a:gd name="T3" fmla="*/ 0 h 2"/>
                  <a:gd name="T4" fmla="*/ 2 w 2"/>
                  <a:gd name="T5" fmla="*/ 0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0"/>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1" name="Freeform 410"/>
              <p:cNvSpPr/>
              <p:nvPr/>
            </p:nvSpPr>
            <p:spPr bwMode="auto">
              <a:xfrm>
                <a:off x="6781231" y="3767570"/>
                <a:ext cx="2037" cy="1958"/>
              </a:xfrm>
              <a:custGeom>
                <a:avLst/>
                <a:gdLst>
                  <a:gd name="T0" fmla="*/ 0 w 2"/>
                  <a:gd name="T1" fmla="*/ 2 h 2"/>
                  <a:gd name="T2" fmla="*/ 0 w 2"/>
                  <a:gd name="T3" fmla="*/ 0 h 2"/>
                  <a:gd name="T4" fmla="*/ 2 w 2"/>
                  <a:gd name="T5" fmla="*/ 0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2" name="Freeform 411"/>
              <p:cNvSpPr/>
              <p:nvPr/>
            </p:nvSpPr>
            <p:spPr bwMode="auto">
              <a:xfrm>
                <a:off x="6793456" y="3749945"/>
                <a:ext cx="22413" cy="17625"/>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w 20"/>
                  <a:gd name="T15" fmla="*/ 2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6">
                    <a:moveTo>
                      <a:pt x="0" y="2"/>
                    </a:moveTo>
                    <a:lnTo>
                      <a:pt x="0" y="0"/>
                    </a:lnTo>
                    <a:lnTo>
                      <a:pt x="18" y="12"/>
                    </a:lnTo>
                    <a:lnTo>
                      <a:pt x="20" y="14"/>
                    </a:lnTo>
                    <a:lnTo>
                      <a:pt x="20" y="1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3" name="Freeform 412"/>
              <p:cNvSpPr/>
              <p:nvPr/>
            </p:nvSpPr>
            <p:spPr bwMode="auto">
              <a:xfrm>
                <a:off x="6793456" y="3749945"/>
                <a:ext cx="22413" cy="17625"/>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6">
                    <a:moveTo>
                      <a:pt x="0" y="2"/>
                    </a:moveTo>
                    <a:lnTo>
                      <a:pt x="0" y="0"/>
                    </a:lnTo>
                    <a:lnTo>
                      <a:pt x="18" y="12"/>
                    </a:lnTo>
                    <a:lnTo>
                      <a:pt x="20" y="14"/>
                    </a:lnTo>
                    <a:lnTo>
                      <a:pt x="20" y="1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4" name="Freeform 413"/>
              <p:cNvSpPr/>
              <p:nvPr/>
            </p:nvSpPr>
            <p:spPr bwMode="auto">
              <a:xfrm>
                <a:off x="6828094" y="3765611"/>
                <a:ext cx="16301" cy="19582"/>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w 14"/>
                  <a:gd name="T31" fmla="*/ 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5" name="Freeform 414"/>
              <p:cNvSpPr/>
              <p:nvPr/>
            </p:nvSpPr>
            <p:spPr bwMode="auto">
              <a:xfrm>
                <a:off x="6828094" y="3765611"/>
                <a:ext cx="16301" cy="19582"/>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6" name="Freeform 415"/>
              <p:cNvSpPr/>
              <p:nvPr/>
            </p:nvSpPr>
            <p:spPr bwMode="auto">
              <a:xfrm>
                <a:off x="6819944" y="3773444"/>
                <a:ext cx="4075" cy="5875"/>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0"/>
                    </a:lnTo>
                    <a:lnTo>
                      <a:pt x="2" y="0"/>
                    </a:lnTo>
                    <a:lnTo>
                      <a:pt x="2" y="2"/>
                    </a:lnTo>
                    <a:lnTo>
                      <a:pt x="4" y="2"/>
                    </a:lnTo>
                    <a:lnTo>
                      <a:pt x="4" y="4"/>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7" name="Freeform 416"/>
              <p:cNvSpPr/>
              <p:nvPr/>
            </p:nvSpPr>
            <p:spPr bwMode="auto">
              <a:xfrm>
                <a:off x="6819944" y="3773444"/>
                <a:ext cx="4075" cy="5875"/>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2"/>
                    </a:moveTo>
                    <a:lnTo>
                      <a:pt x="0" y="0"/>
                    </a:lnTo>
                    <a:lnTo>
                      <a:pt x="2" y="0"/>
                    </a:lnTo>
                    <a:lnTo>
                      <a:pt x="2" y="2"/>
                    </a:lnTo>
                    <a:lnTo>
                      <a:pt x="4" y="2"/>
                    </a:lnTo>
                    <a:lnTo>
                      <a:pt x="4"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8" name="Freeform 417"/>
              <p:cNvSpPr/>
              <p:nvPr/>
            </p:nvSpPr>
            <p:spPr bwMode="auto">
              <a:xfrm>
                <a:off x="6807718" y="3779320"/>
                <a:ext cx="22414" cy="11749"/>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2 w 20"/>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9" name="Freeform 418"/>
              <p:cNvSpPr/>
              <p:nvPr/>
            </p:nvSpPr>
            <p:spPr bwMode="auto">
              <a:xfrm>
                <a:off x="6807718" y="3779320"/>
                <a:ext cx="22414" cy="11749"/>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0" name="Freeform 419"/>
              <p:cNvSpPr/>
              <p:nvPr/>
            </p:nvSpPr>
            <p:spPr bwMode="auto">
              <a:xfrm>
                <a:off x="6840320" y="3796943"/>
                <a:ext cx="14264" cy="11749"/>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w 14"/>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0">
                    <a:moveTo>
                      <a:pt x="0" y="0"/>
                    </a:moveTo>
                    <a:lnTo>
                      <a:pt x="2" y="0"/>
                    </a:lnTo>
                    <a:lnTo>
                      <a:pt x="10" y="4"/>
                    </a:lnTo>
                    <a:lnTo>
                      <a:pt x="12" y="6"/>
                    </a:lnTo>
                    <a:lnTo>
                      <a:pt x="14" y="6"/>
                    </a:lnTo>
                    <a:lnTo>
                      <a:pt x="14" y="8"/>
                    </a:lnTo>
                    <a:lnTo>
                      <a:pt x="14" y="10"/>
                    </a:lnTo>
                    <a:lnTo>
                      <a:pt x="8" y="8"/>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1" name="Freeform 420"/>
              <p:cNvSpPr/>
              <p:nvPr/>
            </p:nvSpPr>
            <p:spPr bwMode="auto">
              <a:xfrm>
                <a:off x="6840320" y="3796943"/>
                <a:ext cx="14264" cy="11749"/>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0">
                    <a:moveTo>
                      <a:pt x="0" y="0"/>
                    </a:moveTo>
                    <a:lnTo>
                      <a:pt x="2" y="0"/>
                    </a:lnTo>
                    <a:lnTo>
                      <a:pt x="10" y="4"/>
                    </a:lnTo>
                    <a:lnTo>
                      <a:pt x="12" y="6"/>
                    </a:lnTo>
                    <a:lnTo>
                      <a:pt x="14" y="6"/>
                    </a:lnTo>
                    <a:lnTo>
                      <a:pt x="14" y="8"/>
                    </a:lnTo>
                    <a:lnTo>
                      <a:pt x="14" y="10"/>
                    </a:lnTo>
                    <a:lnTo>
                      <a:pt x="8" y="8"/>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2" name="Freeform 421"/>
              <p:cNvSpPr/>
              <p:nvPr/>
            </p:nvSpPr>
            <p:spPr bwMode="auto">
              <a:xfrm>
                <a:off x="6909598" y="3802819"/>
                <a:ext cx="8150" cy="5874"/>
              </a:xfrm>
              <a:custGeom>
                <a:avLst/>
                <a:gdLst>
                  <a:gd name="T0" fmla="*/ 0 w 6"/>
                  <a:gd name="T1" fmla="*/ 2 h 4"/>
                  <a:gd name="T2" fmla="*/ 2 w 6"/>
                  <a:gd name="T3" fmla="*/ 0 h 4"/>
                  <a:gd name="T4" fmla="*/ 4 w 6"/>
                  <a:gd name="T5" fmla="*/ 0 h 4"/>
                  <a:gd name="T6" fmla="*/ 6 w 6"/>
                  <a:gd name="T7" fmla="*/ 2 h 4"/>
                  <a:gd name="T8" fmla="*/ 4 w 6"/>
                  <a:gd name="T9" fmla="*/ 4 h 4"/>
                  <a:gd name="T10" fmla="*/ 2 w 6"/>
                  <a:gd name="T11" fmla="*/ 4 h 4"/>
                  <a:gd name="T12" fmla="*/ 2 w 6"/>
                  <a:gd name="T13" fmla="*/ 2 h 4"/>
                  <a:gd name="T14" fmla="*/ 0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0" y="2"/>
                    </a:moveTo>
                    <a:lnTo>
                      <a:pt x="2" y="0"/>
                    </a:lnTo>
                    <a:lnTo>
                      <a:pt x="4" y="0"/>
                    </a:lnTo>
                    <a:lnTo>
                      <a:pt x="6" y="2"/>
                    </a:lnTo>
                    <a:lnTo>
                      <a:pt x="4" y="4"/>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3" name="Freeform 422"/>
              <p:cNvSpPr/>
              <p:nvPr/>
            </p:nvSpPr>
            <p:spPr bwMode="auto">
              <a:xfrm>
                <a:off x="6909598" y="3802819"/>
                <a:ext cx="8150" cy="5874"/>
              </a:xfrm>
              <a:custGeom>
                <a:avLst/>
                <a:gdLst>
                  <a:gd name="T0" fmla="*/ 0 w 6"/>
                  <a:gd name="T1" fmla="*/ 2 h 4"/>
                  <a:gd name="T2" fmla="*/ 0 w 6"/>
                  <a:gd name="T3" fmla="*/ 4 h 4"/>
                  <a:gd name="T4" fmla="*/ 0 w 6"/>
                  <a:gd name="T5" fmla="*/ 4 h 4"/>
                  <a:gd name="T6" fmla="*/ 2 w 6"/>
                  <a:gd name="T7" fmla="*/ 0 h 4"/>
                  <a:gd name="T8" fmla="*/ 4 w 6"/>
                  <a:gd name="T9" fmla="*/ 0 h 4"/>
                  <a:gd name="T10" fmla="*/ 6 w 6"/>
                  <a:gd name="T11" fmla="*/ 2 h 4"/>
                  <a:gd name="T12" fmla="*/ 4 w 6"/>
                  <a:gd name="T13" fmla="*/ 4 h 4"/>
                  <a:gd name="T14" fmla="*/ 2 w 6"/>
                  <a:gd name="T15" fmla="*/ 4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0" y="2"/>
                    </a:moveTo>
                    <a:lnTo>
                      <a:pt x="0" y="4"/>
                    </a:lnTo>
                    <a:lnTo>
                      <a:pt x="2" y="0"/>
                    </a:lnTo>
                    <a:lnTo>
                      <a:pt x="4" y="0"/>
                    </a:lnTo>
                    <a:lnTo>
                      <a:pt x="6" y="2"/>
                    </a:lnTo>
                    <a:lnTo>
                      <a:pt x="4"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4" name="Freeform 423"/>
              <p:cNvSpPr/>
              <p:nvPr/>
            </p:nvSpPr>
            <p:spPr bwMode="auto">
              <a:xfrm>
                <a:off x="3953059" y="3499290"/>
                <a:ext cx="6112" cy="3916"/>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6" y="2"/>
                    </a:moveTo>
                    <a:lnTo>
                      <a:pt x="4" y="0"/>
                    </a:lnTo>
                    <a:lnTo>
                      <a:pt x="2" y="2"/>
                    </a:lnTo>
                    <a:lnTo>
                      <a:pt x="0" y="2"/>
                    </a:lnTo>
                    <a:lnTo>
                      <a:pt x="2" y="2"/>
                    </a:lnTo>
                    <a:lnTo>
                      <a:pt x="4" y="4"/>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5" name="Freeform 424"/>
              <p:cNvSpPr/>
              <p:nvPr/>
            </p:nvSpPr>
            <p:spPr bwMode="auto">
              <a:xfrm>
                <a:off x="3953059" y="3499290"/>
                <a:ext cx="6112" cy="3916"/>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2"/>
                    </a:moveTo>
                    <a:lnTo>
                      <a:pt x="4" y="0"/>
                    </a:lnTo>
                    <a:lnTo>
                      <a:pt x="2" y="2"/>
                    </a:lnTo>
                    <a:lnTo>
                      <a:pt x="0" y="2"/>
                    </a:lnTo>
                    <a:lnTo>
                      <a:pt x="2" y="2"/>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6" name="Freeform 425"/>
              <p:cNvSpPr/>
              <p:nvPr/>
            </p:nvSpPr>
            <p:spPr bwMode="auto">
              <a:xfrm>
                <a:off x="6512269" y="2539751"/>
                <a:ext cx="50939" cy="219323"/>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14 w 46"/>
                  <a:gd name="T113" fmla="*/ 0 h 1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7" name="Freeform 426"/>
              <p:cNvSpPr/>
              <p:nvPr/>
            </p:nvSpPr>
            <p:spPr bwMode="auto">
              <a:xfrm>
                <a:off x="6512269" y="2539751"/>
                <a:ext cx="50939" cy="219323"/>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8" name="Freeform 427"/>
              <p:cNvSpPr/>
              <p:nvPr/>
            </p:nvSpPr>
            <p:spPr bwMode="auto">
              <a:xfrm>
                <a:off x="6438916" y="2516252"/>
                <a:ext cx="16301" cy="15666"/>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w 14"/>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9" name="Freeform 428"/>
              <p:cNvSpPr/>
              <p:nvPr/>
            </p:nvSpPr>
            <p:spPr bwMode="auto">
              <a:xfrm>
                <a:off x="6438916" y="2516252"/>
                <a:ext cx="16301" cy="15666"/>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0" name="Freeform 429"/>
              <p:cNvSpPr/>
              <p:nvPr/>
            </p:nvSpPr>
            <p:spPr bwMode="auto">
              <a:xfrm>
                <a:off x="6870884" y="2392883"/>
                <a:ext cx="22413" cy="2154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16 w 20"/>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lnTo>
                      <a:pt x="1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1" name="Freeform 430"/>
              <p:cNvSpPr/>
              <p:nvPr/>
            </p:nvSpPr>
            <p:spPr bwMode="auto">
              <a:xfrm>
                <a:off x="6870884" y="2392883"/>
                <a:ext cx="22413" cy="2154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2" name="Freeform 431"/>
              <p:cNvSpPr/>
              <p:nvPr/>
            </p:nvSpPr>
            <p:spPr bwMode="auto">
              <a:xfrm>
                <a:off x="6752704" y="2635705"/>
                <a:ext cx="4075" cy="3916"/>
              </a:xfrm>
              <a:custGeom>
                <a:avLst/>
                <a:gdLst>
                  <a:gd name="T0" fmla="*/ 4 w 4"/>
                  <a:gd name="T1" fmla="*/ 0 h 4"/>
                  <a:gd name="T2" fmla="*/ 0 w 4"/>
                  <a:gd name="T3" fmla="*/ 4 h 4"/>
                  <a:gd name="T4" fmla="*/ 2 w 4"/>
                  <a:gd name="T5" fmla="*/ 4 h 4"/>
                  <a:gd name="T6" fmla="*/ 2 w 4"/>
                  <a:gd name="T7" fmla="*/ 0 h 4"/>
                  <a:gd name="T8" fmla="*/ 4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4" y="0"/>
                    </a:moveTo>
                    <a:lnTo>
                      <a:pt x="0" y="4"/>
                    </a:lnTo>
                    <a:lnTo>
                      <a:pt x="2" y="4"/>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3" name="Freeform 432"/>
              <p:cNvSpPr/>
              <p:nvPr/>
            </p:nvSpPr>
            <p:spPr bwMode="auto">
              <a:xfrm>
                <a:off x="6752704" y="2635705"/>
                <a:ext cx="4075" cy="3916"/>
              </a:xfrm>
              <a:custGeom>
                <a:avLst/>
                <a:gdLst>
                  <a:gd name="T0" fmla="*/ 4 w 4"/>
                  <a:gd name="T1" fmla="*/ 0 h 4"/>
                  <a:gd name="T2" fmla="*/ 0 w 4"/>
                  <a:gd name="T3" fmla="*/ 4 h 4"/>
                  <a:gd name="T4" fmla="*/ 2 w 4"/>
                  <a:gd name="T5" fmla="*/ 4 h 4"/>
                  <a:gd name="T6" fmla="*/ 2 w 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0"/>
                    </a:moveTo>
                    <a:lnTo>
                      <a:pt x="0"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4" name="Freeform 433"/>
              <p:cNvSpPr/>
              <p:nvPr/>
            </p:nvSpPr>
            <p:spPr bwMode="auto">
              <a:xfrm>
                <a:off x="6738441" y="2639622"/>
                <a:ext cx="14264" cy="19582"/>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12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5" name="Freeform 434"/>
              <p:cNvSpPr/>
              <p:nvPr/>
            </p:nvSpPr>
            <p:spPr bwMode="auto">
              <a:xfrm>
                <a:off x="6738441" y="2639622"/>
                <a:ext cx="14264" cy="19582"/>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6" name="Freeform 435"/>
              <p:cNvSpPr/>
              <p:nvPr/>
            </p:nvSpPr>
            <p:spPr bwMode="auto">
              <a:xfrm>
                <a:off x="6726215" y="2667037"/>
                <a:ext cx="2038" cy="9791"/>
              </a:xfrm>
              <a:custGeom>
                <a:avLst/>
                <a:gdLst>
                  <a:gd name="T0" fmla="*/ 2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2" y="0"/>
                    </a:moveTo>
                    <a:lnTo>
                      <a:pt x="0" y="8"/>
                    </a:lnTo>
                    <a:lnTo>
                      <a:pt x="2" y="6"/>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7" name="Freeform 436"/>
              <p:cNvSpPr/>
              <p:nvPr/>
            </p:nvSpPr>
            <p:spPr bwMode="auto">
              <a:xfrm>
                <a:off x="6726215" y="2667037"/>
                <a:ext cx="2038" cy="9791"/>
              </a:xfrm>
              <a:custGeom>
                <a:avLst/>
                <a:gdLst>
                  <a:gd name="T0" fmla="*/ 2 w 2"/>
                  <a:gd name="T1" fmla="*/ 0 h 8"/>
                  <a:gd name="T2" fmla="*/ 0 w 2"/>
                  <a:gd name="T3" fmla="*/ 8 h 8"/>
                  <a:gd name="T4" fmla="*/ 2 w 2"/>
                  <a:gd name="T5" fmla="*/ 6 h 8"/>
                  <a:gd name="T6" fmla="*/ 2 w 2"/>
                  <a:gd name="T7" fmla="*/ 2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8">
                    <a:moveTo>
                      <a:pt x="2" y="0"/>
                    </a:moveTo>
                    <a:lnTo>
                      <a:pt x="0" y="8"/>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8" name="Freeform 437"/>
              <p:cNvSpPr/>
              <p:nvPr/>
            </p:nvSpPr>
            <p:spPr bwMode="auto">
              <a:xfrm>
                <a:off x="6718065" y="2688577"/>
                <a:ext cx="2038" cy="1959"/>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9" name="Freeform 438"/>
              <p:cNvSpPr/>
              <p:nvPr/>
            </p:nvSpPr>
            <p:spPr bwMode="auto">
              <a:xfrm>
                <a:off x="6681388" y="2729701"/>
                <a:ext cx="6113" cy="9791"/>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6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0"/>
                    </a:moveTo>
                    <a:lnTo>
                      <a:pt x="6" y="2"/>
                    </a:lnTo>
                    <a:lnTo>
                      <a:pt x="2" y="8"/>
                    </a:lnTo>
                    <a:lnTo>
                      <a:pt x="0" y="8"/>
                    </a:lnTo>
                    <a:lnTo>
                      <a:pt x="2" y="6"/>
                    </a:lnTo>
                    <a:lnTo>
                      <a:pt x="4" y="4"/>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0" name="Freeform 439"/>
              <p:cNvSpPr/>
              <p:nvPr/>
            </p:nvSpPr>
            <p:spPr bwMode="auto">
              <a:xfrm>
                <a:off x="6681388" y="2729701"/>
                <a:ext cx="6113" cy="9791"/>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6" y="0"/>
                    </a:moveTo>
                    <a:lnTo>
                      <a:pt x="6" y="2"/>
                    </a:lnTo>
                    <a:lnTo>
                      <a:pt x="2" y="8"/>
                    </a:lnTo>
                    <a:lnTo>
                      <a:pt x="0" y="8"/>
                    </a:lnTo>
                    <a:lnTo>
                      <a:pt x="2" y="6"/>
                    </a:lnTo>
                    <a:lnTo>
                      <a:pt x="4" y="4"/>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1" name="Freeform 440"/>
              <p:cNvSpPr/>
              <p:nvPr/>
            </p:nvSpPr>
            <p:spPr bwMode="auto">
              <a:xfrm>
                <a:off x="6644712" y="2753200"/>
                <a:ext cx="14264" cy="15666"/>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12 w 12"/>
                  <a:gd name="T13" fmla="*/ 2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12" y="2"/>
                    </a:moveTo>
                    <a:lnTo>
                      <a:pt x="2" y="14"/>
                    </a:lnTo>
                    <a:lnTo>
                      <a:pt x="0" y="14"/>
                    </a:lnTo>
                    <a:lnTo>
                      <a:pt x="0" y="10"/>
                    </a:lnTo>
                    <a:lnTo>
                      <a:pt x="12" y="0"/>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2" name="Freeform 441"/>
              <p:cNvSpPr/>
              <p:nvPr/>
            </p:nvSpPr>
            <p:spPr bwMode="auto">
              <a:xfrm>
                <a:off x="6644712" y="2753200"/>
                <a:ext cx="14264" cy="15666"/>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2" y="2"/>
                    </a:moveTo>
                    <a:lnTo>
                      <a:pt x="2" y="14"/>
                    </a:lnTo>
                    <a:lnTo>
                      <a:pt x="0" y="14"/>
                    </a:lnTo>
                    <a:lnTo>
                      <a:pt x="0" y="1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3" name="Freeform 442"/>
              <p:cNvSpPr/>
              <p:nvPr/>
            </p:nvSpPr>
            <p:spPr bwMode="auto">
              <a:xfrm>
                <a:off x="6601923" y="2770824"/>
                <a:ext cx="30563" cy="25458"/>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28 w 28"/>
                  <a:gd name="T35" fmla="*/ 2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lnTo>
                      <a:pt x="2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4" name="Freeform 443"/>
              <p:cNvSpPr/>
              <p:nvPr/>
            </p:nvSpPr>
            <p:spPr bwMode="auto">
              <a:xfrm>
                <a:off x="6601923" y="2770824"/>
                <a:ext cx="30563" cy="25458"/>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5" name="Freeform 444"/>
              <p:cNvSpPr/>
              <p:nvPr/>
            </p:nvSpPr>
            <p:spPr bwMode="auto">
              <a:xfrm>
                <a:off x="6593772" y="2809988"/>
                <a:ext cx="8150" cy="3916"/>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0"/>
                    </a:moveTo>
                    <a:lnTo>
                      <a:pt x="6" y="2"/>
                    </a:lnTo>
                    <a:lnTo>
                      <a:pt x="4" y="2"/>
                    </a:lnTo>
                    <a:lnTo>
                      <a:pt x="2" y="4"/>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6" name="Freeform 445"/>
              <p:cNvSpPr/>
              <p:nvPr/>
            </p:nvSpPr>
            <p:spPr bwMode="auto">
              <a:xfrm>
                <a:off x="6593772" y="2809988"/>
                <a:ext cx="8150" cy="3916"/>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0"/>
                    </a:moveTo>
                    <a:lnTo>
                      <a:pt x="6" y="2"/>
                    </a:lnTo>
                    <a:lnTo>
                      <a:pt x="4" y="2"/>
                    </a:lnTo>
                    <a:lnTo>
                      <a:pt x="2" y="4"/>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7" name="Freeform 446"/>
              <p:cNvSpPr/>
              <p:nvPr/>
            </p:nvSpPr>
            <p:spPr bwMode="auto">
              <a:xfrm>
                <a:off x="6577472" y="2796281"/>
                <a:ext cx="12226" cy="17624"/>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10 w 1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6">
                    <a:moveTo>
                      <a:pt x="10" y="0"/>
                    </a:moveTo>
                    <a:lnTo>
                      <a:pt x="12" y="2"/>
                    </a:lnTo>
                    <a:lnTo>
                      <a:pt x="12" y="4"/>
                    </a:lnTo>
                    <a:lnTo>
                      <a:pt x="0" y="16"/>
                    </a:lnTo>
                    <a:lnTo>
                      <a:pt x="0" y="14"/>
                    </a:lnTo>
                    <a:lnTo>
                      <a:pt x="8" y="4"/>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8" name="Freeform 447"/>
              <p:cNvSpPr/>
              <p:nvPr/>
            </p:nvSpPr>
            <p:spPr bwMode="auto">
              <a:xfrm>
                <a:off x="6577472" y="2796281"/>
                <a:ext cx="12226" cy="17624"/>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6">
                    <a:moveTo>
                      <a:pt x="10" y="0"/>
                    </a:moveTo>
                    <a:lnTo>
                      <a:pt x="12" y="2"/>
                    </a:lnTo>
                    <a:lnTo>
                      <a:pt x="12" y="4"/>
                    </a:lnTo>
                    <a:lnTo>
                      <a:pt x="0" y="16"/>
                    </a:lnTo>
                    <a:lnTo>
                      <a:pt x="0" y="14"/>
                    </a:lnTo>
                    <a:lnTo>
                      <a:pt x="8" y="4"/>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9" name="Freeform 448"/>
              <p:cNvSpPr/>
              <p:nvPr/>
            </p:nvSpPr>
            <p:spPr bwMode="auto">
              <a:xfrm>
                <a:off x="5811339" y="1343265"/>
                <a:ext cx="101879" cy="127285"/>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lnTo>
                      <a:pt x="8" y="7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0" name="Freeform 449"/>
              <p:cNvSpPr/>
              <p:nvPr/>
            </p:nvSpPr>
            <p:spPr bwMode="auto">
              <a:xfrm>
                <a:off x="5811339" y="1343265"/>
                <a:ext cx="101879" cy="127285"/>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1" name="Freeform 450"/>
              <p:cNvSpPr/>
              <p:nvPr/>
            </p:nvSpPr>
            <p:spPr bwMode="auto">
              <a:xfrm>
                <a:off x="6408351" y="1730997"/>
                <a:ext cx="14264" cy="19582"/>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8 w 12"/>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2" name="Freeform 451"/>
              <p:cNvSpPr/>
              <p:nvPr/>
            </p:nvSpPr>
            <p:spPr bwMode="auto">
              <a:xfrm>
                <a:off x="6408351" y="1730997"/>
                <a:ext cx="14264" cy="19582"/>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3" name="Freeform 452"/>
              <p:cNvSpPr/>
              <p:nvPr/>
            </p:nvSpPr>
            <p:spPr bwMode="auto">
              <a:xfrm>
                <a:off x="6408351" y="1625252"/>
                <a:ext cx="10189" cy="35248"/>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6 w 8"/>
                  <a:gd name="T33" fmla="*/ 18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lnTo>
                      <a:pt x="6"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4" name="Freeform 453"/>
              <p:cNvSpPr/>
              <p:nvPr/>
            </p:nvSpPr>
            <p:spPr bwMode="auto">
              <a:xfrm>
                <a:off x="6408351" y="1625252"/>
                <a:ext cx="10189" cy="35248"/>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5" name="Freeform 454"/>
              <p:cNvSpPr/>
              <p:nvPr/>
            </p:nvSpPr>
            <p:spPr bwMode="auto">
              <a:xfrm>
                <a:off x="6428727" y="1599794"/>
                <a:ext cx="110030" cy="101829"/>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lnTo>
                      <a:pt x="50"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6" name="Freeform 455"/>
              <p:cNvSpPr/>
              <p:nvPr/>
            </p:nvSpPr>
            <p:spPr bwMode="auto">
              <a:xfrm>
                <a:off x="6428727" y="1599794"/>
                <a:ext cx="110030" cy="101829"/>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7" name="Freeform 456"/>
              <p:cNvSpPr/>
              <p:nvPr/>
            </p:nvSpPr>
            <p:spPr bwMode="auto">
              <a:xfrm>
                <a:off x="6506156" y="1605669"/>
                <a:ext cx="69278" cy="76371"/>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w 62"/>
                  <a:gd name="T71" fmla="*/ 0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8" name="Freeform 457"/>
              <p:cNvSpPr/>
              <p:nvPr/>
            </p:nvSpPr>
            <p:spPr bwMode="auto">
              <a:xfrm>
                <a:off x="6506156" y="1605669"/>
                <a:ext cx="69278" cy="76371"/>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9" name="Freeform 458"/>
              <p:cNvSpPr/>
              <p:nvPr/>
            </p:nvSpPr>
            <p:spPr bwMode="auto">
              <a:xfrm>
                <a:off x="6587659" y="1646792"/>
                <a:ext cx="79467" cy="52873"/>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w 72"/>
                  <a:gd name="T95" fmla="*/ 0 h 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0" name="Freeform 459"/>
              <p:cNvSpPr/>
              <p:nvPr/>
            </p:nvSpPr>
            <p:spPr bwMode="auto">
              <a:xfrm>
                <a:off x="6587659" y="1646792"/>
                <a:ext cx="79467" cy="52873"/>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1" name="Freeform 460"/>
              <p:cNvSpPr/>
              <p:nvPr/>
            </p:nvSpPr>
            <p:spPr bwMode="auto">
              <a:xfrm>
                <a:off x="6485780" y="1727080"/>
                <a:ext cx="16301" cy="23499"/>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12 w 14"/>
                  <a:gd name="T33" fmla="*/ 8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lnTo>
                      <a:pt x="1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2" name="Freeform 461"/>
              <p:cNvSpPr/>
              <p:nvPr/>
            </p:nvSpPr>
            <p:spPr bwMode="auto">
              <a:xfrm>
                <a:off x="6485780" y="1727080"/>
                <a:ext cx="16301" cy="23499"/>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3" name="Freeform 462"/>
              <p:cNvSpPr/>
              <p:nvPr/>
            </p:nvSpPr>
            <p:spPr bwMode="auto">
              <a:xfrm>
                <a:off x="6479668" y="1748620"/>
                <a:ext cx="63165" cy="43081"/>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24 w 58"/>
                  <a:gd name="T61" fmla="*/ 2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lnTo>
                      <a:pt x="2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4" name="Freeform 463"/>
              <p:cNvSpPr/>
              <p:nvPr/>
            </p:nvSpPr>
            <p:spPr bwMode="auto">
              <a:xfrm>
                <a:off x="6479668" y="1748620"/>
                <a:ext cx="63165" cy="43081"/>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5" name="Freeform 464"/>
              <p:cNvSpPr/>
              <p:nvPr/>
            </p:nvSpPr>
            <p:spPr bwMode="auto">
              <a:xfrm>
                <a:off x="5018717" y="1781911"/>
                <a:ext cx="99842" cy="156659"/>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lnTo>
                      <a:pt x="3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6" name="Freeform 465"/>
              <p:cNvSpPr/>
              <p:nvPr/>
            </p:nvSpPr>
            <p:spPr bwMode="auto">
              <a:xfrm>
                <a:off x="5018717" y="1781911"/>
                <a:ext cx="99842" cy="156659"/>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7" name="Freeform 466"/>
              <p:cNvSpPr/>
              <p:nvPr/>
            </p:nvSpPr>
            <p:spPr bwMode="auto">
              <a:xfrm>
                <a:off x="5053357" y="1546922"/>
                <a:ext cx="254698" cy="244780"/>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lnTo>
                      <a:pt x="0" y="18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8" name="Freeform 467"/>
              <p:cNvSpPr/>
              <p:nvPr/>
            </p:nvSpPr>
            <p:spPr bwMode="auto">
              <a:xfrm>
                <a:off x="5053357" y="1546922"/>
                <a:ext cx="254698" cy="244780"/>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9" name="Freeform 468"/>
              <p:cNvSpPr/>
              <p:nvPr/>
            </p:nvSpPr>
            <p:spPr bwMode="auto">
              <a:xfrm>
                <a:off x="5032981" y="1895489"/>
                <a:ext cx="12226" cy="23499"/>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w 12"/>
                  <a:gd name="T27" fmla="*/ 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0" name="Freeform 469"/>
              <p:cNvSpPr/>
              <p:nvPr/>
            </p:nvSpPr>
            <p:spPr bwMode="auto">
              <a:xfrm>
                <a:off x="5032981" y="1895489"/>
                <a:ext cx="12226" cy="23499"/>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1" name="Freeform 470"/>
              <p:cNvSpPr/>
              <p:nvPr/>
            </p:nvSpPr>
            <p:spPr bwMode="auto">
              <a:xfrm>
                <a:off x="5929519" y="1450967"/>
                <a:ext cx="20376" cy="11749"/>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10 w 1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lnTo>
                      <a:pt x="1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2" name="Freeform 471"/>
              <p:cNvSpPr/>
              <p:nvPr/>
            </p:nvSpPr>
            <p:spPr bwMode="auto">
              <a:xfrm>
                <a:off x="5929519" y="1450967"/>
                <a:ext cx="20376" cy="11749"/>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3" name="Freeform 472"/>
              <p:cNvSpPr/>
              <p:nvPr/>
            </p:nvSpPr>
            <p:spPr bwMode="auto">
              <a:xfrm>
                <a:off x="5742061" y="1593920"/>
                <a:ext cx="22413" cy="11749"/>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16 w 20"/>
                  <a:gd name="T41" fmla="*/ 2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lnTo>
                      <a:pt x="1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4" name="Freeform 473"/>
              <p:cNvSpPr/>
              <p:nvPr/>
            </p:nvSpPr>
            <p:spPr bwMode="auto">
              <a:xfrm>
                <a:off x="5742061" y="1593920"/>
                <a:ext cx="22413" cy="11749"/>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5" name="Freeform 474"/>
              <p:cNvSpPr/>
              <p:nvPr/>
            </p:nvSpPr>
            <p:spPr bwMode="auto">
              <a:xfrm>
                <a:off x="6013059" y="1711414"/>
                <a:ext cx="30564" cy="25457"/>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22 w 28"/>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6" name="Freeform 475"/>
              <p:cNvSpPr/>
              <p:nvPr/>
            </p:nvSpPr>
            <p:spPr bwMode="auto">
              <a:xfrm>
                <a:off x="6013059" y="1711414"/>
                <a:ext cx="30564" cy="25457"/>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7" name="Freeform 476"/>
              <p:cNvSpPr/>
              <p:nvPr/>
            </p:nvSpPr>
            <p:spPr bwMode="auto">
              <a:xfrm>
                <a:off x="6430765" y="1881781"/>
                <a:ext cx="20376" cy="7833"/>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4 w 1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8" name="Freeform 477"/>
              <p:cNvSpPr/>
              <p:nvPr/>
            </p:nvSpPr>
            <p:spPr bwMode="auto">
              <a:xfrm>
                <a:off x="6430765" y="1881781"/>
                <a:ext cx="20376" cy="7833"/>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9" name="Freeform 478"/>
              <p:cNvSpPr/>
              <p:nvPr/>
            </p:nvSpPr>
            <p:spPr bwMode="auto">
              <a:xfrm>
                <a:off x="6449103" y="1879823"/>
                <a:ext cx="16301" cy="15666"/>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4 w 16"/>
                  <a:gd name="T37" fmla="*/ 6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0" name="Freeform 479"/>
              <p:cNvSpPr/>
              <p:nvPr/>
            </p:nvSpPr>
            <p:spPr bwMode="auto">
              <a:xfrm>
                <a:off x="6449103" y="1879823"/>
                <a:ext cx="16301" cy="15666"/>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1" name="Freeform 480"/>
              <p:cNvSpPr/>
              <p:nvPr/>
            </p:nvSpPr>
            <p:spPr bwMode="auto">
              <a:xfrm>
                <a:off x="6471517" y="1832826"/>
                <a:ext cx="26488" cy="17624"/>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12 w 24"/>
                  <a:gd name="T51" fmla="*/ 2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2" name="Freeform 481"/>
              <p:cNvSpPr/>
              <p:nvPr/>
            </p:nvSpPr>
            <p:spPr bwMode="auto">
              <a:xfrm>
                <a:off x="6471517" y="1832826"/>
                <a:ext cx="26488" cy="17624"/>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3" name="Freeform 482"/>
              <p:cNvSpPr/>
              <p:nvPr/>
            </p:nvSpPr>
            <p:spPr bwMode="auto">
              <a:xfrm>
                <a:off x="6946274" y="1962070"/>
                <a:ext cx="24451" cy="23499"/>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4 w 2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4" name="Freeform 483"/>
              <p:cNvSpPr/>
              <p:nvPr/>
            </p:nvSpPr>
            <p:spPr bwMode="auto">
              <a:xfrm>
                <a:off x="6946274" y="1962070"/>
                <a:ext cx="24451" cy="23499"/>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5" name="Freeform 484"/>
              <p:cNvSpPr/>
              <p:nvPr/>
            </p:nvSpPr>
            <p:spPr bwMode="auto">
              <a:xfrm>
                <a:off x="4963703" y="1987526"/>
                <a:ext cx="34638" cy="37207"/>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6 w 32"/>
                  <a:gd name="T53" fmla="*/ 2 h 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6" name="Freeform 485"/>
              <p:cNvSpPr/>
              <p:nvPr/>
            </p:nvSpPr>
            <p:spPr bwMode="auto">
              <a:xfrm>
                <a:off x="4963703" y="1987526"/>
                <a:ext cx="34638" cy="37207"/>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7" name="Freeform 486"/>
              <p:cNvSpPr/>
              <p:nvPr/>
            </p:nvSpPr>
            <p:spPr bwMode="auto">
              <a:xfrm>
                <a:off x="5134860" y="1942487"/>
                <a:ext cx="32601" cy="37206"/>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4 w 30"/>
                  <a:gd name="T57" fmla="*/ 20 h 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lnTo>
                      <a:pt x="4"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8" name="Freeform 487"/>
              <p:cNvSpPr/>
              <p:nvPr/>
            </p:nvSpPr>
            <p:spPr bwMode="auto">
              <a:xfrm>
                <a:off x="5134860" y="1942487"/>
                <a:ext cx="32601" cy="37206"/>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9" name="Freeform 488"/>
              <p:cNvSpPr/>
              <p:nvPr/>
            </p:nvSpPr>
            <p:spPr bwMode="auto">
              <a:xfrm>
                <a:off x="5326393" y="1776036"/>
                <a:ext cx="24451" cy="27415"/>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2 w 22"/>
                  <a:gd name="T35" fmla="*/ 24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lnTo>
                      <a:pt x="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0" name="Freeform 489"/>
              <p:cNvSpPr/>
              <p:nvPr/>
            </p:nvSpPr>
            <p:spPr bwMode="auto">
              <a:xfrm>
                <a:off x="5326393" y="1776036"/>
                <a:ext cx="24451" cy="27415"/>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1" name="Freeform 490"/>
              <p:cNvSpPr/>
              <p:nvPr/>
            </p:nvSpPr>
            <p:spPr bwMode="auto">
              <a:xfrm>
                <a:off x="5393633" y="1797577"/>
                <a:ext cx="12226" cy="15666"/>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w 12"/>
                  <a:gd name="T19" fmla="*/ 4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4">
                    <a:moveTo>
                      <a:pt x="0" y="4"/>
                    </a:moveTo>
                    <a:lnTo>
                      <a:pt x="2" y="2"/>
                    </a:lnTo>
                    <a:lnTo>
                      <a:pt x="4" y="0"/>
                    </a:lnTo>
                    <a:lnTo>
                      <a:pt x="10" y="4"/>
                    </a:lnTo>
                    <a:lnTo>
                      <a:pt x="12" y="4"/>
                    </a:lnTo>
                    <a:lnTo>
                      <a:pt x="8" y="4"/>
                    </a:lnTo>
                    <a:lnTo>
                      <a:pt x="8" y="14"/>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2" name="Freeform 491"/>
              <p:cNvSpPr/>
              <p:nvPr/>
            </p:nvSpPr>
            <p:spPr bwMode="auto">
              <a:xfrm>
                <a:off x="5393633" y="1797577"/>
                <a:ext cx="12226" cy="15666"/>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4">
                    <a:moveTo>
                      <a:pt x="0" y="4"/>
                    </a:moveTo>
                    <a:lnTo>
                      <a:pt x="2" y="2"/>
                    </a:lnTo>
                    <a:lnTo>
                      <a:pt x="4" y="0"/>
                    </a:lnTo>
                    <a:lnTo>
                      <a:pt x="10" y="4"/>
                    </a:lnTo>
                    <a:lnTo>
                      <a:pt x="12" y="4"/>
                    </a:lnTo>
                    <a:lnTo>
                      <a:pt x="8" y="4"/>
                    </a:lnTo>
                    <a:lnTo>
                      <a:pt x="8" y="14"/>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3" name="Freeform 492"/>
              <p:cNvSpPr/>
              <p:nvPr/>
            </p:nvSpPr>
            <p:spPr bwMode="auto">
              <a:xfrm>
                <a:off x="5469024" y="1799535"/>
                <a:ext cx="12226" cy="23499"/>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10 w 12"/>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lnTo>
                      <a:pt x="1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4" name="Freeform 493"/>
              <p:cNvSpPr/>
              <p:nvPr/>
            </p:nvSpPr>
            <p:spPr bwMode="auto">
              <a:xfrm>
                <a:off x="5469024" y="1799535"/>
                <a:ext cx="12226" cy="23499"/>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5" name="Freeform 494"/>
              <p:cNvSpPr/>
              <p:nvPr/>
            </p:nvSpPr>
            <p:spPr bwMode="auto">
              <a:xfrm>
                <a:off x="5440498" y="1826950"/>
                <a:ext cx="20376" cy="21541"/>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6 w 20"/>
                  <a:gd name="T25" fmla="*/ 4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6" name="Freeform 495"/>
              <p:cNvSpPr/>
              <p:nvPr/>
            </p:nvSpPr>
            <p:spPr bwMode="auto">
              <a:xfrm>
                <a:off x="5440498" y="1826950"/>
                <a:ext cx="20376" cy="21541"/>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7" name="Freeform 496"/>
              <p:cNvSpPr/>
              <p:nvPr/>
            </p:nvSpPr>
            <p:spPr bwMode="auto">
              <a:xfrm>
                <a:off x="5328430" y="2106980"/>
                <a:ext cx="22414" cy="13707"/>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w 20"/>
                  <a:gd name="T21" fmla="*/ 8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12">
                    <a:moveTo>
                      <a:pt x="0" y="8"/>
                    </a:moveTo>
                    <a:lnTo>
                      <a:pt x="6" y="6"/>
                    </a:lnTo>
                    <a:lnTo>
                      <a:pt x="12" y="2"/>
                    </a:lnTo>
                    <a:lnTo>
                      <a:pt x="18" y="0"/>
                    </a:lnTo>
                    <a:lnTo>
                      <a:pt x="20" y="6"/>
                    </a:lnTo>
                    <a:lnTo>
                      <a:pt x="16" y="6"/>
                    </a:lnTo>
                    <a:lnTo>
                      <a:pt x="8" y="12"/>
                    </a:lnTo>
                    <a:lnTo>
                      <a:pt x="6" y="12"/>
                    </a:lnTo>
                    <a:lnTo>
                      <a:pt x="2" y="10"/>
                    </a:lnTo>
                    <a:lnTo>
                      <a:pt x="2" y="8"/>
                    </a:lnTo>
                    <a:lnTo>
                      <a:pt x="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8" name="Freeform 497"/>
              <p:cNvSpPr/>
              <p:nvPr/>
            </p:nvSpPr>
            <p:spPr bwMode="auto">
              <a:xfrm>
                <a:off x="5328430" y="2106980"/>
                <a:ext cx="22414" cy="13707"/>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2">
                    <a:moveTo>
                      <a:pt x="0" y="8"/>
                    </a:moveTo>
                    <a:lnTo>
                      <a:pt x="6" y="6"/>
                    </a:lnTo>
                    <a:lnTo>
                      <a:pt x="12" y="2"/>
                    </a:lnTo>
                    <a:lnTo>
                      <a:pt x="18" y="0"/>
                    </a:lnTo>
                    <a:lnTo>
                      <a:pt x="20" y="6"/>
                    </a:lnTo>
                    <a:lnTo>
                      <a:pt x="16" y="6"/>
                    </a:lnTo>
                    <a:lnTo>
                      <a:pt x="8" y="12"/>
                    </a:lnTo>
                    <a:lnTo>
                      <a:pt x="6" y="12"/>
                    </a:lnTo>
                    <a:lnTo>
                      <a:pt x="2" y="10"/>
                    </a:lnTo>
                    <a:lnTo>
                      <a:pt x="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9" name="Freeform 498"/>
              <p:cNvSpPr/>
              <p:nvPr/>
            </p:nvSpPr>
            <p:spPr bwMode="auto">
              <a:xfrm>
                <a:off x="5528114" y="1938571"/>
                <a:ext cx="8150" cy="17624"/>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w 8"/>
                  <a:gd name="T19" fmla="*/ 6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6">
                    <a:moveTo>
                      <a:pt x="0" y="6"/>
                    </a:moveTo>
                    <a:lnTo>
                      <a:pt x="2" y="2"/>
                    </a:lnTo>
                    <a:lnTo>
                      <a:pt x="2" y="0"/>
                    </a:lnTo>
                    <a:lnTo>
                      <a:pt x="4" y="0"/>
                    </a:lnTo>
                    <a:lnTo>
                      <a:pt x="8" y="12"/>
                    </a:lnTo>
                    <a:lnTo>
                      <a:pt x="6" y="16"/>
                    </a:lnTo>
                    <a:lnTo>
                      <a:pt x="4" y="14"/>
                    </a:lnTo>
                    <a:lnTo>
                      <a:pt x="2" y="12"/>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0" name="Freeform 499"/>
              <p:cNvSpPr/>
              <p:nvPr/>
            </p:nvSpPr>
            <p:spPr bwMode="auto">
              <a:xfrm>
                <a:off x="5528114" y="1938571"/>
                <a:ext cx="8150" cy="17624"/>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6">
                    <a:moveTo>
                      <a:pt x="0" y="6"/>
                    </a:moveTo>
                    <a:lnTo>
                      <a:pt x="2" y="2"/>
                    </a:lnTo>
                    <a:lnTo>
                      <a:pt x="2" y="0"/>
                    </a:lnTo>
                    <a:lnTo>
                      <a:pt x="4" y="0"/>
                    </a:lnTo>
                    <a:lnTo>
                      <a:pt x="8" y="12"/>
                    </a:lnTo>
                    <a:lnTo>
                      <a:pt x="6" y="16"/>
                    </a:lnTo>
                    <a:lnTo>
                      <a:pt x="4" y="14"/>
                    </a:lnTo>
                    <a:lnTo>
                      <a:pt x="2" y="12"/>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1" name="Freeform 500"/>
              <p:cNvSpPr/>
              <p:nvPr/>
            </p:nvSpPr>
            <p:spPr bwMode="auto">
              <a:xfrm>
                <a:off x="3993811" y="2516252"/>
                <a:ext cx="71315" cy="103788"/>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62 w 64"/>
                  <a:gd name="T115" fmla="*/ 32 h 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lnTo>
                      <a:pt x="62"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2" name="Freeform 501"/>
              <p:cNvSpPr/>
              <p:nvPr/>
            </p:nvSpPr>
            <p:spPr bwMode="auto">
              <a:xfrm>
                <a:off x="3993811" y="2516252"/>
                <a:ext cx="71315" cy="103788"/>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3" name="Freeform 502"/>
              <p:cNvSpPr/>
              <p:nvPr/>
            </p:nvSpPr>
            <p:spPr bwMode="auto">
              <a:xfrm>
                <a:off x="4346313" y="2007109"/>
                <a:ext cx="215984" cy="501310"/>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lnTo>
                      <a:pt x="2" y="34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4" name="Freeform 503"/>
              <p:cNvSpPr/>
              <p:nvPr/>
            </p:nvSpPr>
            <p:spPr bwMode="auto">
              <a:xfrm>
                <a:off x="4346313" y="2007109"/>
                <a:ext cx="215984" cy="501310"/>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5" name="Freeform 504"/>
              <p:cNvSpPr/>
              <p:nvPr/>
            </p:nvSpPr>
            <p:spPr bwMode="auto">
              <a:xfrm>
                <a:off x="4605087" y="2696410"/>
                <a:ext cx="55014" cy="74413"/>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24 w 50"/>
                  <a:gd name="T93" fmla="*/ 66 h 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lnTo>
                      <a:pt x="24" y="6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6" name="Freeform 505"/>
              <p:cNvSpPr/>
              <p:nvPr/>
            </p:nvSpPr>
            <p:spPr bwMode="auto">
              <a:xfrm>
                <a:off x="4605087" y="2696410"/>
                <a:ext cx="55014" cy="74413"/>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7" name="Freeform 506"/>
              <p:cNvSpPr/>
              <p:nvPr/>
            </p:nvSpPr>
            <p:spPr bwMode="auto">
              <a:xfrm>
                <a:off x="4321862" y="2682703"/>
                <a:ext cx="126330" cy="66580"/>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64 w 114"/>
                  <a:gd name="T71" fmla="*/ 6 h 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lnTo>
                      <a:pt x="6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8" name="Freeform 507"/>
              <p:cNvSpPr/>
              <p:nvPr/>
            </p:nvSpPr>
            <p:spPr bwMode="auto">
              <a:xfrm>
                <a:off x="4321862" y="2682703"/>
                <a:ext cx="126330" cy="66580"/>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9" name="Freeform 508"/>
              <p:cNvSpPr/>
              <p:nvPr/>
            </p:nvSpPr>
            <p:spPr bwMode="auto">
              <a:xfrm>
                <a:off x="4222021" y="2567166"/>
                <a:ext cx="59089" cy="70497"/>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38 w 53"/>
                  <a:gd name="T79" fmla="*/ 63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lnTo>
                      <a:pt x="38" y="6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0" name="Freeform 509"/>
              <p:cNvSpPr/>
              <p:nvPr/>
            </p:nvSpPr>
            <p:spPr bwMode="auto">
              <a:xfrm>
                <a:off x="4222021" y="2567166"/>
                <a:ext cx="59089" cy="70497"/>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1" name="Freeform 510"/>
              <p:cNvSpPr/>
              <p:nvPr/>
            </p:nvSpPr>
            <p:spPr bwMode="auto">
              <a:xfrm>
                <a:off x="4087540" y="2629830"/>
                <a:ext cx="209871" cy="215407"/>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lnTo>
                      <a:pt x="1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2" name="Freeform 511"/>
              <p:cNvSpPr/>
              <p:nvPr/>
            </p:nvSpPr>
            <p:spPr bwMode="auto">
              <a:xfrm>
                <a:off x="4087540" y="2629830"/>
                <a:ext cx="209871" cy="215407"/>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3" name="Freeform 512"/>
              <p:cNvSpPr/>
              <p:nvPr/>
            </p:nvSpPr>
            <p:spPr bwMode="auto">
              <a:xfrm>
                <a:off x="4010112" y="2849153"/>
                <a:ext cx="52977" cy="109662"/>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32 w 48"/>
                  <a:gd name="T95" fmla="*/ 95 h 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lnTo>
                      <a:pt x="32" y="9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4" name="Freeform 513"/>
              <p:cNvSpPr/>
              <p:nvPr/>
            </p:nvSpPr>
            <p:spPr bwMode="auto">
              <a:xfrm>
                <a:off x="4010112" y="2849153"/>
                <a:ext cx="52977" cy="109662"/>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5" name="Freeform 514"/>
              <p:cNvSpPr/>
              <p:nvPr/>
            </p:nvSpPr>
            <p:spPr bwMode="auto">
              <a:xfrm>
                <a:off x="4598974" y="2849153"/>
                <a:ext cx="307676" cy="135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146 w 278"/>
                  <a:gd name="T103" fmla="*/ 115 h 11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lnTo>
                      <a:pt x="146" y="1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6" name="Freeform 515"/>
              <p:cNvSpPr/>
              <p:nvPr/>
            </p:nvSpPr>
            <p:spPr bwMode="auto">
              <a:xfrm>
                <a:off x="4598974" y="2849153"/>
                <a:ext cx="307676" cy="135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7" name="Freeform 516"/>
              <p:cNvSpPr/>
              <p:nvPr/>
            </p:nvSpPr>
            <p:spPr bwMode="auto">
              <a:xfrm>
                <a:off x="4937213" y="3097851"/>
                <a:ext cx="28526" cy="31332"/>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26 w 26"/>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lnTo>
                      <a:pt x="26"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8" name="Freeform 517"/>
              <p:cNvSpPr/>
              <p:nvPr/>
            </p:nvSpPr>
            <p:spPr bwMode="auto">
              <a:xfrm>
                <a:off x="4937213" y="3097851"/>
                <a:ext cx="28526" cy="31332"/>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9" name="Freeform 518"/>
              <p:cNvSpPr/>
              <p:nvPr/>
            </p:nvSpPr>
            <p:spPr bwMode="auto">
              <a:xfrm>
                <a:off x="5173574" y="2958815"/>
                <a:ext cx="277112" cy="256531"/>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lnTo>
                      <a:pt x="10" y="20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0" name="Freeform 519"/>
              <p:cNvSpPr/>
              <p:nvPr/>
            </p:nvSpPr>
            <p:spPr bwMode="auto">
              <a:xfrm>
                <a:off x="5173574" y="2958815"/>
                <a:ext cx="277112" cy="256531"/>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1" name="Freeform 520"/>
              <p:cNvSpPr/>
              <p:nvPr/>
            </p:nvSpPr>
            <p:spPr bwMode="auto">
              <a:xfrm>
                <a:off x="5035018" y="2833487"/>
                <a:ext cx="234323" cy="16253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lnTo>
                      <a:pt x="52"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2" name="Freeform 521"/>
              <p:cNvSpPr/>
              <p:nvPr/>
            </p:nvSpPr>
            <p:spPr bwMode="auto">
              <a:xfrm>
                <a:off x="5035018" y="2833487"/>
                <a:ext cx="234323" cy="16253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3" name="Freeform 522"/>
              <p:cNvSpPr/>
              <p:nvPr/>
            </p:nvSpPr>
            <p:spPr bwMode="auto">
              <a:xfrm>
                <a:off x="5314168" y="2821738"/>
                <a:ext cx="181345" cy="900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lnTo>
                      <a:pt x="68" y="7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4" name="Freeform 523"/>
              <p:cNvSpPr/>
              <p:nvPr/>
            </p:nvSpPr>
            <p:spPr bwMode="auto">
              <a:xfrm>
                <a:off x="5314168" y="2821738"/>
                <a:ext cx="181345" cy="900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5" name="Freeform 524"/>
              <p:cNvSpPr/>
              <p:nvPr/>
            </p:nvSpPr>
            <p:spPr bwMode="auto">
              <a:xfrm>
                <a:off x="3873593" y="3342631"/>
                <a:ext cx="103918" cy="76372"/>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lnTo>
                      <a:pt x="16" y="4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6" name="Freeform 525"/>
              <p:cNvSpPr/>
              <p:nvPr/>
            </p:nvSpPr>
            <p:spPr bwMode="auto">
              <a:xfrm>
                <a:off x="3873593" y="3342631"/>
                <a:ext cx="103918" cy="76372"/>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7" name="Freeform 526"/>
              <p:cNvSpPr/>
              <p:nvPr/>
            </p:nvSpPr>
            <p:spPr bwMode="auto">
              <a:xfrm>
                <a:off x="4617313" y="1488175"/>
                <a:ext cx="2699802" cy="1378603"/>
              </a:xfrm>
              <a:custGeom>
                <a:avLst/>
                <a:gdLst>
                  <a:gd name="T0" fmla="*/ 2372 w 2438"/>
                  <a:gd name="T1" fmla="*/ 558 h 1226"/>
                  <a:gd name="T2" fmla="*/ 2322 w 2438"/>
                  <a:gd name="T3" fmla="*/ 496 h 1226"/>
                  <a:gd name="T4" fmla="*/ 2148 w 2438"/>
                  <a:gd name="T5" fmla="*/ 454 h 1226"/>
                  <a:gd name="T6" fmla="*/ 1984 w 2438"/>
                  <a:gd name="T7" fmla="*/ 431 h 1226"/>
                  <a:gd name="T8" fmla="*/ 1821 w 2438"/>
                  <a:gd name="T9" fmla="*/ 345 h 1226"/>
                  <a:gd name="T10" fmla="*/ 1683 w 2438"/>
                  <a:gd name="T11" fmla="*/ 347 h 1226"/>
                  <a:gd name="T12" fmla="*/ 1567 w 2438"/>
                  <a:gd name="T13" fmla="*/ 369 h 1226"/>
                  <a:gd name="T14" fmla="*/ 1525 w 2438"/>
                  <a:gd name="T15" fmla="*/ 301 h 1226"/>
                  <a:gd name="T16" fmla="*/ 1443 w 2438"/>
                  <a:gd name="T17" fmla="*/ 239 h 1226"/>
                  <a:gd name="T18" fmla="*/ 1293 w 2438"/>
                  <a:gd name="T19" fmla="*/ 261 h 1226"/>
                  <a:gd name="T20" fmla="*/ 1245 w 2438"/>
                  <a:gd name="T21" fmla="*/ 239 h 1226"/>
                  <a:gd name="T22" fmla="*/ 1175 w 2438"/>
                  <a:gd name="T23" fmla="*/ 275 h 1226"/>
                  <a:gd name="T24" fmla="*/ 1293 w 2438"/>
                  <a:gd name="T25" fmla="*/ 148 h 1226"/>
                  <a:gd name="T26" fmla="*/ 1235 w 2438"/>
                  <a:gd name="T27" fmla="*/ 70 h 1226"/>
                  <a:gd name="T28" fmla="*/ 1173 w 2438"/>
                  <a:gd name="T29" fmla="*/ 40 h 1226"/>
                  <a:gd name="T30" fmla="*/ 1103 w 2438"/>
                  <a:gd name="T31" fmla="*/ 72 h 1226"/>
                  <a:gd name="T32" fmla="*/ 1031 w 2438"/>
                  <a:gd name="T33" fmla="*/ 114 h 1226"/>
                  <a:gd name="T34" fmla="*/ 921 w 2438"/>
                  <a:gd name="T35" fmla="*/ 148 h 1226"/>
                  <a:gd name="T36" fmla="*/ 887 w 2438"/>
                  <a:gd name="T37" fmla="*/ 215 h 1226"/>
                  <a:gd name="T38" fmla="*/ 803 w 2438"/>
                  <a:gd name="T39" fmla="*/ 285 h 1226"/>
                  <a:gd name="T40" fmla="*/ 837 w 2438"/>
                  <a:gd name="T41" fmla="*/ 347 h 1226"/>
                  <a:gd name="T42" fmla="*/ 720 w 2438"/>
                  <a:gd name="T43" fmla="*/ 349 h 1226"/>
                  <a:gd name="T44" fmla="*/ 752 w 2438"/>
                  <a:gd name="T45" fmla="*/ 500 h 1226"/>
                  <a:gd name="T46" fmla="*/ 682 w 2438"/>
                  <a:gd name="T47" fmla="*/ 556 h 1226"/>
                  <a:gd name="T48" fmla="*/ 690 w 2438"/>
                  <a:gd name="T49" fmla="*/ 480 h 1226"/>
                  <a:gd name="T50" fmla="*/ 594 w 2438"/>
                  <a:gd name="T51" fmla="*/ 375 h 1226"/>
                  <a:gd name="T52" fmla="*/ 536 w 2438"/>
                  <a:gd name="T53" fmla="*/ 437 h 1226"/>
                  <a:gd name="T54" fmla="*/ 398 w 2438"/>
                  <a:gd name="T55" fmla="*/ 492 h 1226"/>
                  <a:gd name="T56" fmla="*/ 298 w 2438"/>
                  <a:gd name="T57" fmla="*/ 550 h 1226"/>
                  <a:gd name="T58" fmla="*/ 246 w 2438"/>
                  <a:gd name="T59" fmla="*/ 576 h 1226"/>
                  <a:gd name="T60" fmla="*/ 152 w 2438"/>
                  <a:gd name="T61" fmla="*/ 658 h 1226"/>
                  <a:gd name="T62" fmla="*/ 100 w 2438"/>
                  <a:gd name="T63" fmla="*/ 554 h 1226"/>
                  <a:gd name="T64" fmla="*/ 90 w 2438"/>
                  <a:gd name="T65" fmla="*/ 454 h 1226"/>
                  <a:gd name="T66" fmla="*/ 26 w 2438"/>
                  <a:gd name="T67" fmla="*/ 460 h 1226"/>
                  <a:gd name="T68" fmla="*/ 32 w 2438"/>
                  <a:gd name="T69" fmla="*/ 771 h 1226"/>
                  <a:gd name="T70" fmla="*/ 8 w 2438"/>
                  <a:gd name="T71" fmla="*/ 867 h 1226"/>
                  <a:gd name="T72" fmla="*/ 58 w 2438"/>
                  <a:gd name="T73" fmla="*/ 967 h 1226"/>
                  <a:gd name="T74" fmla="*/ 158 w 2438"/>
                  <a:gd name="T75" fmla="*/ 1040 h 1226"/>
                  <a:gd name="T76" fmla="*/ 168 w 2438"/>
                  <a:gd name="T77" fmla="*/ 1114 h 1226"/>
                  <a:gd name="T78" fmla="*/ 282 w 2438"/>
                  <a:gd name="T79" fmla="*/ 1210 h 1226"/>
                  <a:gd name="T80" fmla="*/ 314 w 2438"/>
                  <a:gd name="T81" fmla="*/ 1112 h 1226"/>
                  <a:gd name="T82" fmla="*/ 346 w 2438"/>
                  <a:gd name="T83" fmla="*/ 1002 h 1226"/>
                  <a:gd name="T84" fmla="*/ 454 w 2438"/>
                  <a:gd name="T85" fmla="*/ 1016 h 1226"/>
                  <a:gd name="T86" fmla="*/ 506 w 2438"/>
                  <a:gd name="T87" fmla="*/ 957 h 1226"/>
                  <a:gd name="T88" fmla="*/ 616 w 2438"/>
                  <a:gd name="T89" fmla="*/ 911 h 1226"/>
                  <a:gd name="T90" fmla="*/ 694 w 2438"/>
                  <a:gd name="T91" fmla="*/ 943 h 1226"/>
                  <a:gd name="T92" fmla="*/ 807 w 2438"/>
                  <a:gd name="T93" fmla="*/ 1018 h 1226"/>
                  <a:gd name="T94" fmla="*/ 947 w 2438"/>
                  <a:gd name="T95" fmla="*/ 1032 h 1226"/>
                  <a:gd name="T96" fmla="*/ 1327 w 2438"/>
                  <a:gd name="T97" fmla="*/ 1042 h 1226"/>
                  <a:gd name="T98" fmla="*/ 1557 w 2438"/>
                  <a:gd name="T99" fmla="*/ 1092 h 1226"/>
                  <a:gd name="T100" fmla="*/ 1623 w 2438"/>
                  <a:gd name="T101" fmla="*/ 1170 h 1226"/>
                  <a:gd name="T102" fmla="*/ 1683 w 2438"/>
                  <a:gd name="T103" fmla="*/ 939 h 1226"/>
                  <a:gd name="T104" fmla="*/ 1657 w 2438"/>
                  <a:gd name="T105" fmla="*/ 881 h 1226"/>
                  <a:gd name="T106" fmla="*/ 1853 w 2438"/>
                  <a:gd name="T107" fmla="*/ 791 h 1226"/>
                  <a:gd name="T108" fmla="*/ 1944 w 2438"/>
                  <a:gd name="T109" fmla="*/ 727 h 1226"/>
                  <a:gd name="T110" fmla="*/ 2058 w 2438"/>
                  <a:gd name="T111" fmla="*/ 704 h 1226"/>
                  <a:gd name="T112" fmla="*/ 1966 w 2438"/>
                  <a:gd name="T113" fmla="*/ 970 h 1226"/>
                  <a:gd name="T114" fmla="*/ 2014 w 2438"/>
                  <a:gd name="T115" fmla="*/ 835 h 1226"/>
                  <a:gd name="T116" fmla="*/ 2134 w 2438"/>
                  <a:gd name="T117" fmla="*/ 779 h 1226"/>
                  <a:gd name="T118" fmla="*/ 2212 w 2438"/>
                  <a:gd name="T119" fmla="*/ 712 h 1226"/>
                  <a:gd name="T120" fmla="*/ 2250 w 2438"/>
                  <a:gd name="T121" fmla="*/ 626 h 1226"/>
                  <a:gd name="T122" fmla="*/ 2346 w 2438"/>
                  <a:gd name="T123" fmla="*/ 602 h 1226"/>
                  <a:gd name="T124" fmla="*/ 2392 w 2438"/>
                  <a:gd name="T125" fmla="*/ 624 h 12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38" h="1226">
                    <a:moveTo>
                      <a:pt x="2436" y="576"/>
                    </a:moveTo>
                    <a:lnTo>
                      <a:pt x="2434" y="578"/>
                    </a:lnTo>
                    <a:lnTo>
                      <a:pt x="2432" y="576"/>
                    </a:lnTo>
                    <a:lnTo>
                      <a:pt x="2430" y="574"/>
                    </a:lnTo>
                    <a:lnTo>
                      <a:pt x="2432" y="572"/>
                    </a:lnTo>
                    <a:lnTo>
                      <a:pt x="2428" y="570"/>
                    </a:lnTo>
                    <a:lnTo>
                      <a:pt x="2426" y="574"/>
                    </a:lnTo>
                    <a:lnTo>
                      <a:pt x="2424" y="572"/>
                    </a:lnTo>
                    <a:lnTo>
                      <a:pt x="2426" y="570"/>
                    </a:lnTo>
                    <a:lnTo>
                      <a:pt x="2420" y="564"/>
                    </a:lnTo>
                    <a:lnTo>
                      <a:pt x="2418" y="562"/>
                    </a:lnTo>
                    <a:lnTo>
                      <a:pt x="2414" y="558"/>
                    </a:lnTo>
                    <a:lnTo>
                      <a:pt x="2412" y="554"/>
                    </a:lnTo>
                    <a:lnTo>
                      <a:pt x="2412" y="552"/>
                    </a:lnTo>
                    <a:lnTo>
                      <a:pt x="2408" y="550"/>
                    </a:lnTo>
                    <a:lnTo>
                      <a:pt x="2408" y="548"/>
                    </a:lnTo>
                    <a:lnTo>
                      <a:pt x="2408" y="546"/>
                    </a:lnTo>
                    <a:lnTo>
                      <a:pt x="2394" y="544"/>
                    </a:lnTo>
                    <a:lnTo>
                      <a:pt x="2392" y="544"/>
                    </a:lnTo>
                    <a:lnTo>
                      <a:pt x="2398" y="546"/>
                    </a:lnTo>
                    <a:lnTo>
                      <a:pt x="2396" y="548"/>
                    </a:lnTo>
                    <a:lnTo>
                      <a:pt x="2394" y="548"/>
                    </a:lnTo>
                    <a:lnTo>
                      <a:pt x="2386" y="544"/>
                    </a:lnTo>
                    <a:lnTo>
                      <a:pt x="2386" y="548"/>
                    </a:lnTo>
                    <a:lnTo>
                      <a:pt x="2386" y="550"/>
                    </a:lnTo>
                    <a:lnTo>
                      <a:pt x="2384" y="550"/>
                    </a:lnTo>
                    <a:lnTo>
                      <a:pt x="2384" y="548"/>
                    </a:lnTo>
                    <a:lnTo>
                      <a:pt x="2382" y="546"/>
                    </a:lnTo>
                    <a:lnTo>
                      <a:pt x="2382" y="544"/>
                    </a:lnTo>
                    <a:lnTo>
                      <a:pt x="2384" y="542"/>
                    </a:lnTo>
                    <a:lnTo>
                      <a:pt x="2382" y="540"/>
                    </a:lnTo>
                    <a:lnTo>
                      <a:pt x="2380" y="540"/>
                    </a:lnTo>
                    <a:lnTo>
                      <a:pt x="2380" y="538"/>
                    </a:lnTo>
                    <a:lnTo>
                      <a:pt x="2378" y="538"/>
                    </a:lnTo>
                    <a:lnTo>
                      <a:pt x="2378" y="540"/>
                    </a:lnTo>
                    <a:lnTo>
                      <a:pt x="2376" y="544"/>
                    </a:lnTo>
                    <a:lnTo>
                      <a:pt x="2376" y="542"/>
                    </a:lnTo>
                    <a:lnTo>
                      <a:pt x="2374" y="542"/>
                    </a:lnTo>
                    <a:lnTo>
                      <a:pt x="2372" y="540"/>
                    </a:lnTo>
                    <a:lnTo>
                      <a:pt x="2368" y="540"/>
                    </a:lnTo>
                    <a:lnTo>
                      <a:pt x="2366" y="542"/>
                    </a:lnTo>
                    <a:lnTo>
                      <a:pt x="2366" y="544"/>
                    </a:lnTo>
                    <a:lnTo>
                      <a:pt x="2368" y="542"/>
                    </a:lnTo>
                    <a:lnTo>
                      <a:pt x="2370" y="540"/>
                    </a:lnTo>
                    <a:lnTo>
                      <a:pt x="2370" y="542"/>
                    </a:lnTo>
                    <a:lnTo>
                      <a:pt x="2368" y="542"/>
                    </a:lnTo>
                    <a:lnTo>
                      <a:pt x="2372" y="544"/>
                    </a:lnTo>
                    <a:lnTo>
                      <a:pt x="2372" y="558"/>
                    </a:lnTo>
                    <a:lnTo>
                      <a:pt x="2374" y="558"/>
                    </a:lnTo>
                    <a:lnTo>
                      <a:pt x="2376" y="558"/>
                    </a:lnTo>
                    <a:lnTo>
                      <a:pt x="2378" y="562"/>
                    </a:lnTo>
                    <a:lnTo>
                      <a:pt x="2376" y="566"/>
                    </a:lnTo>
                    <a:lnTo>
                      <a:pt x="2374" y="566"/>
                    </a:lnTo>
                    <a:lnTo>
                      <a:pt x="2374" y="570"/>
                    </a:lnTo>
                    <a:lnTo>
                      <a:pt x="2374" y="566"/>
                    </a:lnTo>
                    <a:lnTo>
                      <a:pt x="2374" y="562"/>
                    </a:lnTo>
                    <a:lnTo>
                      <a:pt x="2370" y="560"/>
                    </a:lnTo>
                    <a:lnTo>
                      <a:pt x="2368" y="560"/>
                    </a:lnTo>
                    <a:lnTo>
                      <a:pt x="2368" y="558"/>
                    </a:lnTo>
                    <a:lnTo>
                      <a:pt x="2368" y="556"/>
                    </a:lnTo>
                    <a:lnTo>
                      <a:pt x="2364" y="554"/>
                    </a:lnTo>
                    <a:lnTo>
                      <a:pt x="2364" y="552"/>
                    </a:lnTo>
                    <a:lnTo>
                      <a:pt x="2364" y="548"/>
                    </a:lnTo>
                    <a:lnTo>
                      <a:pt x="2358" y="528"/>
                    </a:lnTo>
                    <a:lnTo>
                      <a:pt x="2360" y="526"/>
                    </a:lnTo>
                    <a:lnTo>
                      <a:pt x="2360" y="528"/>
                    </a:lnTo>
                    <a:lnTo>
                      <a:pt x="2362" y="532"/>
                    </a:lnTo>
                    <a:lnTo>
                      <a:pt x="2362" y="530"/>
                    </a:lnTo>
                    <a:lnTo>
                      <a:pt x="2362" y="528"/>
                    </a:lnTo>
                    <a:lnTo>
                      <a:pt x="2354" y="524"/>
                    </a:lnTo>
                    <a:lnTo>
                      <a:pt x="2354" y="520"/>
                    </a:lnTo>
                    <a:lnTo>
                      <a:pt x="2352" y="518"/>
                    </a:lnTo>
                    <a:lnTo>
                      <a:pt x="2346" y="514"/>
                    </a:lnTo>
                    <a:lnTo>
                      <a:pt x="2344" y="514"/>
                    </a:lnTo>
                    <a:lnTo>
                      <a:pt x="2346" y="518"/>
                    </a:lnTo>
                    <a:lnTo>
                      <a:pt x="2350" y="522"/>
                    </a:lnTo>
                    <a:lnTo>
                      <a:pt x="2352" y="524"/>
                    </a:lnTo>
                    <a:lnTo>
                      <a:pt x="2352" y="526"/>
                    </a:lnTo>
                    <a:lnTo>
                      <a:pt x="2342" y="520"/>
                    </a:lnTo>
                    <a:lnTo>
                      <a:pt x="2340" y="518"/>
                    </a:lnTo>
                    <a:lnTo>
                      <a:pt x="2336" y="518"/>
                    </a:lnTo>
                    <a:lnTo>
                      <a:pt x="2338" y="516"/>
                    </a:lnTo>
                    <a:lnTo>
                      <a:pt x="2340" y="514"/>
                    </a:lnTo>
                    <a:lnTo>
                      <a:pt x="2342" y="512"/>
                    </a:lnTo>
                    <a:lnTo>
                      <a:pt x="2342" y="510"/>
                    </a:lnTo>
                    <a:lnTo>
                      <a:pt x="2336" y="510"/>
                    </a:lnTo>
                    <a:lnTo>
                      <a:pt x="2332" y="510"/>
                    </a:lnTo>
                    <a:lnTo>
                      <a:pt x="2330" y="508"/>
                    </a:lnTo>
                    <a:lnTo>
                      <a:pt x="2328" y="506"/>
                    </a:lnTo>
                    <a:lnTo>
                      <a:pt x="2330" y="504"/>
                    </a:lnTo>
                    <a:lnTo>
                      <a:pt x="2330" y="502"/>
                    </a:lnTo>
                    <a:lnTo>
                      <a:pt x="2330" y="500"/>
                    </a:lnTo>
                    <a:lnTo>
                      <a:pt x="2324" y="500"/>
                    </a:lnTo>
                    <a:lnTo>
                      <a:pt x="2326" y="498"/>
                    </a:lnTo>
                    <a:lnTo>
                      <a:pt x="2324" y="496"/>
                    </a:lnTo>
                    <a:lnTo>
                      <a:pt x="2322" y="496"/>
                    </a:lnTo>
                    <a:lnTo>
                      <a:pt x="2320" y="494"/>
                    </a:lnTo>
                    <a:lnTo>
                      <a:pt x="2318" y="492"/>
                    </a:lnTo>
                    <a:lnTo>
                      <a:pt x="2312" y="494"/>
                    </a:lnTo>
                    <a:lnTo>
                      <a:pt x="2312" y="492"/>
                    </a:lnTo>
                    <a:lnTo>
                      <a:pt x="2312" y="490"/>
                    </a:lnTo>
                    <a:lnTo>
                      <a:pt x="2312" y="486"/>
                    </a:lnTo>
                    <a:lnTo>
                      <a:pt x="2308" y="484"/>
                    </a:lnTo>
                    <a:lnTo>
                      <a:pt x="2310" y="488"/>
                    </a:lnTo>
                    <a:lnTo>
                      <a:pt x="2306" y="486"/>
                    </a:lnTo>
                    <a:lnTo>
                      <a:pt x="2302" y="484"/>
                    </a:lnTo>
                    <a:lnTo>
                      <a:pt x="2300" y="474"/>
                    </a:lnTo>
                    <a:lnTo>
                      <a:pt x="2298" y="474"/>
                    </a:lnTo>
                    <a:lnTo>
                      <a:pt x="2292" y="472"/>
                    </a:lnTo>
                    <a:lnTo>
                      <a:pt x="2290" y="468"/>
                    </a:lnTo>
                    <a:lnTo>
                      <a:pt x="2286" y="470"/>
                    </a:lnTo>
                    <a:lnTo>
                      <a:pt x="2284" y="468"/>
                    </a:lnTo>
                    <a:lnTo>
                      <a:pt x="2264" y="451"/>
                    </a:lnTo>
                    <a:lnTo>
                      <a:pt x="2262" y="449"/>
                    </a:lnTo>
                    <a:lnTo>
                      <a:pt x="2260" y="447"/>
                    </a:lnTo>
                    <a:lnTo>
                      <a:pt x="2258" y="447"/>
                    </a:lnTo>
                    <a:lnTo>
                      <a:pt x="2248" y="443"/>
                    </a:lnTo>
                    <a:lnTo>
                      <a:pt x="2244" y="439"/>
                    </a:lnTo>
                    <a:lnTo>
                      <a:pt x="2242" y="439"/>
                    </a:lnTo>
                    <a:lnTo>
                      <a:pt x="2236" y="437"/>
                    </a:lnTo>
                    <a:lnTo>
                      <a:pt x="2234" y="435"/>
                    </a:lnTo>
                    <a:lnTo>
                      <a:pt x="2224" y="429"/>
                    </a:lnTo>
                    <a:lnTo>
                      <a:pt x="2208" y="427"/>
                    </a:lnTo>
                    <a:lnTo>
                      <a:pt x="2206" y="429"/>
                    </a:lnTo>
                    <a:lnTo>
                      <a:pt x="2202" y="429"/>
                    </a:lnTo>
                    <a:lnTo>
                      <a:pt x="2200" y="427"/>
                    </a:lnTo>
                    <a:lnTo>
                      <a:pt x="2196" y="427"/>
                    </a:lnTo>
                    <a:lnTo>
                      <a:pt x="2192" y="427"/>
                    </a:lnTo>
                    <a:lnTo>
                      <a:pt x="2186" y="427"/>
                    </a:lnTo>
                    <a:lnTo>
                      <a:pt x="2182" y="429"/>
                    </a:lnTo>
                    <a:lnTo>
                      <a:pt x="2178" y="427"/>
                    </a:lnTo>
                    <a:lnTo>
                      <a:pt x="2172" y="423"/>
                    </a:lnTo>
                    <a:lnTo>
                      <a:pt x="2168" y="425"/>
                    </a:lnTo>
                    <a:lnTo>
                      <a:pt x="2144" y="419"/>
                    </a:lnTo>
                    <a:lnTo>
                      <a:pt x="2140" y="421"/>
                    </a:lnTo>
                    <a:lnTo>
                      <a:pt x="2140" y="425"/>
                    </a:lnTo>
                    <a:lnTo>
                      <a:pt x="2142" y="427"/>
                    </a:lnTo>
                    <a:lnTo>
                      <a:pt x="2140" y="433"/>
                    </a:lnTo>
                    <a:lnTo>
                      <a:pt x="2136" y="435"/>
                    </a:lnTo>
                    <a:lnTo>
                      <a:pt x="2134" y="439"/>
                    </a:lnTo>
                    <a:lnTo>
                      <a:pt x="2142" y="441"/>
                    </a:lnTo>
                    <a:lnTo>
                      <a:pt x="2146" y="451"/>
                    </a:lnTo>
                    <a:lnTo>
                      <a:pt x="2148" y="453"/>
                    </a:lnTo>
                    <a:lnTo>
                      <a:pt x="2148" y="454"/>
                    </a:lnTo>
                    <a:lnTo>
                      <a:pt x="2148" y="460"/>
                    </a:lnTo>
                    <a:lnTo>
                      <a:pt x="2140" y="470"/>
                    </a:lnTo>
                    <a:lnTo>
                      <a:pt x="2136" y="474"/>
                    </a:lnTo>
                    <a:lnTo>
                      <a:pt x="2128" y="474"/>
                    </a:lnTo>
                    <a:lnTo>
                      <a:pt x="2126" y="472"/>
                    </a:lnTo>
                    <a:lnTo>
                      <a:pt x="2124" y="462"/>
                    </a:lnTo>
                    <a:lnTo>
                      <a:pt x="2120" y="460"/>
                    </a:lnTo>
                    <a:lnTo>
                      <a:pt x="2118" y="458"/>
                    </a:lnTo>
                    <a:lnTo>
                      <a:pt x="2116" y="456"/>
                    </a:lnTo>
                    <a:lnTo>
                      <a:pt x="2110" y="456"/>
                    </a:lnTo>
                    <a:lnTo>
                      <a:pt x="2108" y="454"/>
                    </a:lnTo>
                    <a:lnTo>
                      <a:pt x="2106" y="441"/>
                    </a:lnTo>
                    <a:lnTo>
                      <a:pt x="2102" y="439"/>
                    </a:lnTo>
                    <a:lnTo>
                      <a:pt x="2102" y="437"/>
                    </a:lnTo>
                    <a:lnTo>
                      <a:pt x="2104" y="435"/>
                    </a:lnTo>
                    <a:lnTo>
                      <a:pt x="2100" y="431"/>
                    </a:lnTo>
                    <a:lnTo>
                      <a:pt x="2098" y="433"/>
                    </a:lnTo>
                    <a:lnTo>
                      <a:pt x="2088" y="443"/>
                    </a:lnTo>
                    <a:lnTo>
                      <a:pt x="2086" y="445"/>
                    </a:lnTo>
                    <a:lnTo>
                      <a:pt x="2084" y="443"/>
                    </a:lnTo>
                    <a:lnTo>
                      <a:pt x="2078" y="443"/>
                    </a:lnTo>
                    <a:lnTo>
                      <a:pt x="2072" y="441"/>
                    </a:lnTo>
                    <a:lnTo>
                      <a:pt x="2064" y="439"/>
                    </a:lnTo>
                    <a:lnTo>
                      <a:pt x="2060" y="441"/>
                    </a:lnTo>
                    <a:lnTo>
                      <a:pt x="2052" y="441"/>
                    </a:lnTo>
                    <a:lnTo>
                      <a:pt x="2048" y="439"/>
                    </a:lnTo>
                    <a:lnTo>
                      <a:pt x="2044" y="431"/>
                    </a:lnTo>
                    <a:lnTo>
                      <a:pt x="2040" y="435"/>
                    </a:lnTo>
                    <a:lnTo>
                      <a:pt x="2030" y="435"/>
                    </a:lnTo>
                    <a:lnTo>
                      <a:pt x="2026" y="437"/>
                    </a:lnTo>
                    <a:lnTo>
                      <a:pt x="2022" y="435"/>
                    </a:lnTo>
                    <a:lnTo>
                      <a:pt x="2020" y="435"/>
                    </a:lnTo>
                    <a:lnTo>
                      <a:pt x="2018" y="437"/>
                    </a:lnTo>
                    <a:lnTo>
                      <a:pt x="2018" y="439"/>
                    </a:lnTo>
                    <a:lnTo>
                      <a:pt x="2016" y="439"/>
                    </a:lnTo>
                    <a:lnTo>
                      <a:pt x="2014" y="443"/>
                    </a:lnTo>
                    <a:lnTo>
                      <a:pt x="2010" y="443"/>
                    </a:lnTo>
                    <a:lnTo>
                      <a:pt x="2008" y="447"/>
                    </a:lnTo>
                    <a:lnTo>
                      <a:pt x="2006" y="449"/>
                    </a:lnTo>
                    <a:lnTo>
                      <a:pt x="2004" y="449"/>
                    </a:lnTo>
                    <a:lnTo>
                      <a:pt x="2004" y="443"/>
                    </a:lnTo>
                    <a:lnTo>
                      <a:pt x="2002" y="441"/>
                    </a:lnTo>
                    <a:lnTo>
                      <a:pt x="2000" y="441"/>
                    </a:lnTo>
                    <a:lnTo>
                      <a:pt x="1998" y="441"/>
                    </a:lnTo>
                    <a:lnTo>
                      <a:pt x="1994" y="435"/>
                    </a:lnTo>
                    <a:lnTo>
                      <a:pt x="1992" y="433"/>
                    </a:lnTo>
                    <a:lnTo>
                      <a:pt x="1986" y="433"/>
                    </a:lnTo>
                    <a:lnTo>
                      <a:pt x="1984" y="431"/>
                    </a:lnTo>
                    <a:lnTo>
                      <a:pt x="1980" y="431"/>
                    </a:lnTo>
                    <a:lnTo>
                      <a:pt x="1980" y="429"/>
                    </a:lnTo>
                    <a:lnTo>
                      <a:pt x="1984" y="411"/>
                    </a:lnTo>
                    <a:lnTo>
                      <a:pt x="1984" y="403"/>
                    </a:lnTo>
                    <a:lnTo>
                      <a:pt x="1982" y="399"/>
                    </a:lnTo>
                    <a:lnTo>
                      <a:pt x="1982" y="397"/>
                    </a:lnTo>
                    <a:lnTo>
                      <a:pt x="1972" y="385"/>
                    </a:lnTo>
                    <a:lnTo>
                      <a:pt x="1970" y="383"/>
                    </a:lnTo>
                    <a:lnTo>
                      <a:pt x="1966" y="379"/>
                    </a:lnTo>
                    <a:lnTo>
                      <a:pt x="1964" y="379"/>
                    </a:lnTo>
                    <a:lnTo>
                      <a:pt x="1952" y="377"/>
                    </a:lnTo>
                    <a:lnTo>
                      <a:pt x="1948" y="377"/>
                    </a:lnTo>
                    <a:lnTo>
                      <a:pt x="1926" y="377"/>
                    </a:lnTo>
                    <a:lnTo>
                      <a:pt x="1924" y="379"/>
                    </a:lnTo>
                    <a:lnTo>
                      <a:pt x="1918" y="379"/>
                    </a:lnTo>
                    <a:lnTo>
                      <a:pt x="1916" y="379"/>
                    </a:lnTo>
                    <a:lnTo>
                      <a:pt x="1912" y="381"/>
                    </a:lnTo>
                    <a:lnTo>
                      <a:pt x="1906" y="379"/>
                    </a:lnTo>
                    <a:lnTo>
                      <a:pt x="1904" y="379"/>
                    </a:lnTo>
                    <a:lnTo>
                      <a:pt x="1902" y="381"/>
                    </a:lnTo>
                    <a:lnTo>
                      <a:pt x="1899" y="381"/>
                    </a:lnTo>
                    <a:lnTo>
                      <a:pt x="1895" y="381"/>
                    </a:lnTo>
                    <a:lnTo>
                      <a:pt x="1891" y="381"/>
                    </a:lnTo>
                    <a:lnTo>
                      <a:pt x="1889" y="381"/>
                    </a:lnTo>
                    <a:lnTo>
                      <a:pt x="1887" y="381"/>
                    </a:lnTo>
                    <a:lnTo>
                      <a:pt x="1879" y="385"/>
                    </a:lnTo>
                    <a:lnTo>
                      <a:pt x="1877" y="385"/>
                    </a:lnTo>
                    <a:lnTo>
                      <a:pt x="1875" y="387"/>
                    </a:lnTo>
                    <a:lnTo>
                      <a:pt x="1867" y="379"/>
                    </a:lnTo>
                    <a:lnTo>
                      <a:pt x="1863" y="379"/>
                    </a:lnTo>
                    <a:lnTo>
                      <a:pt x="1869" y="377"/>
                    </a:lnTo>
                    <a:lnTo>
                      <a:pt x="1871" y="373"/>
                    </a:lnTo>
                    <a:lnTo>
                      <a:pt x="1871" y="369"/>
                    </a:lnTo>
                    <a:lnTo>
                      <a:pt x="1861" y="361"/>
                    </a:lnTo>
                    <a:lnTo>
                      <a:pt x="1861" y="359"/>
                    </a:lnTo>
                    <a:lnTo>
                      <a:pt x="1859" y="357"/>
                    </a:lnTo>
                    <a:lnTo>
                      <a:pt x="1849" y="359"/>
                    </a:lnTo>
                    <a:lnTo>
                      <a:pt x="1847" y="359"/>
                    </a:lnTo>
                    <a:lnTo>
                      <a:pt x="1845" y="357"/>
                    </a:lnTo>
                    <a:lnTo>
                      <a:pt x="1845" y="355"/>
                    </a:lnTo>
                    <a:lnTo>
                      <a:pt x="1841" y="351"/>
                    </a:lnTo>
                    <a:lnTo>
                      <a:pt x="1839" y="349"/>
                    </a:lnTo>
                    <a:lnTo>
                      <a:pt x="1837" y="347"/>
                    </a:lnTo>
                    <a:lnTo>
                      <a:pt x="1831" y="345"/>
                    </a:lnTo>
                    <a:lnTo>
                      <a:pt x="1831" y="347"/>
                    </a:lnTo>
                    <a:lnTo>
                      <a:pt x="1827" y="347"/>
                    </a:lnTo>
                    <a:lnTo>
                      <a:pt x="1827" y="345"/>
                    </a:lnTo>
                    <a:lnTo>
                      <a:pt x="1821" y="345"/>
                    </a:lnTo>
                    <a:lnTo>
                      <a:pt x="1821" y="343"/>
                    </a:lnTo>
                    <a:lnTo>
                      <a:pt x="1825" y="335"/>
                    </a:lnTo>
                    <a:lnTo>
                      <a:pt x="1827" y="335"/>
                    </a:lnTo>
                    <a:lnTo>
                      <a:pt x="1831" y="337"/>
                    </a:lnTo>
                    <a:lnTo>
                      <a:pt x="1833" y="339"/>
                    </a:lnTo>
                    <a:lnTo>
                      <a:pt x="1837" y="337"/>
                    </a:lnTo>
                    <a:lnTo>
                      <a:pt x="1835" y="331"/>
                    </a:lnTo>
                    <a:lnTo>
                      <a:pt x="1833" y="323"/>
                    </a:lnTo>
                    <a:lnTo>
                      <a:pt x="1823" y="317"/>
                    </a:lnTo>
                    <a:lnTo>
                      <a:pt x="1819" y="317"/>
                    </a:lnTo>
                    <a:lnTo>
                      <a:pt x="1819" y="315"/>
                    </a:lnTo>
                    <a:lnTo>
                      <a:pt x="1813" y="313"/>
                    </a:lnTo>
                    <a:lnTo>
                      <a:pt x="1807" y="313"/>
                    </a:lnTo>
                    <a:lnTo>
                      <a:pt x="1805" y="313"/>
                    </a:lnTo>
                    <a:lnTo>
                      <a:pt x="1795" y="311"/>
                    </a:lnTo>
                    <a:lnTo>
                      <a:pt x="1793" y="313"/>
                    </a:lnTo>
                    <a:lnTo>
                      <a:pt x="1787" y="311"/>
                    </a:lnTo>
                    <a:lnTo>
                      <a:pt x="1783" y="309"/>
                    </a:lnTo>
                    <a:lnTo>
                      <a:pt x="1779" y="309"/>
                    </a:lnTo>
                    <a:lnTo>
                      <a:pt x="1773" y="303"/>
                    </a:lnTo>
                    <a:lnTo>
                      <a:pt x="1771" y="303"/>
                    </a:lnTo>
                    <a:lnTo>
                      <a:pt x="1761" y="301"/>
                    </a:lnTo>
                    <a:lnTo>
                      <a:pt x="1753" y="297"/>
                    </a:lnTo>
                    <a:lnTo>
                      <a:pt x="1741" y="297"/>
                    </a:lnTo>
                    <a:lnTo>
                      <a:pt x="1739" y="295"/>
                    </a:lnTo>
                    <a:lnTo>
                      <a:pt x="1711" y="295"/>
                    </a:lnTo>
                    <a:lnTo>
                      <a:pt x="1709" y="293"/>
                    </a:lnTo>
                    <a:lnTo>
                      <a:pt x="1707" y="291"/>
                    </a:lnTo>
                    <a:lnTo>
                      <a:pt x="1705" y="289"/>
                    </a:lnTo>
                    <a:lnTo>
                      <a:pt x="1701" y="289"/>
                    </a:lnTo>
                    <a:lnTo>
                      <a:pt x="1699" y="291"/>
                    </a:lnTo>
                    <a:lnTo>
                      <a:pt x="1697" y="293"/>
                    </a:lnTo>
                    <a:lnTo>
                      <a:pt x="1701" y="295"/>
                    </a:lnTo>
                    <a:lnTo>
                      <a:pt x="1701" y="299"/>
                    </a:lnTo>
                    <a:lnTo>
                      <a:pt x="1703" y="301"/>
                    </a:lnTo>
                    <a:lnTo>
                      <a:pt x="1701" y="303"/>
                    </a:lnTo>
                    <a:lnTo>
                      <a:pt x="1697" y="307"/>
                    </a:lnTo>
                    <a:lnTo>
                      <a:pt x="1695" y="315"/>
                    </a:lnTo>
                    <a:lnTo>
                      <a:pt x="1691" y="321"/>
                    </a:lnTo>
                    <a:lnTo>
                      <a:pt x="1687" y="321"/>
                    </a:lnTo>
                    <a:lnTo>
                      <a:pt x="1685" y="325"/>
                    </a:lnTo>
                    <a:lnTo>
                      <a:pt x="1683" y="329"/>
                    </a:lnTo>
                    <a:lnTo>
                      <a:pt x="1681" y="331"/>
                    </a:lnTo>
                    <a:lnTo>
                      <a:pt x="1683" y="335"/>
                    </a:lnTo>
                    <a:lnTo>
                      <a:pt x="1683" y="337"/>
                    </a:lnTo>
                    <a:lnTo>
                      <a:pt x="1681" y="337"/>
                    </a:lnTo>
                    <a:lnTo>
                      <a:pt x="1681" y="343"/>
                    </a:lnTo>
                    <a:lnTo>
                      <a:pt x="1683" y="347"/>
                    </a:lnTo>
                    <a:lnTo>
                      <a:pt x="1685" y="349"/>
                    </a:lnTo>
                    <a:lnTo>
                      <a:pt x="1685" y="351"/>
                    </a:lnTo>
                    <a:lnTo>
                      <a:pt x="1687" y="355"/>
                    </a:lnTo>
                    <a:lnTo>
                      <a:pt x="1685" y="357"/>
                    </a:lnTo>
                    <a:lnTo>
                      <a:pt x="1683" y="357"/>
                    </a:lnTo>
                    <a:lnTo>
                      <a:pt x="1677" y="353"/>
                    </a:lnTo>
                    <a:lnTo>
                      <a:pt x="1675" y="359"/>
                    </a:lnTo>
                    <a:lnTo>
                      <a:pt x="1671" y="357"/>
                    </a:lnTo>
                    <a:lnTo>
                      <a:pt x="1671" y="359"/>
                    </a:lnTo>
                    <a:lnTo>
                      <a:pt x="1669" y="357"/>
                    </a:lnTo>
                    <a:lnTo>
                      <a:pt x="1665" y="361"/>
                    </a:lnTo>
                    <a:lnTo>
                      <a:pt x="1663" y="363"/>
                    </a:lnTo>
                    <a:lnTo>
                      <a:pt x="1661" y="365"/>
                    </a:lnTo>
                    <a:lnTo>
                      <a:pt x="1659" y="369"/>
                    </a:lnTo>
                    <a:lnTo>
                      <a:pt x="1657" y="369"/>
                    </a:lnTo>
                    <a:lnTo>
                      <a:pt x="1655" y="371"/>
                    </a:lnTo>
                    <a:lnTo>
                      <a:pt x="1653" y="369"/>
                    </a:lnTo>
                    <a:lnTo>
                      <a:pt x="1651" y="367"/>
                    </a:lnTo>
                    <a:lnTo>
                      <a:pt x="1651" y="363"/>
                    </a:lnTo>
                    <a:lnTo>
                      <a:pt x="1647" y="363"/>
                    </a:lnTo>
                    <a:lnTo>
                      <a:pt x="1647" y="361"/>
                    </a:lnTo>
                    <a:lnTo>
                      <a:pt x="1645" y="359"/>
                    </a:lnTo>
                    <a:lnTo>
                      <a:pt x="1643" y="359"/>
                    </a:lnTo>
                    <a:lnTo>
                      <a:pt x="1635" y="353"/>
                    </a:lnTo>
                    <a:lnTo>
                      <a:pt x="1631" y="353"/>
                    </a:lnTo>
                    <a:lnTo>
                      <a:pt x="1627" y="351"/>
                    </a:lnTo>
                    <a:lnTo>
                      <a:pt x="1625" y="349"/>
                    </a:lnTo>
                    <a:lnTo>
                      <a:pt x="1623" y="349"/>
                    </a:lnTo>
                    <a:lnTo>
                      <a:pt x="1619" y="347"/>
                    </a:lnTo>
                    <a:lnTo>
                      <a:pt x="1611" y="349"/>
                    </a:lnTo>
                    <a:lnTo>
                      <a:pt x="1609" y="353"/>
                    </a:lnTo>
                    <a:lnTo>
                      <a:pt x="1607" y="355"/>
                    </a:lnTo>
                    <a:lnTo>
                      <a:pt x="1609" y="359"/>
                    </a:lnTo>
                    <a:lnTo>
                      <a:pt x="1609" y="361"/>
                    </a:lnTo>
                    <a:lnTo>
                      <a:pt x="1605" y="357"/>
                    </a:lnTo>
                    <a:lnTo>
                      <a:pt x="1603" y="359"/>
                    </a:lnTo>
                    <a:lnTo>
                      <a:pt x="1597" y="357"/>
                    </a:lnTo>
                    <a:lnTo>
                      <a:pt x="1593" y="359"/>
                    </a:lnTo>
                    <a:lnTo>
                      <a:pt x="1591" y="357"/>
                    </a:lnTo>
                    <a:lnTo>
                      <a:pt x="1587" y="353"/>
                    </a:lnTo>
                    <a:lnTo>
                      <a:pt x="1585" y="351"/>
                    </a:lnTo>
                    <a:lnTo>
                      <a:pt x="1583" y="345"/>
                    </a:lnTo>
                    <a:lnTo>
                      <a:pt x="1579" y="341"/>
                    </a:lnTo>
                    <a:lnTo>
                      <a:pt x="1577" y="333"/>
                    </a:lnTo>
                    <a:lnTo>
                      <a:pt x="1577" y="331"/>
                    </a:lnTo>
                    <a:lnTo>
                      <a:pt x="1575" y="333"/>
                    </a:lnTo>
                    <a:lnTo>
                      <a:pt x="1567" y="351"/>
                    </a:lnTo>
                    <a:lnTo>
                      <a:pt x="1567" y="369"/>
                    </a:lnTo>
                    <a:lnTo>
                      <a:pt x="1565" y="371"/>
                    </a:lnTo>
                    <a:lnTo>
                      <a:pt x="1561" y="377"/>
                    </a:lnTo>
                    <a:lnTo>
                      <a:pt x="1561" y="379"/>
                    </a:lnTo>
                    <a:lnTo>
                      <a:pt x="1559" y="383"/>
                    </a:lnTo>
                    <a:lnTo>
                      <a:pt x="1557" y="387"/>
                    </a:lnTo>
                    <a:lnTo>
                      <a:pt x="1555" y="391"/>
                    </a:lnTo>
                    <a:lnTo>
                      <a:pt x="1553" y="389"/>
                    </a:lnTo>
                    <a:lnTo>
                      <a:pt x="1549" y="381"/>
                    </a:lnTo>
                    <a:lnTo>
                      <a:pt x="1549" y="379"/>
                    </a:lnTo>
                    <a:lnTo>
                      <a:pt x="1549" y="383"/>
                    </a:lnTo>
                    <a:lnTo>
                      <a:pt x="1547" y="383"/>
                    </a:lnTo>
                    <a:lnTo>
                      <a:pt x="1545" y="381"/>
                    </a:lnTo>
                    <a:lnTo>
                      <a:pt x="1543" y="381"/>
                    </a:lnTo>
                    <a:lnTo>
                      <a:pt x="1541" y="381"/>
                    </a:lnTo>
                    <a:lnTo>
                      <a:pt x="1539" y="379"/>
                    </a:lnTo>
                    <a:lnTo>
                      <a:pt x="1539" y="377"/>
                    </a:lnTo>
                    <a:lnTo>
                      <a:pt x="1537" y="373"/>
                    </a:lnTo>
                    <a:lnTo>
                      <a:pt x="1535" y="375"/>
                    </a:lnTo>
                    <a:lnTo>
                      <a:pt x="1535" y="373"/>
                    </a:lnTo>
                    <a:lnTo>
                      <a:pt x="1533" y="373"/>
                    </a:lnTo>
                    <a:lnTo>
                      <a:pt x="1531" y="365"/>
                    </a:lnTo>
                    <a:lnTo>
                      <a:pt x="1529" y="365"/>
                    </a:lnTo>
                    <a:lnTo>
                      <a:pt x="1525" y="355"/>
                    </a:lnTo>
                    <a:lnTo>
                      <a:pt x="1525" y="351"/>
                    </a:lnTo>
                    <a:lnTo>
                      <a:pt x="1523" y="347"/>
                    </a:lnTo>
                    <a:lnTo>
                      <a:pt x="1521" y="349"/>
                    </a:lnTo>
                    <a:lnTo>
                      <a:pt x="1519" y="347"/>
                    </a:lnTo>
                    <a:lnTo>
                      <a:pt x="1519" y="345"/>
                    </a:lnTo>
                    <a:lnTo>
                      <a:pt x="1519" y="343"/>
                    </a:lnTo>
                    <a:lnTo>
                      <a:pt x="1517" y="341"/>
                    </a:lnTo>
                    <a:lnTo>
                      <a:pt x="1517" y="335"/>
                    </a:lnTo>
                    <a:lnTo>
                      <a:pt x="1521" y="327"/>
                    </a:lnTo>
                    <a:lnTo>
                      <a:pt x="1523" y="329"/>
                    </a:lnTo>
                    <a:lnTo>
                      <a:pt x="1525" y="329"/>
                    </a:lnTo>
                    <a:lnTo>
                      <a:pt x="1523" y="327"/>
                    </a:lnTo>
                    <a:lnTo>
                      <a:pt x="1525" y="325"/>
                    </a:lnTo>
                    <a:lnTo>
                      <a:pt x="1527" y="323"/>
                    </a:lnTo>
                    <a:lnTo>
                      <a:pt x="1529" y="323"/>
                    </a:lnTo>
                    <a:lnTo>
                      <a:pt x="1527" y="323"/>
                    </a:lnTo>
                    <a:lnTo>
                      <a:pt x="1527" y="321"/>
                    </a:lnTo>
                    <a:lnTo>
                      <a:pt x="1529" y="319"/>
                    </a:lnTo>
                    <a:lnTo>
                      <a:pt x="1527" y="319"/>
                    </a:lnTo>
                    <a:lnTo>
                      <a:pt x="1527" y="317"/>
                    </a:lnTo>
                    <a:lnTo>
                      <a:pt x="1531" y="311"/>
                    </a:lnTo>
                    <a:lnTo>
                      <a:pt x="1525" y="307"/>
                    </a:lnTo>
                    <a:lnTo>
                      <a:pt x="1525" y="305"/>
                    </a:lnTo>
                    <a:lnTo>
                      <a:pt x="1527" y="303"/>
                    </a:lnTo>
                    <a:lnTo>
                      <a:pt x="1525" y="301"/>
                    </a:lnTo>
                    <a:lnTo>
                      <a:pt x="1525" y="299"/>
                    </a:lnTo>
                    <a:lnTo>
                      <a:pt x="1527" y="297"/>
                    </a:lnTo>
                    <a:lnTo>
                      <a:pt x="1527" y="293"/>
                    </a:lnTo>
                    <a:lnTo>
                      <a:pt x="1525" y="293"/>
                    </a:lnTo>
                    <a:lnTo>
                      <a:pt x="1525" y="291"/>
                    </a:lnTo>
                    <a:lnTo>
                      <a:pt x="1525" y="289"/>
                    </a:lnTo>
                    <a:lnTo>
                      <a:pt x="1525" y="287"/>
                    </a:lnTo>
                    <a:lnTo>
                      <a:pt x="1527" y="285"/>
                    </a:lnTo>
                    <a:lnTo>
                      <a:pt x="1527" y="283"/>
                    </a:lnTo>
                    <a:lnTo>
                      <a:pt x="1529" y="281"/>
                    </a:lnTo>
                    <a:lnTo>
                      <a:pt x="1527" y="281"/>
                    </a:lnTo>
                    <a:lnTo>
                      <a:pt x="1527" y="279"/>
                    </a:lnTo>
                    <a:lnTo>
                      <a:pt x="1523" y="275"/>
                    </a:lnTo>
                    <a:lnTo>
                      <a:pt x="1523" y="273"/>
                    </a:lnTo>
                    <a:lnTo>
                      <a:pt x="1519" y="271"/>
                    </a:lnTo>
                    <a:lnTo>
                      <a:pt x="1519" y="269"/>
                    </a:lnTo>
                    <a:lnTo>
                      <a:pt x="1513" y="265"/>
                    </a:lnTo>
                    <a:lnTo>
                      <a:pt x="1513" y="263"/>
                    </a:lnTo>
                    <a:lnTo>
                      <a:pt x="1513" y="261"/>
                    </a:lnTo>
                    <a:lnTo>
                      <a:pt x="1511" y="261"/>
                    </a:lnTo>
                    <a:lnTo>
                      <a:pt x="1509" y="259"/>
                    </a:lnTo>
                    <a:lnTo>
                      <a:pt x="1507" y="257"/>
                    </a:lnTo>
                    <a:lnTo>
                      <a:pt x="1503" y="255"/>
                    </a:lnTo>
                    <a:lnTo>
                      <a:pt x="1501" y="255"/>
                    </a:lnTo>
                    <a:lnTo>
                      <a:pt x="1497" y="255"/>
                    </a:lnTo>
                    <a:lnTo>
                      <a:pt x="1491" y="253"/>
                    </a:lnTo>
                    <a:lnTo>
                      <a:pt x="1489" y="255"/>
                    </a:lnTo>
                    <a:lnTo>
                      <a:pt x="1487" y="255"/>
                    </a:lnTo>
                    <a:lnTo>
                      <a:pt x="1485" y="259"/>
                    </a:lnTo>
                    <a:lnTo>
                      <a:pt x="1483" y="257"/>
                    </a:lnTo>
                    <a:lnTo>
                      <a:pt x="1479" y="251"/>
                    </a:lnTo>
                    <a:lnTo>
                      <a:pt x="1477" y="253"/>
                    </a:lnTo>
                    <a:lnTo>
                      <a:pt x="1475" y="251"/>
                    </a:lnTo>
                    <a:lnTo>
                      <a:pt x="1473" y="251"/>
                    </a:lnTo>
                    <a:lnTo>
                      <a:pt x="1471" y="249"/>
                    </a:lnTo>
                    <a:lnTo>
                      <a:pt x="1469" y="249"/>
                    </a:lnTo>
                    <a:lnTo>
                      <a:pt x="1467" y="249"/>
                    </a:lnTo>
                    <a:lnTo>
                      <a:pt x="1467" y="251"/>
                    </a:lnTo>
                    <a:lnTo>
                      <a:pt x="1465" y="249"/>
                    </a:lnTo>
                    <a:lnTo>
                      <a:pt x="1463" y="243"/>
                    </a:lnTo>
                    <a:lnTo>
                      <a:pt x="1461" y="245"/>
                    </a:lnTo>
                    <a:lnTo>
                      <a:pt x="1459" y="241"/>
                    </a:lnTo>
                    <a:lnTo>
                      <a:pt x="1457" y="241"/>
                    </a:lnTo>
                    <a:lnTo>
                      <a:pt x="1455" y="239"/>
                    </a:lnTo>
                    <a:lnTo>
                      <a:pt x="1449" y="239"/>
                    </a:lnTo>
                    <a:lnTo>
                      <a:pt x="1445" y="237"/>
                    </a:lnTo>
                    <a:lnTo>
                      <a:pt x="1443" y="237"/>
                    </a:lnTo>
                    <a:lnTo>
                      <a:pt x="1443" y="239"/>
                    </a:lnTo>
                    <a:lnTo>
                      <a:pt x="1443" y="243"/>
                    </a:lnTo>
                    <a:lnTo>
                      <a:pt x="1439" y="243"/>
                    </a:lnTo>
                    <a:lnTo>
                      <a:pt x="1437" y="239"/>
                    </a:lnTo>
                    <a:lnTo>
                      <a:pt x="1433" y="257"/>
                    </a:lnTo>
                    <a:lnTo>
                      <a:pt x="1435" y="257"/>
                    </a:lnTo>
                    <a:lnTo>
                      <a:pt x="1433" y="259"/>
                    </a:lnTo>
                    <a:lnTo>
                      <a:pt x="1433" y="261"/>
                    </a:lnTo>
                    <a:lnTo>
                      <a:pt x="1437" y="273"/>
                    </a:lnTo>
                    <a:lnTo>
                      <a:pt x="1437" y="275"/>
                    </a:lnTo>
                    <a:lnTo>
                      <a:pt x="1435" y="279"/>
                    </a:lnTo>
                    <a:lnTo>
                      <a:pt x="1427" y="279"/>
                    </a:lnTo>
                    <a:lnTo>
                      <a:pt x="1423" y="283"/>
                    </a:lnTo>
                    <a:lnTo>
                      <a:pt x="1421" y="281"/>
                    </a:lnTo>
                    <a:lnTo>
                      <a:pt x="1421" y="283"/>
                    </a:lnTo>
                    <a:lnTo>
                      <a:pt x="1419" y="281"/>
                    </a:lnTo>
                    <a:lnTo>
                      <a:pt x="1415" y="283"/>
                    </a:lnTo>
                    <a:lnTo>
                      <a:pt x="1411" y="281"/>
                    </a:lnTo>
                    <a:lnTo>
                      <a:pt x="1403" y="283"/>
                    </a:lnTo>
                    <a:lnTo>
                      <a:pt x="1401" y="285"/>
                    </a:lnTo>
                    <a:lnTo>
                      <a:pt x="1397" y="281"/>
                    </a:lnTo>
                    <a:lnTo>
                      <a:pt x="1385" y="279"/>
                    </a:lnTo>
                    <a:lnTo>
                      <a:pt x="1385" y="281"/>
                    </a:lnTo>
                    <a:lnTo>
                      <a:pt x="1385" y="283"/>
                    </a:lnTo>
                    <a:lnTo>
                      <a:pt x="1365" y="271"/>
                    </a:lnTo>
                    <a:lnTo>
                      <a:pt x="1363" y="269"/>
                    </a:lnTo>
                    <a:lnTo>
                      <a:pt x="1363" y="265"/>
                    </a:lnTo>
                    <a:lnTo>
                      <a:pt x="1363" y="261"/>
                    </a:lnTo>
                    <a:lnTo>
                      <a:pt x="1363" y="259"/>
                    </a:lnTo>
                    <a:lnTo>
                      <a:pt x="1365" y="257"/>
                    </a:lnTo>
                    <a:lnTo>
                      <a:pt x="1367" y="257"/>
                    </a:lnTo>
                    <a:lnTo>
                      <a:pt x="1369" y="255"/>
                    </a:lnTo>
                    <a:lnTo>
                      <a:pt x="1369" y="253"/>
                    </a:lnTo>
                    <a:lnTo>
                      <a:pt x="1367" y="253"/>
                    </a:lnTo>
                    <a:lnTo>
                      <a:pt x="1359" y="253"/>
                    </a:lnTo>
                    <a:lnTo>
                      <a:pt x="1357" y="251"/>
                    </a:lnTo>
                    <a:lnTo>
                      <a:pt x="1351" y="253"/>
                    </a:lnTo>
                    <a:lnTo>
                      <a:pt x="1345" y="251"/>
                    </a:lnTo>
                    <a:lnTo>
                      <a:pt x="1341" y="249"/>
                    </a:lnTo>
                    <a:lnTo>
                      <a:pt x="1339" y="249"/>
                    </a:lnTo>
                    <a:lnTo>
                      <a:pt x="1335" y="247"/>
                    </a:lnTo>
                    <a:lnTo>
                      <a:pt x="1331" y="247"/>
                    </a:lnTo>
                    <a:lnTo>
                      <a:pt x="1321" y="243"/>
                    </a:lnTo>
                    <a:lnTo>
                      <a:pt x="1317" y="245"/>
                    </a:lnTo>
                    <a:lnTo>
                      <a:pt x="1317" y="247"/>
                    </a:lnTo>
                    <a:lnTo>
                      <a:pt x="1305" y="251"/>
                    </a:lnTo>
                    <a:lnTo>
                      <a:pt x="1299" y="251"/>
                    </a:lnTo>
                    <a:lnTo>
                      <a:pt x="1289" y="255"/>
                    </a:lnTo>
                    <a:lnTo>
                      <a:pt x="1293" y="261"/>
                    </a:lnTo>
                    <a:lnTo>
                      <a:pt x="1295" y="265"/>
                    </a:lnTo>
                    <a:lnTo>
                      <a:pt x="1287" y="269"/>
                    </a:lnTo>
                    <a:lnTo>
                      <a:pt x="1283" y="269"/>
                    </a:lnTo>
                    <a:lnTo>
                      <a:pt x="1283" y="267"/>
                    </a:lnTo>
                    <a:lnTo>
                      <a:pt x="1287" y="267"/>
                    </a:lnTo>
                    <a:lnTo>
                      <a:pt x="1289" y="265"/>
                    </a:lnTo>
                    <a:lnTo>
                      <a:pt x="1285" y="263"/>
                    </a:lnTo>
                    <a:lnTo>
                      <a:pt x="1285" y="261"/>
                    </a:lnTo>
                    <a:lnTo>
                      <a:pt x="1283" y="259"/>
                    </a:lnTo>
                    <a:lnTo>
                      <a:pt x="1287" y="251"/>
                    </a:lnTo>
                    <a:lnTo>
                      <a:pt x="1287" y="247"/>
                    </a:lnTo>
                    <a:lnTo>
                      <a:pt x="1285" y="243"/>
                    </a:lnTo>
                    <a:lnTo>
                      <a:pt x="1283" y="243"/>
                    </a:lnTo>
                    <a:lnTo>
                      <a:pt x="1283" y="237"/>
                    </a:lnTo>
                    <a:lnTo>
                      <a:pt x="1277" y="227"/>
                    </a:lnTo>
                    <a:lnTo>
                      <a:pt x="1279" y="235"/>
                    </a:lnTo>
                    <a:lnTo>
                      <a:pt x="1279" y="239"/>
                    </a:lnTo>
                    <a:lnTo>
                      <a:pt x="1277" y="243"/>
                    </a:lnTo>
                    <a:lnTo>
                      <a:pt x="1273" y="245"/>
                    </a:lnTo>
                    <a:lnTo>
                      <a:pt x="1265" y="243"/>
                    </a:lnTo>
                    <a:lnTo>
                      <a:pt x="1261" y="245"/>
                    </a:lnTo>
                    <a:lnTo>
                      <a:pt x="1261" y="243"/>
                    </a:lnTo>
                    <a:lnTo>
                      <a:pt x="1255" y="239"/>
                    </a:lnTo>
                    <a:lnTo>
                      <a:pt x="1253" y="231"/>
                    </a:lnTo>
                    <a:lnTo>
                      <a:pt x="1255" y="229"/>
                    </a:lnTo>
                    <a:lnTo>
                      <a:pt x="1255" y="231"/>
                    </a:lnTo>
                    <a:lnTo>
                      <a:pt x="1259" y="227"/>
                    </a:lnTo>
                    <a:lnTo>
                      <a:pt x="1259" y="225"/>
                    </a:lnTo>
                    <a:lnTo>
                      <a:pt x="1251" y="227"/>
                    </a:lnTo>
                    <a:lnTo>
                      <a:pt x="1249" y="229"/>
                    </a:lnTo>
                    <a:lnTo>
                      <a:pt x="1249" y="231"/>
                    </a:lnTo>
                    <a:lnTo>
                      <a:pt x="1249" y="233"/>
                    </a:lnTo>
                    <a:lnTo>
                      <a:pt x="1247" y="231"/>
                    </a:lnTo>
                    <a:lnTo>
                      <a:pt x="1243" y="229"/>
                    </a:lnTo>
                    <a:lnTo>
                      <a:pt x="1241" y="227"/>
                    </a:lnTo>
                    <a:lnTo>
                      <a:pt x="1233" y="229"/>
                    </a:lnTo>
                    <a:lnTo>
                      <a:pt x="1233" y="233"/>
                    </a:lnTo>
                    <a:lnTo>
                      <a:pt x="1227" y="239"/>
                    </a:lnTo>
                    <a:lnTo>
                      <a:pt x="1227" y="241"/>
                    </a:lnTo>
                    <a:lnTo>
                      <a:pt x="1231" y="249"/>
                    </a:lnTo>
                    <a:lnTo>
                      <a:pt x="1233" y="247"/>
                    </a:lnTo>
                    <a:lnTo>
                      <a:pt x="1231" y="247"/>
                    </a:lnTo>
                    <a:lnTo>
                      <a:pt x="1231" y="245"/>
                    </a:lnTo>
                    <a:lnTo>
                      <a:pt x="1233" y="247"/>
                    </a:lnTo>
                    <a:lnTo>
                      <a:pt x="1239" y="247"/>
                    </a:lnTo>
                    <a:lnTo>
                      <a:pt x="1241" y="243"/>
                    </a:lnTo>
                    <a:lnTo>
                      <a:pt x="1243" y="241"/>
                    </a:lnTo>
                    <a:lnTo>
                      <a:pt x="1245" y="239"/>
                    </a:lnTo>
                    <a:lnTo>
                      <a:pt x="1247" y="241"/>
                    </a:lnTo>
                    <a:lnTo>
                      <a:pt x="1249" y="245"/>
                    </a:lnTo>
                    <a:lnTo>
                      <a:pt x="1241" y="249"/>
                    </a:lnTo>
                    <a:lnTo>
                      <a:pt x="1239" y="253"/>
                    </a:lnTo>
                    <a:lnTo>
                      <a:pt x="1237" y="253"/>
                    </a:lnTo>
                    <a:lnTo>
                      <a:pt x="1231" y="259"/>
                    </a:lnTo>
                    <a:lnTo>
                      <a:pt x="1227" y="259"/>
                    </a:lnTo>
                    <a:lnTo>
                      <a:pt x="1223" y="253"/>
                    </a:lnTo>
                    <a:lnTo>
                      <a:pt x="1227" y="259"/>
                    </a:lnTo>
                    <a:lnTo>
                      <a:pt x="1225" y="259"/>
                    </a:lnTo>
                    <a:lnTo>
                      <a:pt x="1223" y="257"/>
                    </a:lnTo>
                    <a:lnTo>
                      <a:pt x="1225" y="259"/>
                    </a:lnTo>
                    <a:lnTo>
                      <a:pt x="1223" y="261"/>
                    </a:lnTo>
                    <a:lnTo>
                      <a:pt x="1213" y="265"/>
                    </a:lnTo>
                    <a:lnTo>
                      <a:pt x="1211" y="265"/>
                    </a:lnTo>
                    <a:lnTo>
                      <a:pt x="1209" y="267"/>
                    </a:lnTo>
                    <a:lnTo>
                      <a:pt x="1211" y="269"/>
                    </a:lnTo>
                    <a:lnTo>
                      <a:pt x="1205" y="269"/>
                    </a:lnTo>
                    <a:lnTo>
                      <a:pt x="1201" y="273"/>
                    </a:lnTo>
                    <a:lnTo>
                      <a:pt x="1199" y="273"/>
                    </a:lnTo>
                    <a:lnTo>
                      <a:pt x="1191" y="271"/>
                    </a:lnTo>
                    <a:lnTo>
                      <a:pt x="1189" y="273"/>
                    </a:lnTo>
                    <a:lnTo>
                      <a:pt x="1181" y="271"/>
                    </a:lnTo>
                    <a:lnTo>
                      <a:pt x="1179" y="275"/>
                    </a:lnTo>
                    <a:lnTo>
                      <a:pt x="1179" y="277"/>
                    </a:lnTo>
                    <a:lnTo>
                      <a:pt x="1181" y="283"/>
                    </a:lnTo>
                    <a:lnTo>
                      <a:pt x="1191" y="287"/>
                    </a:lnTo>
                    <a:lnTo>
                      <a:pt x="1189" y="289"/>
                    </a:lnTo>
                    <a:lnTo>
                      <a:pt x="1179" y="285"/>
                    </a:lnTo>
                    <a:lnTo>
                      <a:pt x="1177" y="283"/>
                    </a:lnTo>
                    <a:lnTo>
                      <a:pt x="1175" y="285"/>
                    </a:lnTo>
                    <a:lnTo>
                      <a:pt x="1173" y="287"/>
                    </a:lnTo>
                    <a:lnTo>
                      <a:pt x="1171" y="291"/>
                    </a:lnTo>
                    <a:lnTo>
                      <a:pt x="1169" y="293"/>
                    </a:lnTo>
                    <a:lnTo>
                      <a:pt x="1165" y="293"/>
                    </a:lnTo>
                    <a:lnTo>
                      <a:pt x="1155" y="303"/>
                    </a:lnTo>
                    <a:lnTo>
                      <a:pt x="1155" y="301"/>
                    </a:lnTo>
                    <a:lnTo>
                      <a:pt x="1151" y="301"/>
                    </a:lnTo>
                    <a:lnTo>
                      <a:pt x="1151" y="303"/>
                    </a:lnTo>
                    <a:lnTo>
                      <a:pt x="1149" y="303"/>
                    </a:lnTo>
                    <a:lnTo>
                      <a:pt x="1149" y="301"/>
                    </a:lnTo>
                    <a:lnTo>
                      <a:pt x="1155" y="295"/>
                    </a:lnTo>
                    <a:lnTo>
                      <a:pt x="1157" y="295"/>
                    </a:lnTo>
                    <a:lnTo>
                      <a:pt x="1157" y="293"/>
                    </a:lnTo>
                    <a:lnTo>
                      <a:pt x="1161" y="291"/>
                    </a:lnTo>
                    <a:lnTo>
                      <a:pt x="1165" y="291"/>
                    </a:lnTo>
                    <a:lnTo>
                      <a:pt x="1171" y="285"/>
                    </a:lnTo>
                    <a:lnTo>
                      <a:pt x="1175" y="275"/>
                    </a:lnTo>
                    <a:lnTo>
                      <a:pt x="1175" y="273"/>
                    </a:lnTo>
                    <a:lnTo>
                      <a:pt x="1179" y="265"/>
                    </a:lnTo>
                    <a:lnTo>
                      <a:pt x="1181" y="265"/>
                    </a:lnTo>
                    <a:lnTo>
                      <a:pt x="1187" y="263"/>
                    </a:lnTo>
                    <a:lnTo>
                      <a:pt x="1189" y="259"/>
                    </a:lnTo>
                    <a:lnTo>
                      <a:pt x="1193" y="253"/>
                    </a:lnTo>
                    <a:lnTo>
                      <a:pt x="1193" y="249"/>
                    </a:lnTo>
                    <a:lnTo>
                      <a:pt x="1207" y="247"/>
                    </a:lnTo>
                    <a:lnTo>
                      <a:pt x="1209" y="249"/>
                    </a:lnTo>
                    <a:lnTo>
                      <a:pt x="1215" y="235"/>
                    </a:lnTo>
                    <a:lnTo>
                      <a:pt x="1217" y="231"/>
                    </a:lnTo>
                    <a:lnTo>
                      <a:pt x="1225" y="223"/>
                    </a:lnTo>
                    <a:lnTo>
                      <a:pt x="1229" y="221"/>
                    </a:lnTo>
                    <a:lnTo>
                      <a:pt x="1235" y="215"/>
                    </a:lnTo>
                    <a:lnTo>
                      <a:pt x="1237" y="209"/>
                    </a:lnTo>
                    <a:lnTo>
                      <a:pt x="1241" y="203"/>
                    </a:lnTo>
                    <a:lnTo>
                      <a:pt x="1243" y="201"/>
                    </a:lnTo>
                    <a:lnTo>
                      <a:pt x="1245" y="199"/>
                    </a:lnTo>
                    <a:lnTo>
                      <a:pt x="1247" y="199"/>
                    </a:lnTo>
                    <a:lnTo>
                      <a:pt x="1247" y="197"/>
                    </a:lnTo>
                    <a:lnTo>
                      <a:pt x="1249" y="197"/>
                    </a:lnTo>
                    <a:lnTo>
                      <a:pt x="1251" y="197"/>
                    </a:lnTo>
                    <a:lnTo>
                      <a:pt x="1253" y="194"/>
                    </a:lnTo>
                    <a:lnTo>
                      <a:pt x="1255" y="194"/>
                    </a:lnTo>
                    <a:lnTo>
                      <a:pt x="1259" y="190"/>
                    </a:lnTo>
                    <a:lnTo>
                      <a:pt x="1263" y="192"/>
                    </a:lnTo>
                    <a:lnTo>
                      <a:pt x="1263" y="190"/>
                    </a:lnTo>
                    <a:lnTo>
                      <a:pt x="1265" y="188"/>
                    </a:lnTo>
                    <a:lnTo>
                      <a:pt x="1263" y="186"/>
                    </a:lnTo>
                    <a:lnTo>
                      <a:pt x="1271" y="182"/>
                    </a:lnTo>
                    <a:lnTo>
                      <a:pt x="1267" y="182"/>
                    </a:lnTo>
                    <a:lnTo>
                      <a:pt x="1269" y="180"/>
                    </a:lnTo>
                    <a:lnTo>
                      <a:pt x="1275" y="176"/>
                    </a:lnTo>
                    <a:lnTo>
                      <a:pt x="1275" y="180"/>
                    </a:lnTo>
                    <a:lnTo>
                      <a:pt x="1275" y="176"/>
                    </a:lnTo>
                    <a:lnTo>
                      <a:pt x="1277" y="176"/>
                    </a:lnTo>
                    <a:lnTo>
                      <a:pt x="1279" y="174"/>
                    </a:lnTo>
                    <a:lnTo>
                      <a:pt x="1277" y="172"/>
                    </a:lnTo>
                    <a:lnTo>
                      <a:pt x="1281" y="170"/>
                    </a:lnTo>
                    <a:lnTo>
                      <a:pt x="1283" y="170"/>
                    </a:lnTo>
                    <a:lnTo>
                      <a:pt x="1285" y="168"/>
                    </a:lnTo>
                    <a:lnTo>
                      <a:pt x="1285" y="164"/>
                    </a:lnTo>
                    <a:lnTo>
                      <a:pt x="1289" y="160"/>
                    </a:lnTo>
                    <a:lnTo>
                      <a:pt x="1289" y="158"/>
                    </a:lnTo>
                    <a:lnTo>
                      <a:pt x="1291" y="156"/>
                    </a:lnTo>
                    <a:lnTo>
                      <a:pt x="1291" y="150"/>
                    </a:lnTo>
                    <a:lnTo>
                      <a:pt x="1289" y="146"/>
                    </a:lnTo>
                    <a:lnTo>
                      <a:pt x="1293" y="148"/>
                    </a:lnTo>
                    <a:lnTo>
                      <a:pt x="1291" y="142"/>
                    </a:lnTo>
                    <a:lnTo>
                      <a:pt x="1289" y="142"/>
                    </a:lnTo>
                    <a:lnTo>
                      <a:pt x="1285" y="138"/>
                    </a:lnTo>
                    <a:lnTo>
                      <a:pt x="1285" y="134"/>
                    </a:lnTo>
                    <a:lnTo>
                      <a:pt x="1281" y="136"/>
                    </a:lnTo>
                    <a:lnTo>
                      <a:pt x="1281" y="138"/>
                    </a:lnTo>
                    <a:lnTo>
                      <a:pt x="1279" y="140"/>
                    </a:lnTo>
                    <a:lnTo>
                      <a:pt x="1279" y="136"/>
                    </a:lnTo>
                    <a:lnTo>
                      <a:pt x="1277" y="132"/>
                    </a:lnTo>
                    <a:lnTo>
                      <a:pt x="1277" y="130"/>
                    </a:lnTo>
                    <a:lnTo>
                      <a:pt x="1275" y="128"/>
                    </a:lnTo>
                    <a:lnTo>
                      <a:pt x="1273" y="124"/>
                    </a:lnTo>
                    <a:lnTo>
                      <a:pt x="1273" y="122"/>
                    </a:lnTo>
                    <a:lnTo>
                      <a:pt x="1275" y="124"/>
                    </a:lnTo>
                    <a:lnTo>
                      <a:pt x="1279" y="128"/>
                    </a:lnTo>
                    <a:lnTo>
                      <a:pt x="1289" y="134"/>
                    </a:lnTo>
                    <a:lnTo>
                      <a:pt x="1287" y="140"/>
                    </a:lnTo>
                    <a:lnTo>
                      <a:pt x="1289" y="138"/>
                    </a:lnTo>
                    <a:lnTo>
                      <a:pt x="1293" y="126"/>
                    </a:lnTo>
                    <a:lnTo>
                      <a:pt x="1293" y="120"/>
                    </a:lnTo>
                    <a:lnTo>
                      <a:pt x="1293" y="118"/>
                    </a:lnTo>
                    <a:lnTo>
                      <a:pt x="1291" y="118"/>
                    </a:lnTo>
                    <a:lnTo>
                      <a:pt x="1289" y="118"/>
                    </a:lnTo>
                    <a:lnTo>
                      <a:pt x="1287" y="110"/>
                    </a:lnTo>
                    <a:lnTo>
                      <a:pt x="1287" y="106"/>
                    </a:lnTo>
                    <a:lnTo>
                      <a:pt x="1283" y="98"/>
                    </a:lnTo>
                    <a:lnTo>
                      <a:pt x="1281" y="100"/>
                    </a:lnTo>
                    <a:lnTo>
                      <a:pt x="1283" y="104"/>
                    </a:lnTo>
                    <a:lnTo>
                      <a:pt x="1279" y="106"/>
                    </a:lnTo>
                    <a:lnTo>
                      <a:pt x="1279" y="108"/>
                    </a:lnTo>
                    <a:lnTo>
                      <a:pt x="1277" y="102"/>
                    </a:lnTo>
                    <a:lnTo>
                      <a:pt x="1273" y="100"/>
                    </a:lnTo>
                    <a:lnTo>
                      <a:pt x="1275" y="98"/>
                    </a:lnTo>
                    <a:lnTo>
                      <a:pt x="1277" y="94"/>
                    </a:lnTo>
                    <a:lnTo>
                      <a:pt x="1269" y="86"/>
                    </a:lnTo>
                    <a:lnTo>
                      <a:pt x="1267" y="88"/>
                    </a:lnTo>
                    <a:lnTo>
                      <a:pt x="1267" y="84"/>
                    </a:lnTo>
                    <a:lnTo>
                      <a:pt x="1263" y="78"/>
                    </a:lnTo>
                    <a:lnTo>
                      <a:pt x="1257" y="74"/>
                    </a:lnTo>
                    <a:lnTo>
                      <a:pt x="1259" y="74"/>
                    </a:lnTo>
                    <a:lnTo>
                      <a:pt x="1257" y="72"/>
                    </a:lnTo>
                    <a:lnTo>
                      <a:pt x="1255" y="70"/>
                    </a:lnTo>
                    <a:lnTo>
                      <a:pt x="1253" y="72"/>
                    </a:lnTo>
                    <a:lnTo>
                      <a:pt x="1253" y="70"/>
                    </a:lnTo>
                    <a:lnTo>
                      <a:pt x="1253" y="68"/>
                    </a:lnTo>
                    <a:lnTo>
                      <a:pt x="1247" y="68"/>
                    </a:lnTo>
                    <a:lnTo>
                      <a:pt x="1239" y="66"/>
                    </a:lnTo>
                    <a:lnTo>
                      <a:pt x="1235" y="70"/>
                    </a:lnTo>
                    <a:lnTo>
                      <a:pt x="1231" y="70"/>
                    </a:lnTo>
                    <a:lnTo>
                      <a:pt x="1225" y="66"/>
                    </a:lnTo>
                    <a:lnTo>
                      <a:pt x="1223" y="68"/>
                    </a:lnTo>
                    <a:lnTo>
                      <a:pt x="1221" y="68"/>
                    </a:lnTo>
                    <a:lnTo>
                      <a:pt x="1213" y="70"/>
                    </a:lnTo>
                    <a:lnTo>
                      <a:pt x="1211" y="68"/>
                    </a:lnTo>
                    <a:lnTo>
                      <a:pt x="1209" y="70"/>
                    </a:lnTo>
                    <a:lnTo>
                      <a:pt x="1209" y="68"/>
                    </a:lnTo>
                    <a:lnTo>
                      <a:pt x="1211" y="66"/>
                    </a:lnTo>
                    <a:lnTo>
                      <a:pt x="1209" y="66"/>
                    </a:lnTo>
                    <a:lnTo>
                      <a:pt x="1207" y="68"/>
                    </a:lnTo>
                    <a:lnTo>
                      <a:pt x="1205" y="68"/>
                    </a:lnTo>
                    <a:lnTo>
                      <a:pt x="1203" y="72"/>
                    </a:lnTo>
                    <a:lnTo>
                      <a:pt x="1207" y="72"/>
                    </a:lnTo>
                    <a:lnTo>
                      <a:pt x="1205" y="74"/>
                    </a:lnTo>
                    <a:lnTo>
                      <a:pt x="1203" y="74"/>
                    </a:lnTo>
                    <a:lnTo>
                      <a:pt x="1203" y="78"/>
                    </a:lnTo>
                    <a:lnTo>
                      <a:pt x="1201" y="80"/>
                    </a:lnTo>
                    <a:lnTo>
                      <a:pt x="1197" y="82"/>
                    </a:lnTo>
                    <a:lnTo>
                      <a:pt x="1197" y="84"/>
                    </a:lnTo>
                    <a:lnTo>
                      <a:pt x="1189" y="84"/>
                    </a:lnTo>
                    <a:lnTo>
                      <a:pt x="1187" y="86"/>
                    </a:lnTo>
                    <a:lnTo>
                      <a:pt x="1183" y="84"/>
                    </a:lnTo>
                    <a:lnTo>
                      <a:pt x="1179" y="84"/>
                    </a:lnTo>
                    <a:lnTo>
                      <a:pt x="1179" y="82"/>
                    </a:lnTo>
                    <a:lnTo>
                      <a:pt x="1177" y="82"/>
                    </a:lnTo>
                    <a:lnTo>
                      <a:pt x="1183" y="80"/>
                    </a:lnTo>
                    <a:lnTo>
                      <a:pt x="1189" y="66"/>
                    </a:lnTo>
                    <a:lnTo>
                      <a:pt x="1193" y="66"/>
                    </a:lnTo>
                    <a:lnTo>
                      <a:pt x="1195" y="60"/>
                    </a:lnTo>
                    <a:lnTo>
                      <a:pt x="1195" y="58"/>
                    </a:lnTo>
                    <a:lnTo>
                      <a:pt x="1193" y="58"/>
                    </a:lnTo>
                    <a:lnTo>
                      <a:pt x="1195" y="56"/>
                    </a:lnTo>
                    <a:lnTo>
                      <a:pt x="1197" y="56"/>
                    </a:lnTo>
                    <a:lnTo>
                      <a:pt x="1197" y="54"/>
                    </a:lnTo>
                    <a:lnTo>
                      <a:pt x="1195" y="54"/>
                    </a:lnTo>
                    <a:lnTo>
                      <a:pt x="1195" y="52"/>
                    </a:lnTo>
                    <a:lnTo>
                      <a:pt x="1195" y="50"/>
                    </a:lnTo>
                    <a:lnTo>
                      <a:pt x="1187" y="48"/>
                    </a:lnTo>
                    <a:lnTo>
                      <a:pt x="1187" y="50"/>
                    </a:lnTo>
                    <a:lnTo>
                      <a:pt x="1185" y="46"/>
                    </a:lnTo>
                    <a:lnTo>
                      <a:pt x="1183" y="46"/>
                    </a:lnTo>
                    <a:lnTo>
                      <a:pt x="1181" y="46"/>
                    </a:lnTo>
                    <a:lnTo>
                      <a:pt x="1177" y="48"/>
                    </a:lnTo>
                    <a:lnTo>
                      <a:pt x="1175" y="46"/>
                    </a:lnTo>
                    <a:lnTo>
                      <a:pt x="1171" y="48"/>
                    </a:lnTo>
                    <a:lnTo>
                      <a:pt x="1173" y="44"/>
                    </a:lnTo>
                    <a:lnTo>
                      <a:pt x="1173" y="40"/>
                    </a:lnTo>
                    <a:lnTo>
                      <a:pt x="1171" y="44"/>
                    </a:lnTo>
                    <a:lnTo>
                      <a:pt x="1165" y="44"/>
                    </a:lnTo>
                    <a:lnTo>
                      <a:pt x="1151" y="52"/>
                    </a:lnTo>
                    <a:lnTo>
                      <a:pt x="1153" y="46"/>
                    </a:lnTo>
                    <a:lnTo>
                      <a:pt x="1155" y="46"/>
                    </a:lnTo>
                    <a:lnTo>
                      <a:pt x="1163" y="36"/>
                    </a:lnTo>
                    <a:lnTo>
                      <a:pt x="1165" y="32"/>
                    </a:lnTo>
                    <a:lnTo>
                      <a:pt x="1169" y="32"/>
                    </a:lnTo>
                    <a:lnTo>
                      <a:pt x="1171" y="28"/>
                    </a:lnTo>
                    <a:lnTo>
                      <a:pt x="1171" y="26"/>
                    </a:lnTo>
                    <a:lnTo>
                      <a:pt x="1175" y="24"/>
                    </a:lnTo>
                    <a:lnTo>
                      <a:pt x="1177" y="26"/>
                    </a:lnTo>
                    <a:lnTo>
                      <a:pt x="1175" y="22"/>
                    </a:lnTo>
                    <a:lnTo>
                      <a:pt x="1171" y="12"/>
                    </a:lnTo>
                    <a:lnTo>
                      <a:pt x="1169" y="12"/>
                    </a:lnTo>
                    <a:lnTo>
                      <a:pt x="1167" y="14"/>
                    </a:lnTo>
                    <a:lnTo>
                      <a:pt x="1163" y="12"/>
                    </a:lnTo>
                    <a:lnTo>
                      <a:pt x="1159" y="10"/>
                    </a:lnTo>
                    <a:lnTo>
                      <a:pt x="1155" y="2"/>
                    </a:lnTo>
                    <a:lnTo>
                      <a:pt x="1153" y="6"/>
                    </a:lnTo>
                    <a:lnTo>
                      <a:pt x="1151" y="4"/>
                    </a:lnTo>
                    <a:lnTo>
                      <a:pt x="1151" y="2"/>
                    </a:lnTo>
                    <a:lnTo>
                      <a:pt x="1147" y="0"/>
                    </a:lnTo>
                    <a:lnTo>
                      <a:pt x="1145" y="2"/>
                    </a:lnTo>
                    <a:lnTo>
                      <a:pt x="1141" y="4"/>
                    </a:lnTo>
                    <a:lnTo>
                      <a:pt x="1139" y="8"/>
                    </a:lnTo>
                    <a:lnTo>
                      <a:pt x="1137" y="8"/>
                    </a:lnTo>
                    <a:lnTo>
                      <a:pt x="1131" y="6"/>
                    </a:lnTo>
                    <a:lnTo>
                      <a:pt x="1131" y="10"/>
                    </a:lnTo>
                    <a:lnTo>
                      <a:pt x="1119" y="24"/>
                    </a:lnTo>
                    <a:lnTo>
                      <a:pt x="1117" y="28"/>
                    </a:lnTo>
                    <a:lnTo>
                      <a:pt x="1113" y="34"/>
                    </a:lnTo>
                    <a:lnTo>
                      <a:pt x="1111" y="36"/>
                    </a:lnTo>
                    <a:lnTo>
                      <a:pt x="1105" y="46"/>
                    </a:lnTo>
                    <a:lnTo>
                      <a:pt x="1103" y="50"/>
                    </a:lnTo>
                    <a:lnTo>
                      <a:pt x="1105" y="52"/>
                    </a:lnTo>
                    <a:lnTo>
                      <a:pt x="1103" y="54"/>
                    </a:lnTo>
                    <a:lnTo>
                      <a:pt x="1101" y="54"/>
                    </a:lnTo>
                    <a:lnTo>
                      <a:pt x="1101" y="56"/>
                    </a:lnTo>
                    <a:lnTo>
                      <a:pt x="1099" y="60"/>
                    </a:lnTo>
                    <a:lnTo>
                      <a:pt x="1099" y="62"/>
                    </a:lnTo>
                    <a:lnTo>
                      <a:pt x="1099" y="64"/>
                    </a:lnTo>
                    <a:lnTo>
                      <a:pt x="1101" y="66"/>
                    </a:lnTo>
                    <a:lnTo>
                      <a:pt x="1105" y="68"/>
                    </a:lnTo>
                    <a:lnTo>
                      <a:pt x="1105" y="72"/>
                    </a:lnTo>
                    <a:lnTo>
                      <a:pt x="1107" y="72"/>
                    </a:lnTo>
                    <a:lnTo>
                      <a:pt x="1107" y="74"/>
                    </a:lnTo>
                    <a:lnTo>
                      <a:pt x="1103" y="72"/>
                    </a:lnTo>
                    <a:lnTo>
                      <a:pt x="1103" y="70"/>
                    </a:lnTo>
                    <a:lnTo>
                      <a:pt x="1103" y="78"/>
                    </a:lnTo>
                    <a:lnTo>
                      <a:pt x="1091" y="84"/>
                    </a:lnTo>
                    <a:lnTo>
                      <a:pt x="1085" y="84"/>
                    </a:lnTo>
                    <a:lnTo>
                      <a:pt x="1083" y="86"/>
                    </a:lnTo>
                    <a:lnTo>
                      <a:pt x="1069" y="84"/>
                    </a:lnTo>
                    <a:lnTo>
                      <a:pt x="1069" y="86"/>
                    </a:lnTo>
                    <a:lnTo>
                      <a:pt x="1071" y="88"/>
                    </a:lnTo>
                    <a:lnTo>
                      <a:pt x="1071" y="92"/>
                    </a:lnTo>
                    <a:lnTo>
                      <a:pt x="1075" y="92"/>
                    </a:lnTo>
                    <a:lnTo>
                      <a:pt x="1077" y="94"/>
                    </a:lnTo>
                    <a:lnTo>
                      <a:pt x="1077" y="96"/>
                    </a:lnTo>
                    <a:lnTo>
                      <a:pt x="1081" y="96"/>
                    </a:lnTo>
                    <a:lnTo>
                      <a:pt x="1083" y="98"/>
                    </a:lnTo>
                    <a:lnTo>
                      <a:pt x="1083" y="100"/>
                    </a:lnTo>
                    <a:lnTo>
                      <a:pt x="1083" y="104"/>
                    </a:lnTo>
                    <a:lnTo>
                      <a:pt x="1083" y="108"/>
                    </a:lnTo>
                    <a:lnTo>
                      <a:pt x="1081" y="112"/>
                    </a:lnTo>
                    <a:lnTo>
                      <a:pt x="1077" y="110"/>
                    </a:lnTo>
                    <a:lnTo>
                      <a:pt x="1077" y="106"/>
                    </a:lnTo>
                    <a:lnTo>
                      <a:pt x="1071" y="104"/>
                    </a:lnTo>
                    <a:lnTo>
                      <a:pt x="1073" y="100"/>
                    </a:lnTo>
                    <a:lnTo>
                      <a:pt x="1071" y="100"/>
                    </a:lnTo>
                    <a:lnTo>
                      <a:pt x="1067" y="100"/>
                    </a:lnTo>
                    <a:lnTo>
                      <a:pt x="1067" y="96"/>
                    </a:lnTo>
                    <a:lnTo>
                      <a:pt x="1065" y="96"/>
                    </a:lnTo>
                    <a:lnTo>
                      <a:pt x="1055" y="104"/>
                    </a:lnTo>
                    <a:lnTo>
                      <a:pt x="1057" y="106"/>
                    </a:lnTo>
                    <a:lnTo>
                      <a:pt x="1057" y="108"/>
                    </a:lnTo>
                    <a:lnTo>
                      <a:pt x="1055" y="108"/>
                    </a:lnTo>
                    <a:lnTo>
                      <a:pt x="1051" y="108"/>
                    </a:lnTo>
                    <a:lnTo>
                      <a:pt x="1049" y="110"/>
                    </a:lnTo>
                    <a:lnTo>
                      <a:pt x="1051" y="112"/>
                    </a:lnTo>
                    <a:lnTo>
                      <a:pt x="1053" y="112"/>
                    </a:lnTo>
                    <a:lnTo>
                      <a:pt x="1053" y="114"/>
                    </a:lnTo>
                    <a:lnTo>
                      <a:pt x="1051" y="114"/>
                    </a:lnTo>
                    <a:lnTo>
                      <a:pt x="1049" y="114"/>
                    </a:lnTo>
                    <a:lnTo>
                      <a:pt x="1043" y="118"/>
                    </a:lnTo>
                    <a:lnTo>
                      <a:pt x="1043" y="114"/>
                    </a:lnTo>
                    <a:lnTo>
                      <a:pt x="1041" y="114"/>
                    </a:lnTo>
                    <a:lnTo>
                      <a:pt x="1039" y="118"/>
                    </a:lnTo>
                    <a:lnTo>
                      <a:pt x="1037" y="118"/>
                    </a:lnTo>
                    <a:lnTo>
                      <a:pt x="1033" y="122"/>
                    </a:lnTo>
                    <a:lnTo>
                      <a:pt x="1033" y="120"/>
                    </a:lnTo>
                    <a:lnTo>
                      <a:pt x="1035" y="118"/>
                    </a:lnTo>
                    <a:lnTo>
                      <a:pt x="1035" y="114"/>
                    </a:lnTo>
                    <a:lnTo>
                      <a:pt x="1033" y="114"/>
                    </a:lnTo>
                    <a:lnTo>
                      <a:pt x="1031" y="114"/>
                    </a:lnTo>
                    <a:lnTo>
                      <a:pt x="1025" y="116"/>
                    </a:lnTo>
                    <a:lnTo>
                      <a:pt x="1023" y="120"/>
                    </a:lnTo>
                    <a:lnTo>
                      <a:pt x="1021" y="122"/>
                    </a:lnTo>
                    <a:lnTo>
                      <a:pt x="1021" y="120"/>
                    </a:lnTo>
                    <a:lnTo>
                      <a:pt x="1025" y="114"/>
                    </a:lnTo>
                    <a:lnTo>
                      <a:pt x="1027" y="108"/>
                    </a:lnTo>
                    <a:lnTo>
                      <a:pt x="1023" y="104"/>
                    </a:lnTo>
                    <a:lnTo>
                      <a:pt x="1015" y="104"/>
                    </a:lnTo>
                    <a:lnTo>
                      <a:pt x="1013" y="106"/>
                    </a:lnTo>
                    <a:lnTo>
                      <a:pt x="1013" y="108"/>
                    </a:lnTo>
                    <a:lnTo>
                      <a:pt x="1005" y="106"/>
                    </a:lnTo>
                    <a:lnTo>
                      <a:pt x="1003" y="108"/>
                    </a:lnTo>
                    <a:lnTo>
                      <a:pt x="1001" y="110"/>
                    </a:lnTo>
                    <a:lnTo>
                      <a:pt x="999" y="106"/>
                    </a:lnTo>
                    <a:lnTo>
                      <a:pt x="991" y="108"/>
                    </a:lnTo>
                    <a:lnTo>
                      <a:pt x="993" y="110"/>
                    </a:lnTo>
                    <a:lnTo>
                      <a:pt x="985" y="112"/>
                    </a:lnTo>
                    <a:lnTo>
                      <a:pt x="985" y="110"/>
                    </a:lnTo>
                    <a:lnTo>
                      <a:pt x="981" y="114"/>
                    </a:lnTo>
                    <a:lnTo>
                      <a:pt x="979" y="110"/>
                    </a:lnTo>
                    <a:lnTo>
                      <a:pt x="979" y="112"/>
                    </a:lnTo>
                    <a:lnTo>
                      <a:pt x="979" y="116"/>
                    </a:lnTo>
                    <a:lnTo>
                      <a:pt x="979" y="118"/>
                    </a:lnTo>
                    <a:lnTo>
                      <a:pt x="985" y="114"/>
                    </a:lnTo>
                    <a:lnTo>
                      <a:pt x="985" y="118"/>
                    </a:lnTo>
                    <a:lnTo>
                      <a:pt x="987" y="120"/>
                    </a:lnTo>
                    <a:lnTo>
                      <a:pt x="987" y="118"/>
                    </a:lnTo>
                    <a:lnTo>
                      <a:pt x="987" y="116"/>
                    </a:lnTo>
                    <a:lnTo>
                      <a:pt x="989" y="116"/>
                    </a:lnTo>
                    <a:lnTo>
                      <a:pt x="989" y="118"/>
                    </a:lnTo>
                    <a:lnTo>
                      <a:pt x="989" y="120"/>
                    </a:lnTo>
                    <a:lnTo>
                      <a:pt x="987" y="122"/>
                    </a:lnTo>
                    <a:lnTo>
                      <a:pt x="961" y="130"/>
                    </a:lnTo>
                    <a:lnTo>
                      <a:pt x="959" y="132"/>
                    </a:lnTo>
                    <a:lnTo>
                      <a:pt x="959" y="134"/>
                    </a:lnTo>
                    <a:lnTo>
                      <a:pt x="957" y="134"/>
                    </a:lnTo>
                    <a:lnTo>
                      <a:pt x="953" y="136"/>
                    </a:lnTo>
                    <a:lnTo>
                      <a:pt x="949" y="134"/>
                    </a:lnTo>
                    <a:lnTo>
                      <a:pt x="943" y="138"/>
                    </a:lnTo>
                    <a:lnTo>
                      <a:pt x="939" y="138"/>
                    </a:lnTo>
                    <a:lnTo>
                      <a:pt x="935" y="142"/>
                    </a:lnTo>
                    <a:lnTo>
                      <a:pt x="937" y="144"/>
                    </a:lnTo>
                    <a:lnTo>
                      <a:pt x="933" y="146"/>
                    </a:lnTo>
                    <a:lnTo>
                      <a:pt x="929" y="148"/>
                    </a:lnTo>
                    <a:lnTo>
                      <a:pt x="925" y="144"/>
                    </a:lnTo>
                    <a:lnTo>
                      <a:pt x="923" y="148"/>
                    </a:lnTo>
                    <a:lnTo>
                      <a:pt x="919" y="148"/>
                    </a:lnTo>
                    <a:lnTo>
                      <a:pt x="921" y="148"/>
                    </a:lnTo>
                    <a:lnTo>
                      <a:pt x="921" y="150"/>
                    </a:lnTo>
                    <a:lnTo>
                      <a:pt x="917" y="152"/>
                    </a:lnTo>
                    <a:lnTo>
                      <a:pt x="915" y="154"/>
                    </a:lnTo>
                    <a:lnTo>
                      <a:pt x="913" y="156"/>
                    </a:lnTo>
                    <a:lnTo>
                      <a:pt x="911" y="160"/>
                    </a:lnTo>
                    <a:lnTo>
                      <a:pt x="907" y="162"/>
                    </a:lnTo>
                    <a:lnTo>
                      <a:pt x="907" y="164"/>
                    </a:lnTo>
                    <a:lnTo>
                      <a:pt x="907" y="166"/>
                    </a:lnTo>
                    <a:lnTo>
                      <a:pt x="903" y="168"/>
                    </a:lnTo>
                    <a:lnTo>
                      <a:pt x="901" y="166"/>
                    </a:lnTo>
                    <a:lnTo>
                      <a:pt x="893" y="164"/>
                    </a:lnTo>
                    <a:lnTo>
                      <a:pt x="889" y="168"/>
                    </a:lnTo>
                    <a:lnTo>
                      <a:pt x="895" y="172"/>
                    </a:lnTo>
                    <a:lnTo>
                      <a:pt x="901" y="172"/>
                    </a:lnTo>
                    <a:lnTo>
                      <a:pt x="901" y="174"/>
                    </a:lnTo>
                    <a:lnTo>
                      <a:pt x="897" y="176"/>
                    </a:lnTo>
                    <a:lnTo>
                      <a:pt x="895" y="174"/>
                    </a:lnTo>
                    <a:lnTo>
                      <a:pt x="893" y="176"/>
                    </a:lnTo>
                    <a:lnTo>
                      <a:pt x="895" y="176"/>
                    </a:lnTo>
                    <a:lnTo>
                      <a:pt x="889" y="188"/>
                    </a:lnTo>
                    <a:lnTo>
                      <a:pt x="887" y="188"/>
                    </a:lnTo>
                    <a:lnTo>
                      <a:pt x="887" y="190"/>
                    </a:lnTo>
                    <a:lnTo>
                      <a:pt x="889" y="192"/>
                    </a:lnTo>
                    <a:lnTo>
                      <a:pt x="887" y="194"/>
                    </a:lnTo>
                    <a:lnTo>
                      <a:pt x="883" y="190"/>
                    </a:lnTo>
                    <a:lnTo>
                      <a:pt x="881" y="188"/>
                    </a:lnTo>
                    <a:lnTo>
                      <a:pt x="879" y="184"/>
                    </a:lnTo>
                    <a:lnTo>
                      <a:pt x="875" y="182"/>
                    </a:lnTo>
                    <a:lnTo>
                      <a:pt x="875" y="184"/>
                    </a:lnTo>
                    <a:lnTo>
                      <a:pt x="877" y="186"/>
                    </a:lnTo>
                    <a:lnTo>
                      <a:pt x="873" y="188"/>
                    </a:lnTo>
                    <a:lnTo>
                      <a:pt x="873" y="192"/>
                    </a:lnTo>
                    <a:lnTo>
                      <a:pt x="871" y="192"/>
                    </a:lnTo>
                    <a:lnTo>
                      <a:pt x="873" y="194"/>
                    </a:lnTo>
                    <a:lnTo>
                      <a:pt x="881" y="194"/>
                    </a:lnTo>
                    <a:lnTo>
                      <a:pt x="881" y="196"/>
                    </a:lnTo>
                    <a:lnTo>
                      <a:pt x="885" y="197"/>
                    </a:lnTo>
                    <a:lnTo>
                      <a:pt x="885" y="199"/>
                    </a:lnTo>
                    <a:lnTo>
                      <a:pt x="885" y="201"/>
                    </a:lnTo>
                    <a:lnTo>
                      <a:pt x="885" y="203"/>
                    </a:lnTo>
                    <a:lnTo>
                      <a:pt x="881" y="201"/>
                    </a:lnTo>
                    <a:lnTo>
                      <a:pt x="881" y="203"/>
                    </a:lnTo>
                    <a:lnTo>
                      <a:pt x="877" y="205"/>
                    </a:lnTo>
                    <a:lnTo>
                      <a:pt x="877" y="207"/>
                    </a:lnTo>
                    <a:lnTo>
                      <a:pt x="875" y="207"/>
                    </a:lnTo>
                    <a:lnTo>
                      <a:pt x="875" y="211"/>
                    </a:lnTo>
                    <a:lnTo>
                      <a:pt x="877" y="211"/>
                    </a:lnTo>
                    <a:lnTo>
                      <a:pt x="887" y="215"/>
                    </a:lnTo>
                    <a:lnTo>
                      <a:pt x="889" y="225"/>
                    </a:lnTo>
                    <a:lnTo>
                      <a:pt x="891" y="225"/>
                    </a:lnTo>
                    <a:lnTo>
                      <a:pt x="889" y="227"/>
                    </a:lnTo>
                    <a:lnTo>
                      <a:pt x="885" y="225"/>
                    </a:lnTo>
                    <a:lnTo>
                      <a:pt x="885" y="227"/>
                    </a:lnTo>
                    <a:lnTo>
                      <a:pt x="887" y="229"/>
                    </a:lnTo>
                    <a:lnTo>
                      <a:pt x="885" y="229"/>
                    </a:lnTo>
                    <a:lnTo>
                      <a:pt x="885" y="231"/>
                    </a:lnTo>
                    <a:lnTo>
                      <a:pt x="887" y="231"/>
                    </a:lnTo>
                    <a:lnTo>
                      <a:pt x="887" y="233"/>
                    </a:lnTo>
                    <a:lnTo>
                      <a:pt x="885" y="235"/>
                    </a:lnTo>
                    <a:lnTo>
                      <a:pt x="877" y="235"/>
                    </a:lnTo>
                    <a:lnTo>
                      <a:pt x="875" y="237"/>
                    </a:lnTo>
                    <a:lnTo>
                      <a:pt x="871" y="237"/>
                    </a:lnTo>
                    <a:lnTo>
                      <a:pt x="869" y="239"/>
                    </a:lnTo>
                    <a:lnTo>
                      <a:pt x="869" y="241"/>
                    </a:lnTo>
                    <a:lnTo>
                      <a:pt x="865" y="243"/>
                    </a:lnTo>
                    <a:lnTo>
                      <a:pt x="859" y="243"/>
                    </a:lnTo>
                    <a:lnTo>
                      <a:pt x="859" y="241"/>
                    </a:lnTo>
                    <a:lnTo>
                      <a:pt x="829" y="247"/>
                    </a:lnTo>
                    <a:lnTo>
                      <a:pt x="827" y="245"/>
                    </a:lnTo>
                    <a:lnTo>
                      <a:pt x="821" y="247"/>
                    </a:lnTo>
                    <a:lnTo>
                      <a:pt x="817" y="245"/>
                    </a:lnTo>
                    <a:lnTo>
                      <a:pt x="807" y="249"/>
                    </a:lnTo>
                    <a:lnTo>
                      <a:pt x="807" y="251"/>
                    </a:lnTo>
                    <a:lnTo>
                      <a:pt x="805" y="251"/>
                    </a:lnTo>
                    <a:lnTo>
                      <a:pt x="803" y="249"/>
                    </a:lnTo>
                    <a:lnTo>
                      <a:pt x="799" y="251"/>
                    </a:lnTo>
                    <a:lnTo>
                      <a:pt x="795" y="253"/>
                    </a:lnTo>
                    <a:lnTo>
                      <a:pt x="795" y="255"/>
                    </a:lnTo>
                    <a:lnTo>
                      <a:pt x="797" y="257"/>
                    </a:lnTo>
                    <a:lnTo>
                      <a:pt x="797" y="255"/>
                    </a:lnTo>
                    <a:lnTo>
                      <a:pt x="799" y="257"/>
                    </a:lnTo>
                    <a:lnTo>
                      <a:pt x="799" y="259"/>
                    </a:lnTo>
                    <a:lnTo>
                      <a:pt x="795" y="261"/>
                    </a:lnTo>
                    <a:lnTo>
                      <a:pt x="795" y="263"/>
                    </a:lnTo>
                    <a:lnTo>
                      <a:pt x="794" y="261"/>
                    </a:lnTo>
                    <a:lnTo>
                      <a:pt x="792" y="263"/>
                    </a:lnTo>
                    <a:lnTo>
                      <a:pt x="794" y="267"/>
                    </a:lnTo>
                    <a:lnTo>
                      <a:pt x="795" y="267"/>
                    </a:lnTo>
                    <a:lnTo>
                      <a:pt x="795" y="269"/>
                    </a:lnTo>
                    <a:lnTo>
                      <a:pt x="792" y="271"/>
                    </a:lnTo>
                    <a:lnTo>
                      <a:pt x="797" y="275"/>
                    </a:lnTo>
                    <a:lnTo>
                      <a:pt x="797" y="277"/>
                    </a:lnTo>
                    <a:lnTo>
                      <a:pt x="799" y="279"/>
                    </a:lnTo>
                    <a:lnTo>
                      <a:pt x="799" y="277"/>
                    </a:lnTo>
                    <a:lnTo>
                      <a:pt x="801" y="283"/>
                    </a:lnTo>
                    <a:lnTo>
                      <a:pt x="803" y="285"/>
                    </a:lnTo>
                    <a:lnTo>
                      <a:pt x="801" y="287"/>
                    </a:lnTo>
                    <a:lnTo>
                      <a:pt x="801" y="289"/>
                    </a:lnTo>
                    <a:lnTo>
                      <a:pt x="799" y="291"/>
                    </a:lnTo>
                    <a:lnTo>
                      <a:pt x="799" y="295"/>
                    </a:lnTo>
                    <a:lnTo>
                      <a:pt x="799" y="299"/>
                    </a:lnTo>
                    <a:lnTo>
                      <a:pt x="801" y="301"/>
                    </a:lnTo>
                    <a:lnTo>
                      <a:pt x="801" y="307"/>
                    </a:lnTo>
                    <a:lnTo>
                      <a:pt x="801" y="309"/>
                    </a:lnTo>
                    <a:lnTo>
                      <a:pt x="805" y="313"/>
                    </a:lnTo>
                    <a:lnTo>
                      <a:pt x="815" y="315"/>
                    </a:lnTo>
                    <a:lnTo>
                      <a:pt x="819" y="319"/>
                    </a:lnTo>
                    <a:lnTo>
                      <a:pt x="821" y="319"/>
                    </a:lnTo>
                    <a:lnTo>
                      <a:pt x="823" y="323"/>
                    </a:lnTo>
                    <a:lnTo>
                      <a:pt x="821" y="327"/>
                    </a:lnTo>
                    <a:lnTo>
                      <a:pt x="823" y="329"/>
                    </a:lnTo>
                    <a:lnTo>
                      <a:pt x="825" y="331"/>
                    </a:lnTo>
                    <a:lnTo>
                      <a:pt x="827" y="335"/>
                    </a:lnTo>
                    <a:lnTo>
                      <a:pt x="831" y="337"/>
                    </a:lnTo>
                    <a:lnTo>
                      <a:pt x="835" y="339"/>
                    </a:lnTo>
                    <a:lnTo>
                      <a:pt x="839" y="339"/>
                    </a:lnTo>
                    <a:lnTo>
                      <a:pt x="843" y="347"/>
                    </a:lnTo>
                    <a:lnTo>
                      <a:pt x="841" y="355"/>
                    </a:lnTo>
                    <a:lnTo>
                      <a:pt x="839" y="357"/>
                    </a:lnTo>
                    <a:lnTo>
                      <a:pt x="837" y="363"/>
                    </a:lnTo>
                    <a:lnTo>
                      <a:pt x="835" y="367"/>
                    </a:lnTo>
                    <a:lnTo>
                      <a:pt x="837" y="371"/>
                    </a:lnTo>
                    <a:lnTo>
                      <a:pt x="837" y="375"/>
                    </a:lnTo>
                    <a:lnTo>
                      <a:pt x="841" y="381"/>
                    </a:lnTo>
                    <a:lnTo>
                      <a:pt x="843" y="403"/>
                    </a:lnTo>
                    <a:lnTo>
                      <a:pt x="843" y="405"/>
                    </a:lnTo>
                    <a:lnTo>
                      <a:pt x="839" y="409"/>
                    </a:lnTo>
                    <a:lnTo>
                      <a:pt x="837" y="411"/>
                    </a:lnTo>
                    <a:lnTo>
                      <a:pt x="835" y="409"/>
                    </a:lnTo>
                    <a:lnTo>
                      <a:pt x="833" y="411"/>
                    </a:lnTo>
                    <a:lnTo>
                      <a:pt x="837" y="417"/>
                    </a:lnTo>
                    <a:lnTo>
                      <a:pt x="835" y="419"/>
                    </a:lnTo>
                    <a:lnTo>
                      <a:pt x="829" y="417"/>
                    </a:lnTo>
                    <a:lnTo>
                      <a:pt x="823" y="417"/>
                    </a:lnTo>
                    <a:lnTo>
                      <a:pt x="821" y="413"/>
                    </a:lnTo>
                    <a:lnTo>
                      <a:pt x="821" y="397"/>
                    </a:lnTo>
                    <a:lnTo>
                      <a:pt x="823" y="389"/>
                    </a:lnTo>
                    <a:lnTo>
                      <a:pt x="821" y="389"/>
                    </a:lnTo>
                    <a:lnTo>
                      <a:pt x="821" y="369"/>
                    </a:lnTo>
                    <a:lnTo>
                      <a:pt x="823" y="365"/>
                    </a:lnTo>
                    <a:lnTo>
                      <a:pt x="833" y="359"/>
                    </a:lnTo>
                    <a:lnTo>
                      <a:pt x="833" y="351"/>
                    </a:lnTo>
                    <a:lnTo>
                      <a:pt x="835" y="351"/>
                    </a:lnTo>
                    <a:lnTo>
                      <a:pt x="837" y="347"/>
                    </a:lnTo>
                    <a:lnTo>
                      <a:pt x="831" y="343"/>
                    </a:lnTo>
                    <a:lnTo>
                      <a:pt x="815" y="345"/>
                    </a:lnTo>
                    <a:lnTo>
                      <a:pt x="809" y="343"/>
                    </a:lnTo>
                    <a:lnTo>
                      <a:pt x="807" y="341"/>
                    </a:lnTo>
                    <a:lnTo>
                      <a:pt x="799" y="331"/>
                    </a:lnTo>
                    <a:lnTo>
                      <a:pt x="799" y="329"/>
                    </a:lnTo>
                    <a:lnTo>
                      <a:pt x="788" y="321"/>
                    </a:lnTo>
                    <a:lnTo>
                      <a:pt x="786" y="317"/>
                    </a:lnTo>
                    <a:lnTo>
                      <a:pt x="778" y="313"/>
                    </a:lnTo>
                    <a:lnTo>
                      <a:pt x="760" y="313"/>
                    </a:lnTo>
                    <a:lnTo>
                      <a:pt x="756" y="319"/>
                    </a:lnTo>
                    <a:lnTo>
                      <a:pt x="750" y="323"/>
                    </a:lnTo>
                    <a:lnTo>
                      <a:pt x="748" y="327"/>
                    </a:lnTo>
                    <a:lnTo>
                      <a:pt x="756" y="327"/>
                    </a:lnTo>
                    <a:lnTo>
                      <a:pt x="760" y="331"/>
                    </a:lnTo>
                    <a:lnTo>
                      <a:pt x="758" y="335"/>
                    </a:lnTo>
                    <a:lnTo>
                      <a:pt x="756" y="339"/>
                    </a:lnTo>
                    <a:lnTo>
                      <a:pt x="750" y="341"/>
                    </a:lnTo>
                    <a:lnTo>
                      <a:pt x="746" y="343"/>
                    </a:lnTo>
                    <a:lnTo>
                      <a:pt x="740" y="345"/>
                    </a:lnTo>
                    <a:lnTo>
                      <a:pt x="740" y="341"/>
                    </a:lnTo>
                    <a:lnTo>
                      <a:pt x="734" y="331"/>
                    </a:lnTo>
                    <a:lnTo>
                      <a:pt x="730" y="333"/>
                    </a:lnTo>
                    <a:lnTo>
                      <a:pt x="728" y="337"/>
                    </a:lnTo>
                    <a:lnTo>
                      <a:pt x="730" y="339"/>
                    </a:lnTo>
                    <a:lnTo>
                      <a:pt x="734" y="351"/>
                    </a:lnTo>
                    <a:lnTo>
                      <a:pt x="740" y="357"/>
                    </a:lnTo>
                    <a:lnTo>
                      <a:pt x="744" y="359"/>
                    </a:lnTo>
                    <a:lnTo>
                      <a:pt x="748" y="363"/>
                    </a:lnTo>
                    <a:lnTo>
                      <a:pt x="750" y="363"/>
                    </a:lnTo>
                    <a:lnTo>
                      <a:pt x="752" y="365"/>
                    </a:lnTo>
                    <a:lnTo>
                      <a:pt x="754" y="363"/>
                    </a:lnTo>
                    <a:lnTo>
                      <a:pt x="756" y="359"/>
                    </a:lnTo>
                    <a:lnTo>
                      <a:pt x="756" y="363"/>
                    </a:lnTo>
                    <a:lnTo>
                      <a:pt x="758" y="365"/>
                    </a:lnTo>
                    <a:lnTo>
                      <a:pt x="760" y="365"/>
                    </a:lnTo>
                    <a:lnTo>
                      <a:pt x="760" y="373"/>
                    </a:lnTo>
                    <a:lnTo>
                      <a:pt x="764" y="377"/>
                    </a:lnTo>
                    <a:lnTo>
                      <a:pt x="764" y="379"/>
                    </a:lnTo>
                    <a:lnTo>
                      <a:pt x="760" y="379"/>
                    </a:lnTo>
                    <a:lnTo>
                      <a:pt x="758" y="377"/>
                    </a:lnTo>
                    <a:lnTo>
                      <a:pt x="756" y="375"/>
                    </a:lnTo>
                    <a:lnTo>
                      <a:pt x="754" y="373"/>
                    </a:lnTo>
                    <a:lnTo>
                      <a:pt x="752" y="371"/>
                    </a:lnTo>
                    <a:lnTo>
                      <a:pt x="722" y="363"/>
                    </a:lnTo>
                    <a:lnTo>
                      <a:pt x="716" y="357"/>
                    </a:lnTo>
                    <a:lnTo>
                      <a:pt x="720" y="355"/>
                    </a:lnTo>
                    <a:lnTo>
                      <a:pt x="720" y="349"/>
                    </a:lnTo>
                    <a:lnTo>
                      <a:pt x="716" y="343"/>
                    </a:lnTo>
                    <a:lnTo>
                      <a:pt x="716" y="339"/>
                    </a:lnTo>
                    <a:lnTo>
                      <a:pt x="718" y="333"/>
                    </a:lnTo>
                    <a:lnTo>
                      <a:pt x="716" y="331"/>
                    </a:lnTo>
                    <a:lnTo>
                      <a:pt x="718" y="327"/>
                    </a:lnTo>
                    <a:lnTo>
                      <a:pt x="722" y="317"/>
                    </a:lnTo>
                    <a:lnTo>
                      <a:pt x="720" y="305"/>
                    </a:lnTo>
                    <a:lnTo>
                      <a:pt x="722" y="305"/>
                    </a:lnTo>
                    <a:lnTo>
                      <a:pt x="720" y="301"/>
                    </a:lnTo>
                    <a:lnTo>
                      <a:pt x="718" y="297"/>
                    </a:lnTo>
                    <a:lnTo>
                      <a:pt x="718" y="295"/>
                    </a:lnTo>
                    <a:lnTo>
                      <a:pt x="714" y="291"/>
                    </a:lnTo>
                    <a:lnTo>
                      <a:pt x="714" y="287"/>
                    </a:lnTo>
                    <a:lnTo>
                      <a:pt x="710" y="291"/>
                    </a:lnTo>
                    <a:lnTo>
                      <a:pt x="712" y="317"/>
                    </a:lnTo>
                    <a:lnTo>
                      <a:pt x="710" y="321"/>
                    </a:lnTo>
                    <a:lnTo>
                      <a:pt x="688" y="339"/>
                    </a:lnTo>
                    <a:lnTo>
                      <a:pt x="688" y="345"/>
                    </a:lnTo>
                    <a:lnTo>
                      <a:pt x="688" y="347"/>
                    </a:lnTo>
                    <a:lnTo>
                      <a:pt x="682" y="351"/>
                    </a:lnTo>
                    <a:lnTo>
                      <a:pt x="682" y="355"/>
                    </a:lnTo>
                    <a:lnTo>
                      <a:pt x="694" y="371"/>
                    </a:lnTo>
                    <a:lnTo>
                      <a:pt x="696" y="381"/>
                    </a:lnTo>
                    <a:lnTo>
                      <a:pt x="702" y="393"/>
                    </a:lnTo>
                    <a:lnTo>
                      <a:pt x="698" y="409"/>
                    </a:lnTo>
                    <a:lnTo>
                      <a:pt x="694" y="413"/>
                    </a:lnTo>
                    <a:lnTo>
                      <a:pt x="694" y="421"/>
                    </a:lnTo>
                    <a:lnTo>
                      <a:pt x="692" y="425"/>
                    </a:lnTo>
                    <a:lnTo>
                      <a:pt x="692" y="433"/>
                    </a:lnTo>
                    <a:lnTo>
                      <a:pt x="696" y="445"/>
                    </a:lnTo>
                    <a:lnTo>
                      <a:pt x="694" y="456"/>
                    </a:lnTo>
                    <a:lnTo>
                      <a:pt x="696" y="460"/>
                    </a:lnTo>
                    <a:lnTo>
                      <a:pt x="700" y="460"/>
                    </a:lnTo>
                    <a:lnTo>
                      <a:pt x="704" y="460"/>
                    </a:lnTo>
                    <a:lnTo>
                      <a:pt x="708" y="460"/>
                    </a:lnTo>
                    <a:lnTo>
                      <a:pt x="716" y="462"/>
                    </a:lnTo>
                    <a:lnTo>
                      <a:pt x="716" y="458"/>
                    </a:lnTo>
                    <a:lnTo>
                      <a:pt x="722" y="454"/>
                    </a:lnTo>
                    <a:lnTo>
                      <a:pt x="728" y="454"/>
                    </a:lnTo>
                    <a:lnTo>
                      <a:pt x="752" y="470"/>
                    </a:lnTo>
                    <a:lnTo>
                      <a:pt x="754" y="472"/>
                    </a:lnTo>
                    <a:lnTo>
                      <a:pt x="754" y="480"/>
                    </a:lnTo>
                    <a:lnTo>
                      <a:pt x="758" y="490"/>
                    </a:lnTo>
                    <a:lnTo>
                      <a:pt x="760" y="490"/>
                    </a:lnTo>
                    <a:lnTo>
                      <a:pt x="760" y="494"/>
                    </a:lnTo>
                    <a:lnTo>
                      <a:pt x="758" y="496"/>
                    </a:lnTo>
                    <a:lnTo>
                      <a:pt x="754" y="496"/>
                    </a:lnTo>
                    <a:lnTo>
                      <a:pt x="752" y="500"/>
                    </a:lnTo>
                    <a:lnTo>
                      <a:pt x="750" y="502"/>
                    </a:lnTo>
                    <a:lnTo>
                      <a:pt x="752" y="514"/>
                    </a:lnTo>
                    <a:lnTo>
                      <a:pt x="752" y="516"/>
                    </a:lnTo>
                    <a:lnTo>
                      <a:pt x="756" y="516"/>
                    </a:lnTo>
                    <a:lnTo>
                      <a:pt x="760" y="518"/>
                    </a:lnTo>
                    <a:lnTo>
                      <a:pt x="766" y="518"/>
                    </a:lnTo>
                    <a:lnTo>
                      <a:pt x="772" y="522"/>
                    </a:lnTo>
                    <a:lnTo>
                      <a:pt x="770" y="522"/>
                    </a:lnTo>
                    <a:lnTo>
                      <a:pt x="764" y="524"/>
                    </a:lnTo>
                    <a:lnTo>
                      <a:pt x="760" y="524"/>
                    </a:lnTo>
                    <a:lnTo>
                      <a:pt x="754" y="524"/>
                    </a:lnTo>
                    <a:lnTo>
                      <a:pt x="752" y="518"/>
                    </a:lnTo>
                    <a:lnTo>
                      <a:pt x="746" y="516"/>
                    </a:lnTo>
                    <a:lnTo>
                      <a:pt x="746" y="512"/>
                    </a:lnTo>
                    <a:lnTo>
                      <a:pt x="748" y="502"/>
                    </a:lnTo>
                    <a:lnTo>
                      <a:pt x="750" y="498"/>
                    </a:lnTo>
                    <a:lnTo>
                      <a:pt x="748" y="496"/>
                    </a:lnTo>
                    <a:lnTo>
                      <a:pt x="746" y="496"/>
                    </a:lnTo>
                    <a:lnTo>
                      <a:pt x="746" y="494"/>
                    </a:lnTo>
                    <a:lnTo>
                      <a:pt x="746" y="490"/>
                    </a:lnTo>
                    <a:lnTo>
                      <a:pt x="748" y="490"/>
                    </a:lnTo>
                    <a:lnTo>
                      <a:pt x="748" y="488"/>
                    </a:lnTo>
                    <a:lnTo>
                      <a:pt x="748" y="486"/>
                    </a:lnTo>
                    <a:lnTo>
                      <a:pt x="748" y="484"/>
                    </a:lnTo>
                    <a:lnTo>
                      <a:pt x="746" y="482"/>
                    </a:lnTo>
                    <a:lnTo>
                      <a:pt x="742" y="480"/>
                    </a:lnTo>
                    <a:lnTo>
                      <a:pt x="742" y="478"/>
                    </a:lnTo>
                    <a:lnTo>
                      <a:pt x="740" y="476"/>
                    </a:lnTo>
                    <a:lnTo>
                      <a:pt x="738" y="474"/>
                    </a:lnTo>
                    <a:lnTo>
                      <a:pt x="738" y="470"/>
                    </a:lnTo>
                    <a:lnTo>
                      <a:pt x="736" y="466"/>
                    </a:lnTo>
                    <a:lnTo>
                      <a:pt x="716" y="470"/>
                    </a:lnTo>
                    <a:lnTo>
                      <a:pt x="704" y="476"/>
                    </a:lnTo>
                    <a:lnTo>
                      <a:pt x="704" y="482"/>
                    </a:lnTo>
                    <a:lnTo>
                      <a:pt x="702" y="488"/>
                    </a:lnTo>
                    <a:lnTo>
                      <a:pt x="702" y="492"/>
                    </a:lnTo>
                    <a:lnTo>
                      <a:pt x="704" y="492"/>
                    </a:lnTo>
                    <a:lnTo>
                      <a:pt x="706" y="496"/>
                    </a:lnTo>
                    <a:lnTo>
                      <a:pt x="706" y="498"/>
                    </a:lnTo>
                    <a:lnTo>
                      <a:pt x="706" y="500"/>
                    </a:lnTo>
                    <a:lnTo>
                      <a:pt x="708" y="502"/>
                    </a:lnTo>
                    <a:lnTo>
                      <a:pt x="710" y="510"/>
                    </a:lnTo>
                    <a:lnTo>
                      <a:pt x="708" y="518"/>
                    </a:lnTo>
                    <a:lnTo>
                      <a:pt x="696" y="530"/>
                    </a:lnTo>
                    <a:lnTo>
                      <a:pt x="694" y="542"/>
                    </a:lnTo>
                    <a:lnTo>
                      <a:pt x="690" y="548"/>
                    </a:lnTo>
                    <a:lnTo>
                      <a:pt x="684" y="554"/>
                    </a:lnTo>
                    <a:lnTo>
                      <a:pt x="682" y="556"/>
                    </a:lnTo>
                    <a:lnTo>
                      <a:pt x="674" y="560"/>
                    </a:lnTo>
                    <a:lnTo>
                      <a:pt x="672" y="562"/>
                    </a:lnTo>
                    <a:lnTo>
                      <a:pt x="674" y="566"/>
                    </a:lnTo>
                    <a:lnTo>
                      <a:pt x="672" y="572"/>
                    </a:lnTo>
                    <a:lnTo>
                      <a:pt x="668" y="572"/>
                    </a:lnTo>
                    <a:lnTo>
                      <a:pt x="658" y="568"/>
                    </a:lnTo>
                    <a:lnTo>
                      <a:pt x="652" y="568"/>
                    </a:lnTo>
                    <a:lnTo>
                      <a:pt x="646" y="568"/>
                    </a:lnTo>
                    <a:lnTo>
                      <a:pt x="640" y="568"/>
                    </a:lnTo>
                    <a:lnTo>
                      <a:pt x="638" y="566"/>
                    </a:lnTo>
                    <a:lnTo>
                      <a:pt x="638" y="564"/>
                    </a:lnTo>
                    <a:lnTo>
                      <a:pt x="640" y="562"/>
                    </a:lnTo>
                    <a:lnTo>
                      <a:pt x="638" y="556"/>
                    </a:lnTo>
                    <a:lnTo>
                      <a:pt x="634" y="556"/>
                    </a:lnTo>
                    <a:lnTo>
                      <a:pt x="634" y="554"/>
                    </a:lnTo>
                    <a:lnTo>
                      <a:pt x="634" y="552"/>
                    </a:lnTo>
                    <a:lnTo>
                      <a:pt x="638" y="550"/>
                    </a:lnTo>
                    <a:lnTo>
                      <a:pt x="640" y="554"/>
                    </a:lnTo>
                    <a:lnTo>
                      <a:pt x="642" y="556"/>
                    </a:lnTo>
                    <a:lnTo>
                      <a:pt x="646" y="556"/>
                    </a:lnTo>
                    <a:lnTo>
                      <a:pt x="646" y="552"/>
                    </a:lnTo>
                    <a:lnTo>
                      <a:pt x="650" y="552"/>
                    </a:lnTo>
                    <a:lnTo>
                      <a:pt x="652" y="548"/>
                    </a:lnTo>
                    <a:lnTo>
                      <a:pt x="654" y="550"/>
                    </a:lnTo>
                    <a:lnTo>
                      <a:pt x="658" y="548"/>
                    </a:lnTo>
                    <a:lnTo>
                      <a:pt x="660" y="546"/>
                    </a:lnTo>
                    <a:lnTo>
                      <a:pt x="664" y="546"/>
                    </a:lnTo>
                    <a:lnTo>
                      <a:pt x="668" y="544"/>
                    </a:lnTo>
                    <a:lnTo>
                      <a:pt x="668" y="542"/>
                    </a:lnTo>
                    <a:lnTo>
                      <a:pt x="668" y="540"/>
                    </a:lnTo>
                    <a:lnTo>
                      <a:pt x="662" y="540"/>
                    </a:lnTo>
                    <a:lnTo>
                      <a:pt x="660" y="542"/>
                    </a:lnTo>
                    <a:lnTo>
                      <a:pt x="658" y="540"/>
                    </a:lnTo>
                    <a:lnTo>
                      <a:pt x="658" y="536"/>
                    </a:lnTo>
                    <a:lnTo>
                      <a:pt x="664" y="540"/>
                    </a:lnTo>
                    <a:lnTo>
                      <a:pt x="670" y="538"/>
                    </a:lnTo>
                    <a:lnTo>
                      <a:pt x="670" y="532"/>
                    </a:lnTo>
                    <a:lnTo>
                      <a:pt x="674" y="532"/>
                    </a:lnTo>
                    <a:lnTo>
                      <a:pt x="676" y="530"/>
                    </a:lnTo>
                    <a:lnTo>
                      <a:pt x="678" y="522"/>
                    </a:lnTo>
                    <a:lnTo>
                      <a:pt x="682" y="520"/>
                    </a:lnTo>
                    <a:lnTo>
                      <a:pt x="684" y="516"/>
                    </a:lnTo>
                    <a:lnTo>
                      <a:pt x="684" y="514"/>
                    </a:lnTo>
                    <a:lnTo>
                      <a:pt x="684" y="512"/>
                    </a:lnTo>
                    <a:lnTo>
                      <a:pt x="684" y="500"/>
                    </a:lnTo>
                    <a:lnTo>
                      <a:pt x="686" y="494"/>
                    </a:lnTo>
                    <a:lnTo>
                      <a:pt x="690" y="488"/>
                    </a:lnTo>
                    <a:lnTo>
                      <a:pt x="690" y="480"/>
                    </a:lnTo>
                    <a:lnTo>
                      <a:pt x="674" y="464"/>
                    </a:lnTo>
                    <a:lnTo>
                      <a:pt x="676" y="453"/>
                    </a:lnTo>
                    <a:lnTo>
                      <a:pt x="676" y="449"/>
                    </a:lnTo>
                    <a:lnTo>
                      <a:pt x="678" y="445"/>
                    </a:lnTo>
                    <a:lnTo>
                      <a:pt x="676" y="439"/>
                    </a:lnTo>
                    <a:lnTo>
                      <a:pt x="678" y="435"/>
                    </a:lnTo>
                    <a:lnTo>
                      <a:pt x="678" y="429"/>
                    </a:lnTo>
                    <a:lnTo>
                      <a:pt x="676" y="427"/>
                    </a:lnTo>
                    <a:lnTo>
                      <a:pt x="676" y="425"/>
                    </a:lnTo>
                    <a:lnTo>
                      <a:pt x="676" y="421"/>
                    </a:lnTo>
                    <a:lnTo>
                      <a:pt x="676" y="417"/>
                    </a:lnTo>
                    <a:lnTo>
                      <a:pt x="676" y="415"/>
                    </a:lnTo>
                    <a:lnTo>
                      <a:pt x="674" y="415"/>
                    </a:lnTo>
                    <a:lnTo>
                      <a:pt x="674" y="411"/>
                    </a:lnTo>
                    <a:lnTo>
                      <a:pt x="676" y="407"/>
                    </a:lnTo>
                    <a:lnTo>
                      <a:pt x="678" y="405"/>
                    </a:lnTo>
                    <a:lnTo>
                      <a:pt x="678" y="393"/>
                    </a:lnTo>
                    <a:lnTo>
                      <a:pt x="680" y="389"/>
                    </a:lnTo>
                    <a:lnTo>
                      <a:pt x="680" y="383"/>
                    </a:lnTo>
                    <a:lnTo>
                      <a:pt x="676" y="375"/>
                    </a:lnTo>
                    <a:lnTo>
                      <a:pt x="676" y="369"/>
                    </a:lnTo>
                    <a:lnTo>
                      <a:pt x="668" y="361"/>
                    </a:lnTo>
                    <a:lnTo>
                      <a:pt x="664" y="353"/>
                    </a:lnTo>
                    <a:lnTo>
                      <a:pt x="664" y="351"/>
                    </a:lnTo>
                    <a:lnTo>
                      <a:pt x="664" y="349"/>
                    </a:lnTo>
                    <a:lnTo>
                      <a:pt x="670" y="347"/>
                    </a:lnTo>
                    <a:lnTo>
                      <a:pt x="670" y="343"/>
                    </a:lnTo>
                    <a:lnTo>
                      <a:pt x="672" y="341"/>
                    </a:lnTo>
                    <a:lnTo>
                      <a:pt x="672" y="337"/>
                    </a:lnTo>
                    <a:lnTo>
                      <a:pt x="678" y="321"/>
                    </a:lnTo>
                    <a:lnTo>
                      <a:pt x="678" y="297"/>
                    </a:lnTo>
                    <a:lnTo>
                      <a:pt x="676" y="295"/>
                    </a:lnTo>
                    <a:lnTo>
                      <a:pt x="678" y="295"/>
                    </a:lnTo>
                    <a:lnTo>
                      <a:pt x="666" y="289"/>
                    </a:lnTo>
                    <a:lnTo>
                      <a:pt x="662" y="285"/>
                    </a:lnTo>
                    <a:lnTo>
                      <a:pt x="638" y="287"/>
                    </a:lnTo>
                    <a:lnTo>
                      <a:pt x="634" y="285"/>
                    </a:lnTo>
                    <a:lnTo>
                      <a:pt x="636" y="283"/>
                    </a:lnTo>
                    <a:lnTo>
                      <a:pt x="628" y="283"/>
                    </a:lnTo>
                    <a:lnTo>
                      <a:pt x="626" y="287"/>
                    </a:lnTo>
                    <a:lnTo>
                      <a:pt x="614" y="341"/>
                    </a:lnTo>
                    <a:lnTo>
                      <a:pt x="598" y="361"/>
                    </a:lnTo>
                    <a:lnTo>
                      <a:pt x="590" y="365"/>
                    </a:lnTo>
                    <a:lnTo>
                      <a:pt x="588" y="375"/>
                    </a:lnTo>
                    <a:lnTo>
                      <a:pt x="590" y="375"/>
                    </a:lnTo>
                    <a:lnTo>
                      <a:pt x="592" y="371"/>
                    </a:lnTo>
                    <a:lnTo>
                      <a:pt x="594" y="371"/>
                    </a:lnTo>
                    <a:lnTo>
                      <a:pt x="594" y="375"/>
                    </a:lnTo>
                    <a:lnTo>
                      <a:pt x="592" y="377"/>
                    </a:lnTo>
                    <a:lnTo>
                      <a:pt x="588" y="381"/>
                    </a:lnTo>
                    <a:lnTo>
                      <a:pt x="586" y="387"/>
                    </a:lnTo>
                    <a:lnTo>
                      <a:pt x="588" y="389"/>
                    </a:lnTo>
                    <a:lnTo>
                      <a:pt x="592" y="389"/>
                    </a:lnTo>
                    <a:lnTo>
                      <a:pt x="594" y="387"/>
                    </a:lnTo>
                    <a:lnTo>
                      <a:pt x="598" y="387"/>
                    </a:lnTo>
                    <a:lnTo>
                      <a:pt x="600" y="391"/>
                    </a:lnTo>
                    <a:lnTo>
                      <a:pt x="598" y="395"/>
                    </a:lnTo>
                    <a:lnTo>
                      <a:pt x="598" y="405"/>
                    </a:lnTo>
                    <a:lnTo>
                      <a:pt x="596" y="409"/>
                    </a:lnTo>
                    <a:lnTo>
                      <a:pt x="596" y="415"/>
                    </a:lnTo>
                    <a:lnTo>
                      <a:pt x="598" y="419"/>
                    </a:lnTo>
                    <a:lnTo>
                      <a:pt x="596" y="423"/>
                    </a:lnTo>
                    <a:lnTo>
                      <a:pt x="594" y="423"/>
                    </a:lnTo>
                    <a:lnTo>
                      <a:pt x="592" y="421"/>
                    </a:lnTo>
                    <a:lnTo>
                      <a:pt x="592" y="439"/>
                    </a:lnTo>
                    <a:lnTo>
                      <a:pt x="594" y="443"/>
                    </a:lnTo>
                    <a:lnTo>
                      <a:pt x="594" y="439"/>
                    </a:lnTo>
                    <a:lnTo>
                      <a:pt x="596" y="437"/>
                    </a:lnTo>
                    <a:lnTo>
                      <a:pt x="606" y="445"/>
                    </a:lnTo>
                    <a:lnTo>
                      <a:pt x="608" y="443"/>
                    </a:lnTo>
                    <a:lnTo>
                      <a:pt x="610" y="443"/>
                    </a:lnTo>
                    <a:lnTo>
                      <a:pt x="610" y="449"/>
                    </a:lnTo>
                    <a:lnTo>
                      <a:pt x="616" y="464"/>
                    </a:lnTo>
                    <a:lnTo>
                      <a:pt x="620" y="468"/>
                    </a:lnTo>
                    <a:lnTo>
                      <a:pt x="624" y="466"/>
                    </a:lnTo>
                    <a:lnTo>
                      <a:pt x="624" y="468"/>
                    </a:lnTo>
                    <a:lnTo>
                      <a:pt x="624" y="470"/>
                    </a:lnTo>
                    <a:lnTo>
                      <a:pt x="622" y="474"/>
                    </a:lnTo>
                    <a:lnTo>
                      <a:pt x="616" y="494"/>
                    </a:lnTo>
                    <a:lnTo>
                      <a:pt x="612" y="496"/>
                    </a:lnTo>
                    <a:lnTo>
                      <a:pt x="610" y="494"/>
                    </a:lnTo>
                    <a:lnTo>
                      <a:pt x="612" y="490"/>
                    </a:lnTo>
                    <a:lnTo>
                      <a:pt x="608" y="486"/>
                    </a:lnTo>
                    <a:lnTo>
                      <a:pt x="604" y="484"/>
                    </a:lnTo>
                    <a:lnTo>
                      <a:pt x="592" y="470"/>
                    </a:lnTo>
                    <a:lnTo>
                      <a:pt x="586" y="468"/>
                    </a:lnTo>
                    <a:lnTo>
                      <a:pt x="580" y="464"/>
                    </a:lnTo>
                    <a:lnTo>
                      <a:pt x="572" y="460"/>
                    </a:lnTo>
                    <a:lnTo>
                      <a:pt x="572" y="458"/>
                    </a:lnTo>
                    <a:lnTo>
                      <a:pt x="574" y="458"/>
                    </a:lnTo>
                    <a:lnTo>
                      <a:pt x="568" y="456"/>
                    </a:lnTo>
                    <a:lnTo>
                      <a:pt x="562" y="453"/>
                    </a:lnTo>
                    <a:lnTo>
                      <a:pt x="558" y="451"/>
                    </a:lnTo>
                    <a:lnTo>
                      <a:pt x="550" y="443"/>
                    </a:lnTo>
                    <a:lnTo>
                      <a:pt x="538" y="437"/>
                    </a:lnTo>
                    <a:lnTo>
                      <a:pt x="536" y="437"/>
                    </a:lnTo>
                    <a:lnTo>
                      <a:pt x="530" y="433"/>
                    </a:lnTo>
                    <a:lnTo>
                      <a:pt x="512" y="433"/>
                    </a:lnTo>
                    <a:lnTo>
                      <a:pt x="510" y="431"/>
                    </a:lnTo>
                    <a:lnTo>
                      <a:pt x="506" y="429"/>
                    </a:lnTo>
                    <a:lnTo>
                      <a:pt x="502" y="429"/>
                    </a:lnTo>
                    <a:lnTo>
                      <a:pt x="500" y="431"/>
                    </a:lnTo>
                    <a:lnTo>
                      <a:pt x="500" y="433"/>
                    </a:lnTo>
                    <a:lnTo>
                      <a:pt x="498" y="435"/>
                    </a:lnTo>
                    <a:lnTo>
                      <a:pt x="494" y="439"/>
                    </a:lnTo>
                    <a:lnTo>
                      <a:pt x="494" y="441"/>
                    </a:lnTo>
                    <a:lnTo>
                      <a:pt x="502" y="460"/>
                    </a:lnTo>
                    <a:lnTo>
                      <a:pt x="502" y="458"/>
                    </a:lnTo>
                    <a:lnTo>
                      <a:pt x="500" y="470"/>
                    </a:lnTo>
                    <a:lnTo>
                      <a:pt x="496" y="476"/>
                    </a:lnTo>
                    <a:lnTo>
                      <a:pt x="486" y="476"/>
                    </a:lnTo>
                    <a:lnTo>
                      <a:pt x="486" y="480"/>
                    </a:lnTo>
                    <a:lnTo>
                      <a:pt x="488" y="484"/>
                    </a:lnTo>
                    <a:lnTo>
                      <a:pt x="488" y="486"/>
                    </a:lnTo>
                    <a:lnTo>
                      <a:pt x="484" y="490"/>
                    </a:lnTo>
                    <a:lnTo>
                      <a:pt x="482" y="492"/>
                    </a:lnTo>
                    <a:lnTo>
                      <a:pt x="478" y="490"/>
                    </a:lnTo>
                    <a:lnTo>
                      <a:pt x="476" y="486"/>
                    </a:lnTo>
                    <a:lnTo>
                      <a:pt x="476" y="482"/>
                    </a:lnTo>
                    <a:lnTo>
                      <a:pt x="476" y="480"/>
                    </a:lnTo>
                    <a:lnTo>
                      <a:pt x="478" y="476"/>
                    </a:lnTo>
                    <a:lnTo>
                      <a:pt x="480" y="476"/>
                    </a:lnTo>
                    <a:lnTo>
                      <a:pt x="474" y="466"/>
                    </a:lnTo>
                    <a:lnTo>
                      <a:pt x="474" y="464"/>
                    </a:lnTo>
                    <a:lnTo>
                      <a:pt x="472" y="464"/>
                    </a:lnTo>
                    <a:lnTo>
                      <a:pt x="462" y="468"/>
                    </a:lnTo>
                    <a:lnTo>
                      <a:pt x="458" y="472"/>
                    </a:lnTo>
                    <a:lnTo>
                      <a:pt x="454" y="474"/>
                    </a:lnTo>
                    <a:lnTo>
                      <a:pt x="448" y="484"/>
                    </a:lnTo>
                    <a:lnTo>
                      <a:pt x="446" y="484"/>
                    </a:lnTo>
                    <a:lnTo>
                      <a:pt x="444" y="482"/>
                    </a:lnTo>
                    <a:lnTo>
                      <a:pt x="440" y="480"/>
                    </a:lnTo>
                    <a:lnTo>
                      <a:pt x="434" y="482"/>
                    </a:lnTo>
                    <a:lnTo>
                      <a:pt x="430" y="478"/>
                    </a:lnTo>
                    <a:lnTo>
                      <a:pt x="424" y="482"/>
                    </a:lnTo>
                    <a:lnTo>
                      <a:pt x="420" y="482"/>
                    </a:lnTo>
                    <a:lnTo>
                      <a:pt x="414" y="488"/>
                    </a:lnTo>
                    <a:lnTo>
                      <a:pt x="412" y="490"/>
                    </a:lnTo>
                    <a:lnTo>
                      <a:pt x="412" y="498"/>
                    </a:lnTo>
                    <a:lnTo>
                      <a:pt x="410" y="498"/>
                    </a:lnTo>
                    <a:lnTo>
                      <a:pt x="406" y="496"/>
                    </a:lnTo>
                    <a:lnTo>
                      <a:pt x="404" y="494"/>
                    </a:lnTo>
                    <a:lnTo>
                      <a:pt x="402" y="496"/>
                    </a:lnTo>
                    <a:lnTo>
                      <a:pt x="398" y="492"/>
                    </a:lnTo>
                    <a:lnTo>
                      <a:pt x="398" y="484"/>
                    </a:lnTo>
                    <a:lnTo>
                      <a:pt x="396" y="484"/>
                    </a:lnTo>
                    <a:lnTo>
                      <a:pt x="396" y="482"/>
                    </a:lnTo>
                    <a:lnTo>
                      <a:pt x="398" y="476"/>
                    </a:lnTo>
                    <a:lnTo>
                      <a:pt x="400" y="472"/>
                    </a:lnTo>
                    <a:lnTo>
                      <a:pt x="398" y="470"/>
                    </a:lnTo>
                    <a:lnTo>
                      <a:pt x="396" y="470"/>
                    </a:lnTo>
                    <a:lnTo>
                      <a:pt x="396" y="472"/>
                    </a:lnTo>
                    <a:lnTo>
                      <a:pt x="394" y="472"/>
                    </a:lnTo>
                    <a:lnTo>
                      <a:pt x="396" y="468"/>
                    </a:lnTo>
                    <a:lnTo>
                      <a:pt x="398" y="468"/>
                    </a:lnTo>
                    <a:lnTo>
                      <a:pt x="404" y="466"/>
                    </a:lnTo>
                    <a:lnTo>
                      <a:pt x="408" y="464"/>
                    </a:lnTo>
                    <a:lnTo>
                      <a:pt x="402" y="466"/>
                    </a:lnTo>
                    <a:lnTo>
                      <a:pt x="400" y="466"/>
                    </a:lnTo>
                    <a:lnTo>
                      <a:pt x="396" y="466"/>
                    </a:lnTo>
                    <a:lnTo>
                      <a:pt x="390" y="470"/>
                    </a:lnTo>
                    <a:lnTo>
                      <a:pt x="390" y="472"/>
                    </a:lnTo>
                    <a:lnTo>
                      <a:pt x="388" y="472"/>
                    </a:lnTo>
                    <a:lnTo>
                      <a:pt x="386" y="474"/>
                    </a:lnTo>
                    <a:lnTo>
                      <a:pt x="388" y="480"/>
                    </a:lnTo>
                    <a:lnTo>
                      <a:pt x="384" y="480"/>
                    </a:lnTo>
                    <a:lnTo>
                      <a:pt x="382" y="480"/>
                    </a:lnTo>
                    <a:lnTo>
                      <a:pt x="382" y="476"/>
                    </a:lnTo>
                    <a:lnTo>
                      <a:pt x="382" y="474"/>
                    </a:lnTo>
                    <a:lnTo>
                      <a:pt x="380" y="474"/>
                    </a:lnTo>
                    <a:lnTo>
                      <a:pt x="374" y="482"/>
                    </a:lnTo>
                    <a:lnTo>
                      <a:pt x="378" y="480"/>
                    </a:lnTo>
                    <a:lnTo>
                      <a:pt x="378" y="484"/>
                    </a:lnTo>
                    <a:lnTo>
                      <a:pt x="378" y="488"/>
                    </a:lnTo>
                    <a:lnTo>
                      <a:pt x="376" y="490"/>
                    </a:lnTo>
                    <a:lnTo>
                      <a:pt x="374" y="492"/>
                    </a:lnTo>
                    <a:lnTo>
                      <a:pt x="370" y="484"/>
                    </a:lnTo>
                    <a:lnTo>
                      <a:pt x="364" y="486"/>
                    </a:lnTo>
                    <a:lnTo>
                      <a:pt x="364" y="488"/>
                    </a:lnTo>
                    <a:lnTo>
                      <a:pt x="354" y="492"/>
                    </a:lnTo>
                    <a:lnTo>
                      <a:pt x="352" y="492"/>
                    </a:lnTo>
                    <a:lnTo>
                      <a:pt x="324" y="512"/>
                    </a:lnTo>
                    <a:lnTo>
                      <a:pt x="320" y="512"/>
                    </a:lnTo>
                    <a:lnTo>
                      <a:pt x="320" y="516"/>
                    </a:lnTo>
                    <a:lnTo>
                      <a:pt x="322" y="518"/>
                    </a:lnTo>
                    <a:lnTo>
                      <a:pt x="320" y="520"/>
                    </a:lnTo>
                    <a:lnTo>
                      <a:pt x="314" y="520"/>
                    </a:lnTo>
                    <a:lnTo>
                      <a:pt x="310" y="522"/>
                    </a:lnTo>
                    <a:lnTo>
                      <a:pt x="304" y="536"/>
                    </a:lnTo>
                    <a:lnTo>
                      <a:pt x="304" y="544"/>
                    </a:lnTo>
                    <a:lnTo>
                      <a:pt x="302" y="548"/>
                    </a:lnTo>
                    <a:lnTo>
                      <a:pt x="298" y="550"/>
                    </a:lnTo>
                    <a:lnTo>
                      <a:pt x="296" y="550"/>
                    </a:lnTo>
                    <a:lnTo>
                      <a:pt x="290" y="552"/>
                    </a:lnTo>
                    <a:lnTo>
                      <a:pt x="288" y="558"/>
                    </a:lnTo>
                    <a:lnTo>
                      <a:pt x="286" y="550"/>
                    </a:lnTo>
                    <a:lnTo>
                      <a:pt x="284" y="552"/>
                    </a:lnTo>
                    <a:lnTo>
                      <a:pt x="280" y="552"/>
                    </a:lnTo>
                    <a:lnTo>
                      <a:pt x="278" y="550"/>
                    </a:lnTo>
                    <a:lnTo>
                      <a:pt x="274" y="540"/>
                    </a:lnTo>
                    <a:lnTo>
                      <a:pt x="266" y="532"/>
                    </a:lnTo>
                    <a:lnTo>
                      <a:pt x="264" y="528"/>
                    </a:lnTo>
                    <a:lnTo>
                      <a:pt x="264" y="524"/>
                    </a:lnTo>
                    <a:lnTo>
                      <a:pt x="266" y="522"/>
                    </a:lnTo>
                    <a:lnTo>
                      <a:pt x="268" y="520"/>
                    </a:lnTo>
                    <a:lnTo>
                      <a:pt x="270" y="516"/>
                    </a:lnTo>
                    <a:lnTo>
                      <a:pt x="288" y="512"/>
                    </a:lnTo>
                    <a:lnTo>
                      <a:pt x="286" y="508"/>
                    </a:lnTo>
                    <a:lnTo>
                      <a:pt x="284" y="498"/>
                    </a:lnTo>
                    <a:lnTo>
                      <a:pt x="282" y="500"/>
                    </a:lnTo>
                    <a:lnTo>
                      <a:pt x="280" y="494"/>
                    </a:lnTo>
                    <a:lnTo>
                      <a:pt x="278" y="492"/>
                    </a:lnTo>
                    <a:lnTo>
                      <a:pt x="278" y="488"/>
                    </a:lnTo>
                    <a:lnTo>
                      <a:pt x="274" y="486"/>
                    </a:lnTo>
                    <a:lnTo>
                      <a:pt x="268" y="484"/>
                    </a:lnTo>
                    <a:lnTo>
                      <a:pt x="254" y="484"/>
                    </a:lnTo>
                    <a:lnTo>
                      <a:pt x="252" y="484"/>
                    </a:lnTo>
                    <a:lnTo>
                      <a:pt x="238" y="478"/>
                    </a:lnTo>
                    <a:lnTo>
                      <a:pt x="238" y="480"/>
                    </a:lnTo>
                    <a:lnTo>
                      <a:pt x="252" y="492"/>
                    </a:lnTo>
                    <a:lnTo>
                      <a:pt x="252" y="504"/>
                    </a:lnTo>
                    <a:lnTo>
                      <a:pt x="250" y="510"/>
                    </a:lnTo>
                    <a:lnTo>
                      <a:pt x="250" y="514"/>
                    </a:lnTo>
                    <a:lnTo>
                      <a:pt x="246" y="532"/>
                    </a:lnTo>
                    <a:lnTo>
                      <a:pt x="248" y="536"/>
                    </a:lnTo>
                    <a:lnTo>
                      <a:pt x="248" y="538"/>
                    </a:lnTo>
                    <a:lnTo>
                      <a:pt x="252" y="538"/>
                    </a:lnTo>
                    <a:lnTo>
                      <a:pt x="254" y="540"/>
                    </a:lnTo>
                    <a:lnTo>
                      <a:pt x="256" y="546"/>
                    </a:lnTo>
                    <a:lnTo>
                      <a:pt x="256" y="548"/>
                    </a:lnTo>
                    <a:lnTo>
                      <a:pt x="256" y="552"/>
                    </a:lnTo>
                    <a:lnTo>
                      <a:pt x="256" y="556"/>
                    </a:lnTo>
                    <a:lnTo>
                      <a:pt x="256" y="560"/>
                    </a:lnTo>
                    <a:lnTo>
                      <a:pt x="252" y="564"/>
                    </a:lnTo>
                    <a:lnTo>
                      <a:pt x="250" y="572"/>
                    </a:lnTo>
                    <a:lnTo>
                      <a:pt x="252" y="576"/>
                    </a:lnTo>
                    <a:lnTo>
                      <a:pt x="252" y="586"/>
                    </a:lnTo>
                    <a:lnTo>
                      <a:pt x="248" y="582"/>
                    </a:lnTo>
                    <a:lnTo>
                      <a:pt x="248" y="578"/>
                    </a:lnTo>
                    <a:lnTo>
                      <a:pt x="246" y="576"/>
                    </a:lnTo>
                    <a:lnTo>
                      <a:pt x="244" y="576"/>
                    </a:lnTo>
                    <a:lnTo>
                      <a:pt x="240" y="580"/>
                    </a:lnTo>
                    <a:lnTo>
                      <a:pt x="242" y="576"/>
                    </a:lnTo>
                    <a:lnTo>
                      <a:pt x="242" y="572"/>
                    </a:lnTo>
                    <a:lnTo>
                      <a:pt x="236" y="566"/>
                    </a:lnTo>
                    <a:lnTo>
                      <a:pt x="230" y="566"/>
                    </a:lnTo>
                    <a:lnTo>
                      <a:pt x="224" y="562"/>
                    </a:lnTo>
                    <a:lnTo>
                      <a:pt x="222" y="564"/>
                    </a:lnTo>
                    <a:lnTo>
                      <a:pt x="220" y="568"/>
                    </a:lnTo>
                    <a:lnTo>
                      <a:pt x="210" y="580"/>
                    </a:lnTo>
                    <a:lnTo>
                      <a:pt x="204" y="582"/>
                    </a:lnTo>
                    <a:lnTo>
                      <a:pt x="202" y="582"/>
                    </a:lnTo>
                    <a:lnTo>
                      <a:pt x="198" y="584"/>
                    </a:lnTo>
                    <a:lnTo>
                      <a:pt x="196" y="588"/>
                    </a:lnTo>
                    <a:lnTo>
                      <a:pt x="190" y="594"/>
                    </a:lnTo>
                    <a:lnTo>
                      <a:pt x="186" y="596"/>
                    </a:lnTo>
                    <a:lnTo>
                      <a:pt x="188" y="606"/>
                    </a:lnTo>
                    <a:lnTo>
                      <a:pt x="202" y="634"/>
                    </a:lnTo>
                    <a:lnTo>
                      <a:pt x="202" y="636"/>
                    </a:lnTo>
                    <a:lnTo>
                      <a:pt x="198" y="634"/>
                    </a:lnTo>
                    <a:lnTo>
                      <a:pt x="196" y="634"/>
                    </a:lnTo>
                    <a:lnTo>
                      <a:pt x="188" y="632"/>
                    </a:lnTo>
                    <a:lnTo>
                      <a:pt x="188" y="634"/>
                    </a:lnTo>
                    <a:lnTo>
                      <a:pt x="178" y="630"/>
                    </a:lnTo>
                    <a:lnTo>
                      <a:pt x="174" y="626"/>
                    </a:lnTo>
                    <a:lnTo>
                      <a:pt x="170" y="626"/>
                    </a:lnTo>
                    <a:lnTo>
                      <a:pt x="168" y="624"/>
                    </a:lnTo>
                    <a:lnTo>
                      <a:pt x="164" y="628"/>
                    </a:lnTo>
                    <a:lnTo>
                      <a:pt x="162" y="632"/>
                    </a:lnTo>
                    <a:lnTo>
                      <a:pt x="160" y="626"/>
                    </a:lnTo>
                    <a:lnTo>
                      <a:pt x="164" y="624"/>
                    </a:lnTo>
                    <a:lnTo>
                      <a:pt x="156" y="622"/>
                    </a:lnTo>
                    <a:lnTo>
                      <a:pt x="156" y="618"/>
                    </a:lnTo>
                    <a:lnTo>
                      <a:pt x="146" y="612"/>
                    </a:lnTo>
                    <a:lnTo>
                      <a:pt x="142" y="612"/>
                    </a:lnTo>
                    <a:lnTo>
                      <a:pt x="142" y="618"/>
                    </a:lnTo>
                    <a:lnTo>
                      <a:pt x="140" y="620"/>
                    </a:lnTo>
                    <a:lnTo>
                      <a:pt x="138" y="622"/>
                    </a:lnTo>
                    <a:lnTo>
                      <a:pt x="140" y="628"/>
                    </a:lnTo>
                    <a:lnTo>
                      <a:pt x="142" y="630"/>
                    </a:lnTo>
                    <a:lnTo>
                      <a:pt x="144" y="636"/>
                    </a:lnTo>
                    <a:lnTo>
                      <a:pt x="150" y="640"/>
                    </a:lnTo>
                    <a:lnTo>
                      <a:pt x="158" y="636"/>
                    </a:lnTo>
                    <a:lnTo>
                      <a:pt x="162" y="654"/>
                    </a:lnTo>
                    <a:lnTo>
                      <a:pt x="162" y="656"/>
                    </a:lnTo>
                    <a:lnTo>
                      <a:pt x="158" y="654"/>
                    </a:lnTo>
                    <a:lnTo>
                      <a:pt x="154" y="656"/>
                    </a:lnTo>
                    <a:lnTo>
                      <a:pt x="152" y="658"/>
                    </a:lnTo>
                    <a:lnTo>
                      <a:pt x="152" y="660"/>
                    </a:lnTo>
                    <a:lnTo>
                      <a:pt x="134" y="652"/>
                    </a:lnTo>
                    <a:lnTo>
                      <a:pt x="130" y="646"/>
                    </a:lnTo>
                    <a:lnTo>
                      <a:pt x="128" y="644"/>
                    </a:lnTo>
                    <a:lnTo>
                      <a:pt x="126" y="642"/>
                    </a:lnTo>
                    <a:lnTo>
                      <a:pt x="124" y="640"/>
                    </a:lnTo>
                    <a:lnTo>
                      <a:pt x="122" y="642"/>
                    </a:lnTo>
                    <a:lnTo>
                      <a:pt x="120" y="642"/>
                    </a:lnTo>
                    <a:lnTo>
                      <a:pt x="114" y="638"/>
                    </a:lnTo>
                    <a:lnTo>
                      <a:pt x="112" y="634"/>
                    </a:lnTo>
                    <a:lnTo>
                      <a:pt x="108" y="636"/>
                    </a:lnTo>
                    <a:lnTo>
                      <a:pt x="110" y="634"/>
                    </a:lnTo>
                    <a:lnTo>
                      <a:pt x="112" y="632"/>
                    </a:lnTo>
                    <a:lnTo>
                      <a:pt x="112" y="622"/>
                    </a:lnTo>
                    <a:lnTo>
                      <a:pt x="110" y="620"/>
                    </a:lnTo>
                    <a:lnTo>
                      <a:pt x="110" y="616"/>
                    </a:lnTo>
                    <a:lnTo>
                      <a:pt x="104" y="606"/>
                    </a:lnTo>
                    <a:lnTo>
                      <a:pt x="106" y="604"/>
                    </a:lnTo>
                    <a:lnTo>
                      <a:pt x="110" y="602"/>
                    </a:lnTo>
                    <a:lnTo>
                      <a:pt x="112" y="588"/>
                    </a:lnTo>
                    <a:lnTo>
                      <a:pt x="110" y="586"/>
                    </a:lnTo>
                    <a:lnTo>
                      <a:pt x="108" y="584"/>
                    </a:lnTo>
                    <a:lnTo>
                      <a:pt x="106" y="578"/>
                    </a:lnTo>
                    <a:lnTo>
                      <a:pt x="106" y="576"/>
                    </a:lnTo>
                    <a:lnTo>
                      <a:pt x="102" y="576"/>
                    </a:lnTo>
                    <a:lnTo>
                      <a:pt x="100" y="572"/>
                    </a:lnTo>
                    <a:lnTo>
                      <a:pt x="96" y="572"/>
                    </a:lnTo>
                    <a:lnTo>
                      <a:pt x="92" y="570"/>
                    </a:lnTo>
                    <a:lnTo>
                      <a:pt x="92" y="566"/>
                    </a:lnTo>
                    <a:lnTo>
                      <a:pt x="92" y="564"/>
                    </a:lnTo>
                    <a:lnTo>
                      <a:pt x="88" y="564"/>
                    </a:lnTo>
                    <a:lnTo>
                      <a:pt x="78" y="556"/>
                    </a:lnTo>
                    <a:lnTo>
                      <a:pt x="80" y="554"/>
                    </a:lnTo>
                    <a:lnTo>
                      <a:pt x="76" y="550"/>
                    </a:lnTo>
                    <a:lnTo>
                      <a:pt x="74" y="546"/>
                    </a:lnTo>
                    <a:lnTo>
                      <a:pt x="72" y="542"/>
                    </a:lnTo>
                    <a:lnTo>
                      <a:pt x="68" y="542"/>
                    </a:lnTo>
                    <a:lnTo>
                      <a:pt x="70" y="540"/>
                    </a:lnTo>
                    <a:lnTo>
                      <a:pt x="76" y="538"/>
                    </a:lnTo>
                    <a:lnTo>
                      <a:pt x="82" y="542"/>
                    </a:lnTo>
                    <a:lnTo>
                      <a:pt x="82" y="544"/>
                    </a:lnTo>
                    <a:lnTo>
                      <a:pt x="84" y="548"/>
                    </a:lnTo>
                    <a:lnTo>
                      <a:pt x="92" y="554"/>
                    </a:lnTo>
                    <a:lnTo>
                      <a:pt x="94" y="554"/>
                    </a:lnTo>
                    <a:lnTo>
                      <a:pt x="94" y="550"/>
                    </a:lnTo>
                    <a:lnTo>
                      <a:pt x="96" y="554"/>
                    </a:lnTo>
                    <a:lnTo>
                      <a:pt x="98" y="556"/>
                    </a:lnTo>
                    <a:lnTo>
                      <a:pt x="100" y="554"/>
                    </a:lnTo>
                    <a:lnTo>
                      <a:pt x="102" y="556"/>
                    </a:lnTo>
                    <a:lnTo>
                      <a:pt x="104" y="554"/>
                    </a:lnTo>
                    <a:lnTo>
                      <a:pt x="106" y="562"/>
                    </a:lnTo>
                    <a:lnTo>
                      <a:pt x="110" y="560"/>
                    </a:lnTo>
                    <a:lnTo>
                      <a:pt x="116" y="560"/>
                    </a:lnTo>
                    <a:lnTo>
                      <a:pt x="118" y="564"/>
                    </a:lnTo>
                    <a:lnTo>
                      <a:pt x="120" y="564"/>
                    </a:lnTo>
                    <a:lnTo>
                      <a:pt x="122" y="566"/>
                    </a:lnTo>
                    <a:lnTo>
                      <a:pt x="136" y="570"/>
                    </a:lnTo>
                    <a:lnTo>
                      <a:pt x="144" y="572"/>
                    </a:lnTo>
                    <a:lnTo>
                      <a:pt x="150" y="574"/>
                    </a:lnTo>
                    <a:lnTo>
                      <a:pt x="152" y="576"/>
                    </a:lnTo>
                    <a:lnTo>
                      <a:pt x="172" y="578"/>
                    </a:lnTo>
                    <a:lnTo>
                      <a:pt x="174" y="576"/>
                    </a:lnTo>
                    <a:lnTo>
                      <a:pt x="178" y="576"/>
                    </a:lnTo>
                    <a:lnTo>
                      <a:pt x="190" y="572"/>
                    </a:lnTo>
                    <a:lnTo>
                      <a:pt x="206" y="552"/>
                    </a:lnTo>
                    <a:lnTo>
                      <a:pt x="210" y="538"/>
                    </a:lnTo>
                    <a:lnTo>
                      <a:pt x="206" y="536"/>
                    </a:lnTo>
                    <a:lnTo>
                      <a:pt x="204" y="520"/>
                    </a:lnTo>
                    <a:lnTo>
                      <a:pt x="202" y="516"/>
                    </a:lnTo>
                    <a:lnTo>
                      <a:pt x="198" y="514"/>
                    </a:lnTo>
                    <a:lnTo>
                      <a:pt x="196" y="514"/>
                    </a:lnTo>
                    <a:lnTo>
                      <a:pt x="194" y="512"/>
                    </a:lnTo>
                    <a:lnTo>
                      <a:pt x="194" y="510"/>
                    </a:lnTo>
                    <a:lnTo>
                      <a:pt x="190" y="506"/>
                    </a:lnTo>
                    <a:lnTo>
                      <a:pt x="188" y="502"/>
                    </a:lnTo>
                    <a:lnTo>
                      <a:pt x="186" y="500"/>
                    </a:lnTo>
                    <a:lnTo>
                      <a:pt x="186" y="504"/>
                    </a:lnTo>
                    <a:lnTo>
                      <a:pt x="184" y="504"/>
                    </a:lnTo>
                    <a:lnTo>
                      <a:pt x="176" y="498"/>
                    </a:lnTo>
                    <a:lnTo>
                      <a:pt x="176" y="500"/>
                    </a:lnTo>
                    <a:lnTo>
                      <a:pt x="174" y="498"/>
                    </a:lnTo>
                    <a:lnTo>
                      <a:pt x="174" y="494"/>
                    </a:lnTo>
                    <a:lnTo>
                      <a:pt x="170" y="490"/>
                    </a:lnTo>
                    <a:lnTo>
                      <a:pt x="172" y="496"/>
                    </a:lnTo>
                    <a:lnTo>
                      <a:pt x="166" y="494"/>
                    </a:lnTo>
                    <a:lnTo>
                      <a:pt x="164" y="490"/>
                    </a:lnTo>
                    <a:lnTo>
                      <a:pt x="164" y="488"/>
                    </a:lnTo>
                    <a:lnTo>
                      <a:pt x="126" y="456"/>
                    </a:lnTo>
                    <a:lnTo>
                      <a:pt x="118" y="454"/>
                    </a:lnTo>
                    <a:lnTo>
                      <a:pt x="118" y="456"/>
                    </a:lnTo>
                    <a:lnTo>
                      <a:pt x="118" y="458"/>
                    </a:lnTo>
                    <a:lnTo>
                      <a:pt x="116" y="458"/>
                    </a:lnTo>
                    <a:lnTo>
                      <a:pt x="98" y="451"/>
                    </a:lnTo>
                    <a:lnTo>
                      <a:pt x="96" y="453"/>
                    </a:lnTo>
                    <a:lnTo>
                      <a:pt x="92" y="454"/>
                    </a:lnTo>
                    <a:lnTo>
                      <a:pt x="90" y="454"/>
                    </a:lnTo>
                    <a:lnTo>
                      <a:pt x="88" y="453"/>
                    </a:lnTo>
                    <a:lnTo>
                      <a:pt x="88" y="449"/>
                    </a:lnTo>
                    <a:lnTo>
                      <a:pt x="88" y="447"/>
                    </a:lnTo>
                    <a:lnTo>
                      <a:pt x="82" y="453"/>
                    </a:lnTo>
                    <a:lnTo>
                      <a:pt x="84" y="447"/>
                    </a:lnTo>
                    <a:lnTo>
                      <a:pt x="80" y="449"/>
                    </a:lnTo>
                    <a:lnTo>
                      <a:pt x="82" y="445"/>
                    </a:lnTo>
                    <a:lnTo>
                      <a:pt x="80" y="445"/>
                    </a:lnTo>
                    <a:lnTo>
                      <a:pt x="78" y="445"/>
                    </a:lnTo>
                    <a:lnTo>
                      <a:pt x="74" y="447"/>
                    </a:lnTo>
                    <a:lnTo>
                      <a:pt x="74" y="445"/>
                    </a:lnTo>
                    <a:lnTo>
                      <a:pt x="74" y="443"/>
                    </a:lnTo>
                    <a:lnTo>
                      <a:pt x="74" y="441"/>
                    </a:lnTo>
                    <a:lnTo>
                      <a:pt x="70" y="441"/>
                    </a:lnTo>
                    <a:lnTo>
                      <a:pt x="70" y="433"/>
                    </a:lnTo>
                    <a:lnTo>
                      <a:pt x="72" y="437"/>
                    </a:lnTo>
                    <a:lnTo>
                      <a:pt x="74" y="439"/>
                    </a:lnTo>
                    <a:lnTo>
                      <a:pt x="76" y="439"/>
                    </a:lnTo>
                    <a:lnTo>
                      <a:pt x="76" y="441"/>
                    </a:lnTo>
                    <a:lnTo>
                      <a:pt x="80" y="441"/>
                    </a:lnTo>
                    <a:lnTo>
                      <a:pt x="82" y="441"/>
                    </a:lnTo>
                    <a:lnTo>
                      <a:pt x="84" y="437"/>
                    </a:lnTo>
                    <a:lnTo>
                      <a:pt x="86" y="433"/>
                    </a:lnTo>
                    <a:lnTo>
                      <a:pt x="80" y="431"/>
                    </a:lnTo>
                    <a:lnTo>
                      <a:pt x="78" y="433"/>
                    </a:lnTo>
                    <a:lnTo>
                      <a:pt x="76" y="431"/>
                    </a:lnTo>
                    <a:lnTo>
                      <a:pt x="76" y="429"/>
                    </a:lnTo>
                    <a:lnTo>
                      <a:pt x="66" y="425"/>
                    </a:lnTo>
                    <a:lnTo>
                      <a:pt x="68" y="427"/>
                    </a:lnTo>
                    <a:lnTo>
                      <a:pt x="68" y="431"/>
                    </a:lnTo>
                    <a:lnTo>
                      <a:pt x="66" y="433"/>
                    </a:lnTo>
                    <a:lnTo>
                      <a:pt x="64" y="431"/>
                    </a:lnTo>
                    <a:lnTo>
                      <a:pt x="64" y="433"/>
                    </a:lnTo>
                    <a:lnTo>
                      <a:pt x="64" y="435"/>
                    </a:lnTo>
                    <a:lnTo>
                      <a:pt x="64" y="437"/>
                    </a:lnTo>
                    <a:lnTo>
                      <a:pt x="62" y="437"/>
                    </a:lnTo>
                    <a:lnTo>
                      <a:pt x="58" y="435"/>
                    </a:lnTo>
                    <a:lnTo>
                      <a:pt x="52" y="433"/>
                    </a:lnTo>
                    <a:lnTo>
                      <a:pt x="52" y="437"/>
                    </a:lnTo>
                    <a:lnTo>
                      <a:pt x="52" y="441"/>
                    </a:lnTo>
                    <a:lnTo>
                      <a:pt x="48" y="443"/>
                    </a:lnTo>
                    <a:lnTo>
                      <a:pt x="42" y="439"/>
                    </a:lnTo>
                    <a:lnTo>
                      <a:pt x="40" y="447"/>
                    </a:lnTo>
                    <a:lnTo>
                      <a:pt x="38" y="449"/>
                    </a:lnTo>
                    <a:lnTo>
                      <a:pt x="30" y="454"/>
                    </a:lnTo>
                    <a:lnTo>
                      <a:pt x="28" y="454"/>
                    </a:lnTo>
                    <a:lnTo>
                      <a:pt x="28" y="458"/>
                    </a:lnTo>
                    <a:lnTo>
                      <a:pt x="26" y="460"/>
                    </a:lnTo>
                    <a:lnTo>
                      <a:pt x="26" y="462"/>
                    </a:lnTo>
                    <a:lnTo>
                      <a:pt x="16" y="468"/>
                    </a:lnTo>
                    <a:lnTo>
                      <a:pt x="20" y="470"/>
                    </a:lnTo>
                    <a:lnTo>
                      <a:pt x="20" y="472"/>
                    </a:lnTo>
                    <a:lnTo>
                      <a:pt x="16" y="482"/>
                    </a:lnTo>
                    <a:lnTo>
                      <a:pt x="18" y="494"/>
                    </a:lnTo>
                    <a:lnTo>
                      <a:pt x="20" y="496"/>
                    </a:lnTo>
                    <a:lnTo>
                      <a:pt x="22" y="498"/>
                    </a:lnTo>
                    <a:lnTo>
                      <a:pt x="26" y="498"/>
                    </a:lnTo>
                    <a:lnTo>
                      <a:pt x="30" y="500"/>
                    </a:lnTo>
                    <a:lnTo>
                      <a:pt x="38" y="514"/>
                    </a:lnTo>
                    <a:lnTo>
                      <a:pt x="38" y="520"/>
                    </a:lnTo>
                    <a:lnTo>
                      <a:pt x="28" y="546"/>
                    </a:lnTo>
                    <a:lnTo>
                      <a:pt x="28" y="552"/>
                    </a:lnTo>
                    <a:lnTo>
                      <a:pt x="42" y="592"/>
                    </a:lnTo>
                    <a:lnTo>
                      <a:pt x="38" y="596"/>
                    </a:lnTo>
                    <a:lnTo>
                      <a:pt x="36" y="606"/>
                    </a:lnTo>
                    <a:lnTo>
                      <a:pt x="36" y="610"/>
                    </a:lnTo>
                    <a:lnTo>
                      <a:pt x="36" y="614"/>
                    </a:lnTo>
                    <a:lnTo>
                      <a:pt x="36" y="618"/>
                    </a:lnTo>
                    <a:lnTo>
                      <a:pt x="36" y="622"/>
                    </a:lnTo>
                    <a:lnTo>
                      <a:pt x="40" y="624"/>
                    </a:lnTo>
                    <a:lnTo>
                      <a:pt x="42" y="628"/>
                    </a:lnTo>
                    <a:lnTo>
                      <a:pt x="42" y="634"/>
                    </a:lnTo>
                    <a:lnTo>
                      <a:pt x="44" y="638"/>
                    </a:lnTo>
                    <a:lnTo>
                      <a:pt x="48" y="642"/>
                    </a:lnTo>
                    <a:lnTo>
                      <a:pt x="48" y="648"/>
                    </a:lnTo>
                    <a:lnTo>
                      <a:pt x="42" y="662"/>
                    </a:lnTo>
                    <a:lnTo>
                      <a:pt x="44" y="666"/>
                    </a:lnTo>
                    <a:lnTo>
                      <a:pt x="46" y="670"/>
                    </a:lnTo>
                    <a:lnTo>
                      <a:pt x="54" y="676"/>
                    </a:lnTo>
                    <a:lnTo>
                      <a:pt x="56" y="680"/>
                    </a:lnTo>
                    <a:lnTo>
                      <a:pt x="58" y="686"/>
                    </a:lnTo>
                    <a:lnTo>
                      <a:pt x="60" y="684"/>
                    </a:lnTo>
                    <a:lnTo>
                      <a:pt x="60" y="694"/>
                    </a:lnTo>
                    <a:lnTo>
                      <a:pt x="4" y="761"/>
                    </a:lnTo>
                    <a:lnTo>
                      <a:pt x="10" y="761"/>
                    </a:lnTo>
                    <a:lnTo>
                      <a:pt x="12" y="759"/>
                    </a:lnTo>
                    <a:lnTo>
                      <a:pt x="18" y="755"/>
                    </a:lnTo>
                    <a:lnTo>
                      <a:pt x="18" y="757"/>
                    </a:lnTo>
                    <a:lnTo>
                      <a:pt x="18" y="759"/>
                    </a:lnTo>
                    <a:lnTo>
                      <a:pt x="18" y="763"/>
                    </a:lnTo>
                    <a:lnTo>
                      <a:pt x="16" y="761"/>
                    </a:lnTo>
                    <a:lnTo>
                      <a:pt x="16" y="765"/>
                    </a:lnTo>
                    <a:lnTo>
                      <a:pt x="16" y="767"/>
                    </a:lnTo>
                    <a:lnTo>
                      <a:pt x="18" y="769"/>
                    </a:lnTo>
                    <a:lnTo>
                      <a:pt x="24" y="773"/>
                    </a:lnTo>
                    <a:lnTo>
                      <a:pt x="32" y="771"/>
                    </a:lnTo>
                    <a:lnTo>
                      <a:pt x="36" y="773"/>
                    </a:lnTo>
                    <a:lnTo>
                      <a:pt x="38" y="775"/>
                    </a:lnTo>
                    <a:lnTo>
                      <a:pt x="38" y="777"/>
                    </a:lnTo>
                    <a:lnTo>
                      <a:pt x="40" y="779"/>
                    </a:lnTo>
                    <a:lnTo>
                      <a:pt x="42" y="779"/>
                    </a:lnTo>
                    <a:lnTo>
                      <a:pt x="40" y="781"/>
                    </a:lnTo>
                    <a:lnTo>
                      <a:pt x="26" y="779"/>
                    </a:lnTo>
                    <a:lnTo>
                      <a:pt x="24" y="781"/>
                    </a:lnTo>
                    <a:lnTo>
                      <a:pt x="24" y="783"/>
                    </a:lnTo>
                    <a:lnTo>
                      <a:pt x="20" y="785"/>
                    </a:lnTo>
                    <a:lnTo>
                      <a:pt x="18" y="783"/>
                    </a:lnTo>
                    <a:lnTo>
                      <a:pt x="16" y="783"/>
                    </a:lnTo>
                    <a:lnTo>
                      <a:pt x="14" y="787"/>
                    </a:lnTo>
                    <a:lnTo>
                      <a:pt x="12" y="787"/>
                    </a:lnTo>
                    <a:lnTo>
                      <a:pt x="12" y="785"/>
                    </a:lnTo>
                    <a:lnTo>
                      <a:pt x="10" y="785"/>
                    </a:lnTo>
                    <a:lnTo>
                      <a:pt x="8" y="787"/>
                    </a:lnTo>
                    <a:lnTo>
                      <a:pt x="8" y="791"/>
                    </a:lnTo>
                    <a:lnTo>
                      <a:pt x="10" y="791"/>
                    </a:lnTo>
                    <a:lnTo>
                      <a:pt x="12" y="793"/>
                    </a:lnTo>
                    <a:lnTo>
                      <a:pt x="12" y="795"/>
                    </a:lnTo>
                    <a:lnTo>
                      <a:pt x="12" y="799"/>
                    </a:lnTo>
                    <a:lnTo>
                      <a:pt x="8" y="801"/>
                    </a:lnTo>
                    <a:lnTo>
                      <a:pt x="4" y="809"/>
                    </a:lnTo>
                    <a:lnTo>
                      <a:pt x="6" y="813"/>
                    </a:lnTo>
                    <a:lnTo>
                      <a:pt x="6" y="817"/>
                    </a:lnTo>
                    <a:lnTo>
                      <a:pt x="6" y="821"/>
                    </a:lnTo>
                    <a:lnTo>
                      <a:pt x="6" y="823"/>
                    </a:lnTo>
                    <a:lnTo>
                      <a:pt x="6" y="825"/>
                    </a:lnTo>
                    <a:lnTo>
                      <a:pt x="2" y="827"/>
                    </a:lnTo>
                    <a:lnTo>
                      <a:pt x="2" y="829"/>
                    </a:lnTo>
                    <a:lnTo>
                      <a:pt x="2" y="831"/>
                    </a:lnTo>
                    <a:lnTo>
                      <a:pt x="8" y="831"/>
                    </a:lnTo>
                    <a:lnTo>
                      <a:pt x="12" y="837"/>
                    </a:lnTo>
                    <a:lnTo>
                      <a:pt x="10" y="841"/>
                    </a:lnTo>
                    <a:lnTo>
                      <a:pt x="8" y="841"/>
                    </a:lnTo>
                    <a:lnTo>
                      <a:pt x="4" y="835"/>
                    </a:lnTo>
                    <a:lnTo>
                      <a:pt x="4" y="839"/>
                    </a:lnTo>
                    <a:lnTo>
                      <a:pt x="0" y="845"/>
                    </a:lnTo>
                    <a:lnTo>
                      <a:pt x="2" y="847"/>
                    </a:lnTo>
                    <a:lnTo>
                      <a:pt x="2" y="849"/>
                    </a:lnTo>
                    <a:lnTo>
                      <a:pt x="4" y="851"/>
                    </a:lnTo>
                    <a:lnTo>
                      <a:pt x="6" y="853"/>
                    </a:lnTo>
                    <a:lnTo>
                      <a:pt x="6" y="855"/>
                    </a:lnTo>
                    <a:lnTo>
                      <a:pt x="6" y="857"/>
                    </a:lnTo>
                    <a:lnTo>
                      <a:pt x="4" y="865"/>
                    </a:lnTo>
                    <a:lnTo>
                      <a:pt x="6" y="865"/>
                    </a:lnTo>
                    <a:lnTo>
                      <a:pt x="8" y="867"/>
                    </a:lnTo>
                    <a:lnTo>
                      <a:pt x="8" y="869"/>
                    </a:lnTo>
                    <a:lnTo>
                      <a:pt x="14" y="879"/>
                    </a:lnTo>
                    <a:lnTo>
                      <a:pt x="14" y="887"/>
                    </a:lnTo>
                    <a:lnTo>
                      <a:pt x="14" y="889"/>
                    </a:lnTo>
                    <a:lnTo>
                      <a:pt x="18" y="887"/>
                    </a:lnTo>
                    <a:lnTo>
                      <a:pt x="20" y="889"/>
                    </a:lnTo>
                    <a:lnTo>
                      <a:pt x="22" y="891"/>
                    </a:lnTo>
                    <a:lnTo>
                      <a:pt x="26" y="889"/>
                    </a:lnTo>
                    <a:lnTo>
                      <a:pt x="28" y="891"/>
                    </a:lnTo>
                    <a:lnTo>
                      <a:pt x="32" y="893"/>
                    </a:lnTo>
                    <a:lnTo>
                      <a:pt x="32" y="899"/>
                    </a:lnTo>
                    <a:lnTo>
                      <a:pt x="34" y="895"/>
                    </a:lnTo>
                    <a:lnTo>
                      <a:pt x="38" y="895"/>
                    </a:lnTo>
                    <a:lnTo>
                      <a:pt x="46" y="895"/>
                    </a:lnTo>
                    <a:lnTo>
                      <a:pt x="48" y="895"/>
                    </a:lnTo>
                    <a:lnTo>
                      <a:pt x="52" y="901"/>
                    </a:lnTo>
                    <a:lnTo>
                      <a:pt x="54" y="901"/>
                    </a:lnTo>
                    <a:lnTo>
                      <a:pt x="54" y="903"/>
                    </a:lnTo>
                    <a:lnTo>
                      <a:pt x="54" y="905"/>
                    </a:lnTo>
                    <a:lnTo>
                      <a:pt x="54" y="909"/>
                    </a:lnTo>
                    <a:lnTo>
                      <a:pt x="54" y="911"/>
                    </a:lnTo>
                    <a:lnTo>
                      <a:pt x="56" y="913"/>
                    </a:lnTo>
                    <a:lnTo>
                      <a:pt x="54" y="917"/>
                    </a:lnTo>
                    <a:lnTo>
                      <a:pt x="52" y="917"/>
                    </a:lnTo>
                    <a:lnTo>
                      <a:pt x="52" y="919"/>
                    </a:lnTo>
                    <a:lnTo>
                      <a:pt x="52" y="921"/>
                    </a:lnTo>
                    <a:lnTo>
                      <a:pt x="56" y="925"/>
                    </a:lnTo>
                    <a:lnTo>
                      <a:pt x="62" y="937"/>
                    </a:lnTo>
                    <a:lnTo>
                      <a:pt x="66" y="939"/>
                    </a:lnTo>
                    <a:lnTo>
                      <a:pt x="66" y="941"/>
                    </a:lnTo>
                    <a:lnTo>
                      <a:pt x="66" y="943"/>
                    </a:lnTo>
                    <a:lnTo>
                      <a:pt x="66" y="945"/>
                    </a:lnTo>
                    <a:lnTo>
                      <a:pt x="68" y="947"/>
                    </a:lnTo>
                    <a:lnTo>
                      <a:pt x="74" y="947"/>
                    </a:lnTo>
                    <a:lnTo>
                      <a:pt x="76" y="949"/>
                    </a:lnTo>
                    <a:lnTo>
                      <a:pt x="78" y="949"/>
                    </a:lnTo>
                    <a:lnTo>
                      <a:pt x="78" y="951"/>
                    </a:lnTo>
                    <a:lnTo>
                      <a:pt x="78" y="953"/>
                    </a:lnTo>
                    <a:lnTo>
                      <a:pt x="80" y="953"/>
                    </a:lnTo>
                    <a:lnTo>
                      <a:pt x="82" y="957"/>
                    </a:lnTo>
                    <a:lnTo>
                      <a:pt x="72" y="963"/>
                    </a:lnTo>
                    <a:lnTo>
                      <a:pt x="68" y="963"/>
                    </a:lnTo>
                    <a:lnTo>
                      <a:pt x="66" y="961"/>
                    </a:lnTo>
                    <a:lnTo>
                      <a:pt x="62" y="961"/>
                    </a:lnTo>
                    <a:lnTo>
                      <a:pt x="60" y="961"/>
                    </a:lnTo>
                    <a:lnTo>
                      <a:pt x="60" y="963"/>
                    </a:lnTo>
                    <a:lnTo>
                      <a:pt x="58" y="965"/>
                    </a:lnTo>
                    <a:lnTo>
                      <a:pt x="58" y="967"/>
                    </a:lnTo>
                    <a:lnTo>
                      <a:pt x="62" y="969"/>
                    </a:lnTo>
                    <a:lnTo>
                      <a:pt x="62" y="970"/>
                    </a:lnTo>
                    <a:lnTo>
                      <a:pt x="62" y="972"/>
                    </a:lnTo>
                    <a:lnTo>
                      <a:pt x="64" y="974"/>
                    </a:lnTo>
                    <a:lnTo>
                      <a:pt x="62" y="976"/>
                    </a:lnTo>
                    <a:lnTo>
                      <a:pt x="64" y="978"/>
                    </a:lnTo>
                    <a:lnTo>
                      <a:pt x="66" y="980"/>
                    </a:lnTo>
                    <a:lnTo>
                      <a:pt x="66" y="982"/>
                    </a:lnTo>
                    <a:lnTo>
                      <a:pt x="66" y="988"/>
                    </a:lnTo>
                    <a:lnTo>
                      <a:pt x="68" y="990"/>
                    </a:lnTo>
                    <a:lnTo>
                      <a:pt x="70" y="990"/>
                    </a:lnTo>
                    <a:lnTo>
                      <a:pt x="72" y="988"/>
                    </a:lnTo>
                    <a:lnTo>
                      <a:pt x="74" y="986"/>
                    </a:lnTo>
                    <a:lnTo>
                      <a:pt x="74" y="984"/>
                    </a:lnTo>
                    <a:lnTo>
                      <a:pt x="76" y="984"/>
                    </a:lnTo>
                    <a:lnTo>
                      <a:pt x="84" y="984"/>
                    </a:lnTo>
                    <a:lnTo>
                      <a:pt x="88" y="982"/>
                    </a:lnTo>
                    <a:lnTo>
                      <a:pt x="92" y="984"/>
                    </a:lnTo>
                    <a:lnTo>
                      <a:pt x="96" y="982"/>
                    </a:lnTo>
                    <a:lnTo>
                      <a:pt x="100" y="986"/>
                    </a:lnTo>
                    <a:lnTo>
                      <a:pt x="100" y="988"/>
                    </a:lnTo>
                    <a:lnTo>
                      <a:pt x="100" y="990"/>
                    </a:lnTo>
                    <a:lnTo>
                      <a:pt x="106" y="994"/>
                    </a:lnTo>
                    <a:lnTo>
                      <a:pt x="106" y="996"/>
                    </a:lnTo>
                    <a:lnTo>
                      <a:pt x="104" y="998"/>
                    </a:lnTo>
                    <a:lnTo>
                      <a:pt x="102" y="998"/>
                    </a:lnTo>
                    <a:lnTo>
                      <a:pt x="102" y="1000"/>
                    </a:lnTo>
                    <a:lnTo>
                      <a:pt x="102" y="1002"/>
                    </a:lnTo>
                    <a:lnTo>
                      <a:pt x="104" y="1006"/>
                    </a:lnTo>
                    <a:lnTo>
                      <a:pt x="108" y="1010"/>
                    </a:lnTo>
                    <a:lnTo>
                      <a:pt x="112" y="1010"/>
                    </a:lnTo>
                    <a:lnTo>
                      <a:pt x="114" y="1010"/>
                    </a:lnTo>
                    <a:lnTo>
                      <a:pt x="116" y="1010"/>
                    </a:lnTo>
                    <a:lnTo>
                      <a:pt x="116" y="1012"/>
                    </a:lnTo>
                    <a:lnTo>
                      <a:pt x="120" y="1014"/>
                    </a:lnTo>
                    <a:lnTo>
                      <a:pt x="122" y="1022"/>
                    </a:lnTo>
                    <a:lnTo>
                      <a:pt x="120" y="1024"/>
                    </a:lnTo>
                    <a:lnTo>
                      <a:pt x="122" y="1026"/>
                    </a:lnTo>
                    <a:lnTo>
                      <a:pt x="126" y="1030"/>
                    </a:lnTo>
                    <a:lnTo>
                      <a:pt x="128" y="1028"/>
                    </a:lnTo>
                    <a:lnTo>
                      <a:pt x="130" y="1028"/>
                    </a:lnTo>
                    <a:lnTo>
                      <a:pt x="132" y="1028"/>
                    </a:lnTo>
                    <a:lnTo>
                      <a:pt x="134" y="1032"/>
                    </a:lnTo>
                    <a:lnTo>
                      <a:pt x="136" y="1030"/>
                    </a:lnTo>
                    <a:lnTo>
                      <a:pt x="138" y="1032"/>
                    </a:lnTo>
                    <a:lnTo>
                      <a:pt x="150" y="1028"/>
                    </a:lnTo>
                    <a:lnTo>
                      <a:pt x="152" y="1028"/>
                    </a:lnTo>
                    <a:lnTo>
                      <a:pt x="158" y="1040"/>
                    </a:lnTo>
                    <a:lnTo>
                      <a:pt x="162" y="1040"/>
                    </a:lnTo>
                    <a:lnTo>
                      <a:pt x="162" y="1036"/>
                    </a:lnTo>
                    <a:lnTo>
                      <a:pt x="164" y="1038"/>
                    </a:lnTo>
                    <a:lnTo>
                      <a:pt x="166" y="1038"/>
                    </a:lnTo>
                    <a:lnTo>
                      <a:pt x="168" y="1040"/>
                    </a:lnTo>
                    <a:lnTo>
                      <a:pt x="170" y="1040"/>
                    </a:lnTo>
                    <a:lnTo>
                      <a:pt x="172" y="1042"/>
                    </a:lnTo>
                    <a:lnTo>
                      <a:pt x="176" y="1042"/>
                    </a:lnTo>
                    <a:lnTo>
                      <a:pt x="180" y="1044"/>
                    </a:lnTo>
                    <a:lnTo>
                      <a:pt x="182" y="1044"/>
                    </a:lnTo>
                    <a:lnTo>
                      <a:pt x="186" y="1046"/>
                    </a:lnTo>
                    <a:lnTo>
                      <a:pt x="190" y="1048"/>
                    </a:lnTo>
                    <a:lnTo>
                      <a:pt x="192" y="1048"/>
                    </a:lnTo>
                    <a:lnTo>
                      <a:pt x="190" y="1050"/>
                    </a:lnTo>
                    <a:lnTo>
                      <a:pt x="192" y="1056"/>
                    </a:lnTo>
                    <a:lnTo>
                      <a:pt x="190" y="1060"/>
                    </a:lnTo>
                    <a:lnTo>
                      <a:pt x="186" y="1060"/>
                    </a:lnTo>
                    <a:lnTo>
                      <a:pt x="186" y="1062"/>
                    </a:lnTo>
                    <a:lnTo>
                      <a:pt x="188" y="1064"/>
                    </a:lnTo>
                    <a:lnTo>
                      <a:pt x="190" y="1064"/>
                    </a:lnTo>
                    <a:lnTo>
                      <a:pt x="186" y="1066"/>
                    </a:lnTo>
                    <a:lnTo>
                      <a:pt x="184" y="1068"/>
                    </a:lnTo>
                    <a:lnTo>
                      <a:pt x="184" y="1070"/>
                    </a:lnTo>
                    <a:lnTo>
                      <a:pt x="186" y="1072"/>
                    </a:lnTo>
                    <a:lnTo>
                      <a:pt x="186" y="1074"/>
                    </a:lnTo>
                    <a:lnTo>
                      <a:pt x="186" y="1076"/>
                    </a:lnTo>
                    <a:lnTo>
                      <a:pt x="188" y="1078"/>
                    </a:lnTo>
                    <a:lnTo>
                      <a:pt x="186" y="1088"/>
                    </a:lnTo>
                    <a:lnTo>
                      <a:pt x="184" y="1088"/>
                    </a:lnTo>
                    <a:lnTo>
                      <a:pt x="178" y="1088"/>
                    </a:lnTo>
                    <a:lnTo>
                      <a:pt x="176" y="1088"/>
                    </a:lnTo>
                    <a:lnTo>
                      <a:pt x="172" y="1086"/>
                    </a:lnTo>
                    <a:lnTo>
                      <a:pt x="168" y="1092"/>
                    </a:lnTo>
                    <a:lnTo>
                      <a:pt x="164" y="1094"/>
                    </a:lnTo>
                    <a:lnTo>
                      <a:pt x="162" y="1098"/>
                    </a:lnTo>
                    <a:lnTo>
                      <a:pt x="162" y="1104"/>
                    </a:lnTo>
                    <a:lnTo>
                      <a:pt x="166" y="1102"/>
                    </a:lnTo>
                    <a:lnTo>
                      <a:pt x="170" y="1102"/>
                    </a:lnTo>
                    <a:lnTo>
                      <a:pt x="172" y="1102"/>
                    </a:lnTo>
                    <a:lnTo>
                      <a:pt x="174" y="1100"/>
                    </a:lnTo>
                    <a:lnTo>
                      <a:pt x="176" y="1102"/>
                    </a:lnTo>
                    <a:lnTo>
                      <a:pt x="178" y="1104"/>
                    </a:lnTo>
                    <a:lnTo>
                      <a:pt x="180" y="1104"/>
                    </a:lnTo>
                    <a:lnTo>
                      <a:pt x="180" y="1106"/>
                    </a:lnTo>
                    <a:lnTo>
                      <a:pt x="176" y="1106"/>
                    </a:lnTo>
                    <a:lnTo>
                      <a:pt x="166" y="1110"/>
                    </a:lnTo>
                    <a:lnTo>
                      <a:pt x="166" y="1112"/>
                    </a:lnTo>
                    <a:lnTo>
                      <a:pt x="168" y="1114"/>
                    </a:lnTo>
                    <a:lnTo>
                      <a:pt x="166" y="1114"/>
                    </a:lnTo>
                    <a:lnTo>
                      <a:pt x="164" y="1112"/>
                    </a:lnTo>
                    <a:lnTo>
                      <a:pt x="156" y="1114"/>
                    </a:lnTo>
                    <a:lnTo>
                      <a:pt x="156" y="1116"/>
                    </a:lnTo>
                    <a:lnTo>
                      <a:pt x="158" y="1118"/>
                    </a:lnTo>
                    <a:lnTo>
                      <a:pt x="162" y="1120"/>
                    </a:lnTo>
                    <a:lnTo>
                      <a:pt x="166" y="1126"/>
                    </a:lnTo>
                    <a:lnTo>
                      <a:pt x="162" y="1126"/>
                    </a:lnTo>
                    <a:lnTo>
                      <a:pt x="160" y="1128"/>
                    </a:lnTo>
                    <a:lnTo>
                      <a:pt x="158" y="1128"/>
                    </a:lnTo>
                    <a:lnTo>
                      <a:pt x="150" y="1142"/>
                    </a:lnTo>
                    <a:lnTo>
                      <a:pt x="142" y="1142"/>
                    </a:lnTo>
                    <a:lnTo>
                      <a:pt x="142" y="1144"/>
                    </a:lnTo>
                    <a:lnTo>
                      <a:pt x="138" y="1146"/>
                    </a:lnTo>
                    <a:lnTo>
                      <a:pt x="146" y="1150"/>
                    </a:lnTo>
                    <a:lnTo>
                      <a:pt x="148" y="1154"/>
                    </a:lnTo>
                    <a:lnTo>
                      <a:pt x="150" y="1156"/>
                    </a:lnTo>
                    <a:lnTo>
                      <a:pt x="152" y="1156"/>
                    </a:lnTo>
                    <a:lnTo>
                      <a:pt x="154" y="1156"/>
                    </a:lnTo>
                    <a:lnTo>
                      <a:pt x="178" y="1172"/>
                    </a:lnTo>
                    <a:lnTo>
                      <a:pt x="182" y="1178"/>
                    </a:lnTo>
                    <a:lnTo>
                      <a:pt x="184" y="1178"/>
                    </a:lnTo>
                    <a:lnTo>
                      <a:pt x="188" y="1180"/>
                    </a:lnTo>
                    <a:lnTo>
                      <a:pt x="194" y="1180"/>
                    </a:lnTo>
                    <a:lnTo>
                      <a:pt x="196" y="1180"/>
                    </a:lnTo>
                    <a:lnTo>
                      <a:pt x="198" y="1180"/>
                    </a:lnTo>
                    <a:lnTo>
                      <a:pt x="202" y="1182"/>
                    </a:lnTo>
                    <a:lnTo>
                      <a:pt x="204" y="1182"/>
                    </a:lnTo>
                    <a:lnTo>
                      <a:pt x="214" y="1186"/>
                    </a:lnTo>
                    <a:lnTo>
                      <a:pt x="224" y="1186"/>
                    </a:lnTo>
                    <a:lnTo>
                      <a:pt x="228" y="1188"/>
                    </a:lnTo>
                    <a:lnTo>
                      <a:pt x="232" y="1188"/>
                    </a:lnTo>
                    <a:lnTo>
                      <a:pt x="246" y="1196"/>
                    </a:lnTo>
                    <a:lnTo>
                      <a:pt x="246" y="1198"/>
                    </a:lnTo>
                    <a:lnTo>
                      <a:pt x="248" y="1198"/>
                    </a:lnTo>
                    <a:lnTo>
                      <a:pt x="256" y="1196"/>
                    </a:lnTo>
                    <a:lnTo>
                      <a:pt x="258" y="1196"/>
                    </a:lnTo>
                    <a:lnTo>
                      <a:pt x="260" y="1196"/>
                    </a:lnTo>
                    <a:lnTo>
                      <a:pt x="262" y="1196"/>
                    </a:lnTo>
                    <a:lnTo>
                      <a:pt x="266" y="1196"/>
                    </a:lnTo>
                    <a:lnTo>
                      <a:pt x="268" y="1198"/>
                    </a:lnTo>
                    <a:lnTo>
                      <a:pt x="270" y="1200"/>
                    </a:lnTo>
                    <a:lnTo>
                      <a:pt x="272" y="1200"/>
                    </a:lnTo>
                    <a:lnTo>
                      <a:pt x="274" y="1200"/>
                    </a:lnTo>
                    <a:lnTo>
                      <a:pt x="274" y="1202"/>
                    </a:lnTo>
                    <a:lnTo>
                      <a:pt x="274" y="1206"/>
                    </a:lnTo>
                    <a:lnTo>
                      <a:pt x="278" y="1210"/>
                    </a:lnTo>
                    <a:lnTo>
                      <a:pt x="282" y="1210"/>
                    </a:lnTo>
                    <a:lnTo>
                      <a:pt x="286" y="1214"/>
                    </a:lnTo>
                    <a:lnTo>
                      <a:pt x="290" y="1214"/>
                    </a:lnTo>
                    <a:lnTo>
                      <a:pt x="292" y="1218"/>
                    </a:lnTo>
                    <a:lnTo>
                      <a:pt x="294" y="1220"/>
                    </a:lnTo>
                    <a:lnTo>
                      <a:pt x="296" y="1220"/>
                    </a:lnTo>
                    <a:lnTo>
                      <a:pt x="298" y="1226"/>
                    </a:lnTo>
                    <a:lnTo>
                      <a:pt x="304" y="1226"/>
                    </a:lnTo>
                    <a:lnTo>
                      <a:pt x="306" y="1226"/>
                    </a:lnTo>
                    <a:lnTo>
                      <a:pt x="308" y="1224"/>
                    </a:lnTo>
                    <a:lnTo>
                      <a:pt x="310" y="1220"/>
                    </a:lnTo>
                    <a:lnTo>
                      <a:pt x="314" y="1218"/>
                    </a:lnTo>
                    <a:lnTo>
                      <a:pt x="316" y="1214"/>
                    </a:lnTo>
                    <a:lnTo>
                      <a:pt x="314" y="1212"/>
                    </a:lnTo>
                    <a:lnTo>
                      <a:pt x="302" y="1190"/>
                    </a:lnTo>
                    <a:lnTo>
                      <a:pt x="302" y="1184"/>
                    </a:lnTo>
                    <a:lnTo>
                      <a:pt x="304" y="1176"/>
                    </a:lnTo>
                    <a:lnTo>
                      <a:pt x="302" y="1172"/>
                    </a:lnTo>
                    <a:lnTo>
                      <a:pt x="300" y="1178"/>
                    </a:lnTo>
                    <a:lnTo>
                      <a:pt x="300" y="1176"/>
                    </a:lnTo>
                    <a:lnTo>
                      <a:pt x="298" y="1172"/>
                    </a:lnTo>
                    <a:lnTo>
                      <a:pt x="292" y="1162"/>
                    </a:lnTo>
                    <a:lnTo>
                      <a:pt x="290" y="1162"/>
                    </a:lnTo>
                    <a:lnTo>
                      <a:pt x="288" y="1158"/>
                    </a:lnTo>
                    <a:lnTo>
                      <a:pt x="292" y="1154"/>
                    </a:lnTo>
                    <a:lnTo>
                      <a:pt x="292" y="1152"/>
                    </a:lnTo>
                    <a:lnTo>
                      <a:pt x="294" y="1148"/>
                    </a:lnTo>
                    <a:lnTo>
                      <a:pt x="296" y="1146"/>
                    </a:lnTo>
                    <a:lnTo>
                      <a:pt x="298" y="1144"/>
                    </a:lnTo>
                    <a:lnTo>
                      <a:pt x="300" y="1134"/>
                    </a:lnTo>
                    <a:lnTo>
                      <a:pt x="302" y="1134"/>
                    </a:lnTo>
                    <a:lnTo>
                      <a:pt x="304" y="1126"/>
                    </a:lnTo>
                    <a:lnTo>
                      <a:pt x="300" y="1122"/>
                    </a:lnTo>
                    <a:lnTo>
                      <a:pt x="306" y="1122"/>
                    </a:lnTo>
                    <a:lnTo>
                      <a:pt x="306" y="1124"/>
                    </a:lnTo>
                    <a:lnTo>
                      <a:pt x="310" y="1132"/>
                    </a:lnTo>
                    <a:lnTo>
                      <a:pt x="312" y="1132"/>
                    </a:lnTo>
                    <a:lnTo>
                      <a:pt x="314" y="1130"/>
                    </a:lnTo>
                    <a:lnTo>
                      <a:pt x="318" y="1122"/>
                    </a:lnTo>
                    <a:lnTo>
                      <a:pt x="320" y="1122"/>
                    </a:lnTo>
                    <a:lnTo>
                      <a:pt x="318" y="1122"/>
                    </a:lnTo>
                    <a:lnTo>
                      <a:pt x="316" y="1120"/>
                    </a:lnTo>
                    <a:lnTo>
                      <a:pt x="314" y="1118"/>
                    </a:lnTo>
                    <a:lnTo>
                      <a:pt x="312" y="1118"/>
                    </a:lnTo>
                    <a:lnTo>
                      <a:pt x="310" y="1118"/>
                    </a:lnTo>
                    <a:lnTo>
                      <a:pt x="310" y="1116"/>
                    </a:lnTo>
                    <a:lnTo>
                      <a:pt x="312" y="1114"/>
                    </a:lnTo>
                    <a:lnTo>
                      <a:pt x="312" y="1112"/>
                    </a:lnTo>
                    <a:lnTo>
                      <a:pt x="314" y="1112"/>
                    </a:lnTo>
                    <a:lnTo>
                      <a:pt x="316" y="1114"/>
                    </a:lnTo>
                    <a:lnTo>
                      <a:pt x="320" y="1112"/>
                    </a:lnTo>
                    <a:lnTo>
                      <a:pt x="318" y="1096"/>
                    </a:lnTo>
                    <a:lnTo>
                      <a:pt x="314" y="1096"/>
                    </a:lnTo>
                    <a:lnTo>
                      <a:pt x="312" y="1090"/>
                    </a:lnTo>
                    <a:lnTo>
                      <a:pt x="310" y="1088"/>
                    </a:lnTo>
                    <a:lnTo>
                      <a:pt x="304" y="1090"/>
                    </a:lnTo>
                    <a:lnTo>
                      <a:pt x="300" y="1088"/>
                    </a:lnTo>
                    <a:lnTo>
                      <a:pt x="300" y="1090"/>
                    </a:lnTo>
                    <a:lnTo>
                      <a:pt x="296" y="1088"/>
                    </a:lnTo>
                    <a:lnTo>
                      <a:pt x="296" y="1086"/>
                    </a:lnTo>
                    <a:lnTo>
                      <a:pt x="294" y="1084"/>
                    </a:lnTo>
                    <a:lnTo>
                      <a:pt x="296" y="1082"/>
                    </a:lnTo>
                    <a:lnTo>
                      <a:pt x="294" y="1080"/>
                    </a:lnTo>
                    <a:lnTo>
                      <a:pt x="294" y="1078"/>
                    </a:lnTo>
                    <a:lnTo>
                      <a:pt x="286" y="1074"/>
                    </a:lnTo>
                    <a:lnTo>
                      <a:pt x="290" y="1062"/>
                    </a:lnTo>
                    <a:lnTo>
                      <a:pt x="294" y="1060"/>
                    </a:lnTo>
                    <a:lnTo>
                      <a:pt x="294" y="1058"/>
                    </a:lnTo>
                    <a:lnTo>
                      <a:pt x="294" y="1056"/>
                    </a:lnTo>
                    <a:lnTo>
                      <a:pt x="290" y="1054"/>
                    </a:lnTo>
                    <a:lnTo>
                      <a:pt x="294" y="1042"/>
                    </a:lnTo>
                    <a:lnTo>
                      <a:pt x="298" y="1040"/>
                    </a:lnTo>
                    <a:lnTo>
                      <a:pt x="298" y="1038"/>
                    </a:lnTo>
                    <a:lnTo>
                      <a:pt x="298" y="1036"/>
                    </a:lnTo>
                    <a:lnTo>
                      <a:pt x="300" y="1034"/>
                    </a:lnTo>
                    <a:lnTo>
                      <a:pt x="300" y="1030"/>
                    </a:lnTo>
                    <a:lnTo>
                      <a:pt x="300" y="1028"/>
                    </a:lnTo>
                    <a:lnTo>
                      <a:pt x="302" y="1028"/>
                    </a:lnTo>
                    <a:lnTo>
                      <a:pt x="304" y="1028"/>
                    </a:lnTo>
                    <a:lnTo>
                      <a:pt x="304" y="1030"/>
                    </a:lnTo>
                    <a:lnTo>
                      <a:pt x="308" y="1034"/>
                    </a:lnTo>
                    <a:lnTo>
                      <a:pt x="312" y="1044"/>
                    </a:lnTo>
                    <a:lnTo>
                      <a:pt x="314" y="1044"/>
                    </a:lnTo>
                    <a:lnTo>
                      <a:pt x="322" y="1038"/>
                    </a:lnTo>
                    <a:lnTo>
                      <a:pt x="316" y="1024"/>
                    </a:lnTo>
                    <a:lnTo>
                      <a:pt x="320" y="1024"/>
                    </a:lnTo>
                    <a:lnTo>
                      <a:pt x="328" y="1018"/>
                    </a:lnTo>
                    <a:lnTo>
                      <a:pt x="330" y="1018"/>
                    </a:lnTo>
                    <a:lnTo>
                      <a:pt x="330" y="1012"/>
                    </a:lnTo>
                    <a:lnTo>
                      <a:pt x="332" y="1012"/>
                    </a:lnTo>
                    <a:lnTo>
                      <a:pt x="334" y="1012"/>
                    </a:lnTo>
                    <a:lnTo>
                      <a:pt x="336" y="1012"/>
                    </a:lnTo>
                    <a:lnTo>
                      <a:pt x="338" y="1010"/>
                    </a:lnTo>
                    <a:lnTo>
                      <a:pt x="342" y="1008"/>
                    </a:lnTo>
                    <a:lnTo>
                      <a:pt x="344" y="1006"/>
                    </a:lnTo>
                    <a:lnTo>
                      <a:pt x="346" y="1004"/>
                    </a:lnTo>
                    <a:lnTo>
                      <a:pt x="346" y="1002"/>
                    </a:lnTo>
                    <a:lnTo>
                      <a:pt x="348" y="1000"/>
                    </a:lnTo>
                    <a:lnTo>
                      <a:pt x="352" y="998"/>
                    </a:lnTo>
                    <a:lnTo>
                      <a:pt x="358" y="998"/>
                    </a:lnTo>
                    <a:lnTo>
                      <a:pt x="358" y="1004"/>
                    </a:lnTo>
                    <a:lnTo>
                      <a:pt x="362" y="1002"/>
                    </a:lnTo>
                    <a:lnTo>
                      <a:pt x="364" y="1004"/>
                    </a:lnTo>
                    <a:lnTo>
                      <a:pt x="366" y="1002"/>
                    </a:lnTo>
                    <a:lnTo>
                      <a:pt x="366" y="1000"/>
                    </a:lnTo>
                    <a:lnTo>
                      <a:pt x="368" y="998"/>
                    </a:lnTo>
                    <a:lnTo>
                      <a:pt x="370" y="998"/>
                    </a:lnTo>
                    <a:lnTo>
                      <a:pt x="372" y="998"/>
                    </a:lnTo>
                    <a:lnTo>
                      <a:pt x="374" y="998"/>
                    </a:lnTo>
                    <a:lnTo>
                      <a:pt x="376" y="1002"/>
                    </a:lnTo>
                    <a:lnTo>
                      <a:pt x="376" y="1004"/>
                    </a:lnTo>
                    <a:lnTo>
                      <a:pt x="382" y="1002"/>
                    </a:lnTo>
                    <a:lnTo>
                      <a:pt x="384" y="1002"/>
                    </a:lnTo>
                    <a:lnTo>
                      <a:pt x="388" y="1002"/>
                    </a:lnTo>
                    <a:lnTo>
                      <a:pt x="390" y="1002"/>
                    </a:lnTo>
                    <a:lnTo>
                      <a:pt x="394" y="1004"/>
                    </a:lnTo>
                    <a:lnTo>
                      <a:pt x="394" y="1008"/>
                    </a:lnTo>
                    <a:lnTo>
                      <a:pt x="400" y="1012"/>
                    </a:lnTo>
                    <a:lnTo>
                      <a:pt x="402" y="1014"/>
                    </a:lnTo>
                    <a:lnTo>
                      <a:pt x="402" y="1016"/>
                    </a:lnTo>
                    <a:lnTo>
                      <a:pt x="406" y="1020"/>
                    </a:lnTo>
                    <a:lnTo>
                      <a:pt x="406" y="1024"/>
                    </a:lnTo>
                    <a:lnTo>
                      <a:pt x="406" y="1026"/>
                    </a:lnTo>
                    <a:lnTo>
                      <a:pt x="408" y="1024"/>
                    </a:lnTo>
                    <a:lnTo>
                      <a:pt x="408" y="1018"/>
                    </a:lnTo>
                    <a:lnTo>
                      <a:pt x="408" y="1016"/>
                    </a:lnTo>
                    <a:lnTo>
                      <a:pt x="408" y="1014"/>
                    </a:lnTo>
                    <a:lnTo>
                      <a:pt x="412" y="1014"/>
                    </a:lnTo>
                    <a:lnTo>
                      <a:pt x="412" y="1016"/>
                    </a:lnTo>
                    <a:lnTo>
                      <a:pt x="414" y="1018"/>
                    </a:lnTo>
                    <a:lnTo>
                      <a:pt x="414" y="1020"/>
                    </a:lnTo>
                    <a:lnTo>
                      <a:pt x="416" y="1022"/>
                    </a:lnTo>
                    <a:lnTo>
                      <a:pt x="424" y="1026"/>
                    </a:lnTo>
                    <a:lnTo>
                      <a:pt x="426" y="1024"/>
                    </a:lnTo>
                    <a:lnTo>
                      <a:pt x="432" y="1020"/>
                    </a:lnTo>
                    <a:lnTo>
                      <a:pt x="432" y="1018"/>
                    </a:lnTo>
                    <a:lnTo>
                      <a:pt x="434" y="1018"/>
                    </a:lnTo>
                    <a:lnTo>
                      <a:pt x="436" y="1016"/>
                    </a:lnTo>
                    <a:lnTo>
                      <a:pt x="438" y="1016"/>
                    </a:lnTo>
                    <a:lnTo>
                      <a:pt x="440" y="1016"/>
                    </a:lnTo>
                    <a:lnTo>
                      <a:pt x="440" y="1014"/>
                    </a:lnTo>
                    <a:lnTo>
                      <a:pt x="444" y="1014"/>
                    </a:lnTo>
                    <a:lnTo>
                      <a:pt x="446" y="1014"/>
                    </a:lnTo>
                    <a:lnTo>
                      <a:pt x="450" y="1018"/>
                    </a:lnTo>
                    <a:lnTo>
                      <a:pt x="454" y="1016"/>
                    </a:lnTo>
                    <a:lnTo>
                      <a:pt x="456" y="1014"/>
                    </a:lnTo>
                    <a:lnTo>
                      <a:pt x="460" y="1014"/>
                    </a:lnTo>
                    <a:lnTo>
                      <a:pt x="462" y="1012"/>
                    </a:lnTo>
                    <a:lnTo>
                      <a:pt x="466" y="1014"/>
                    </a:lnTo>
                    <a:lnTo>
                      <a:pt x="468" y="1016"/>
                    </a:lnTo>
                    <a:lnTo>
                      <a:pt x="468" y="1020"/>
                    </a:lnTo>
                    <a:lnTo>
                      <a:pt x="470" y="1024"/>
                    </a:lnTo>
                    <a:lnTo>
                      <a:pt x="476" y="1024"/>
                    </a:lnTo>
                    <a:lnTo>
                      <a:pt x="480" y="1024"/>
                    </a:lnTo>
                    <a:lnTo>
                      <a:pt x="480" y="1026"/>
                    </a:lnTo>
                    <a:lnTo>
                      <a:pt x="484" y="1026"/>
                    </a:lnTo>
                    <a:lnTo>
                      <a:pt x="486" y="1026"/>
                    </a:lnTo>
                    <a:lnTo>
                      <a:pt x="490" y="1020"/>
                    </a:lnTo>
                    <a:lnTo>
                      <a:pt x="492" y="1020"/>
                    </a:lnTo>
                    <a:lnTo>
                      <a:pt x="494" y="1024"/>
                    </a:lnTo>
                    <a:lnTo>
                      <a:pt x="504" y="1024"/>
                    </a:lnTo>
                    <a:lnTo>
                      <a:pt x="506" y="1022"/>
                    </a:lnTo>
                    <a:lnTo>
                      <a:pt x="510" y="1020"/>
                    </a:lnTo>
                    <a:lnTo>
                      <a:pt x="514" y="1008"/>
                    </a:lnTo>
                    <a:lnTo>
                      <a:pt x="512" y="1006"/>
                    </a:lnTo>
                    <a:lnTo>
                      <a:pt x="504" y="1004"/>
                    </a:lnTo>
                    <a:lnTo>
                      <a:pt x="500" y="1002"/>
                    </a:lnTo>
                    <a:lnTo>
                      <a:pt x="494" y="1000"/>
                    </a:lnTo>
                    <a:lnTo>
                      <a:pt x="494" y="998"/>
                    </a:lnTo>
                    <a:lnTo>
                      <a:pt x="494" y="996"/>
                    </a:lnTo>
                    <a:lnTo>
                      <a:pt x="488" y="994"/>
                    </a:lnTo>
                    <a:lnTo>
                      <a:pt x="488" y="992"/>
                    </a:lnTo>
                    <a:lnTo>
                      <a:pt x="492" y="992"/>
                    </a:lnTo>
                    <a:lnTo>
                      <a:pt x="494" y="988"/>
                    </a:lnTo>
                    <a:lnTo>
                      <a:pt x="502" y="984"/>
                    </a:lnTo>
                    <a:lnTo>
                      <a:pt x="504" y="982"/>
                    </a:lnTo>
                    <a:lnTo>
                      <a:pt x="504" y="980"/>
                    </a:lnTo>
                    <a:lnTo>
                      <a:pt x="498" y="974"/>
                    </a:lnTo>
                    <a:lnTo>
                      <a:pt x="500" y="972"/>
                    </a:lnTo>
                    <a:lnTo>
                      <a:pt x="502" y="970"/>
                    </a:lnTo>
                    <a:lnTo>
                      <a:pt x="504" y="969"/>
                    </a:lnTo>
                    <a:lnTo>
                      <a:pt x="508" y="967"/>
                    </a:lnTo>
                    <a:lnTo>
                      <a:pt x="510" y="969"/>
                    </a:lnTo>
                    <a:lnTo>
                      <a:pt x="512" y="967"/>
                    </a:lnTo>
                    <a:lnTo>
                      <a:pt x="514" y="969"/>
                    </a:lnTo>
                    <a:lnTo>
                      <a:pt x="518" y="969"/>
                    </a:lnTo>
                    <a:lnTo>
                      <a:pt x="520" y="967"/>
                    </a:lnTo>
                    <a:lnTo>
                      <a:pt x="522" y="965"/>
                    </a:lnTo>
                    <a:lnTo>
                      <a:pt x="520" y="963"/>
                    </a:lnTo>
                    <a:lnTo>
                      <a:pt x="516" y="961"/>
                    </a:lnTo>
                    <a:lnTo>
                      <a:pt x="508" y="961"/>
                    </a:lnTo>
                    <a:lnTo>
                      <a:pt x="506" y="959"/>
                    </a:lnTo>
                    <a:lnTo>
                      <a:pt x="506" y="957"/>
                    </a:lnTo>
                    <a:lnTo>
                      <a:pt x="508" y="957"/>
                    </a:lnTo>
                    <a:lnTo>
                      <a:pt x="510" y="955"/>
                    </a:lnTo>
                    <a:lnTo>
                      <a:pt x="512" y="953"/>
                    </a:lnTo>
                    <a:lnTo>
                      <a:pt x="510" y="951"/>
                    </a:lnTo>
                    <a:lnTo>
                      <a:pt x="508" y="953"/>
                    </a:lnTo>
                    <a:lnTo>
                      <a:pt x="504" y="953"/>
                    </a:lnTo>
                    <a:lnTo>
                      <a:pt x="504" y="951"/>
                    </a:lnTo>
                    <a:lnTo>
                      <a:pt x="504" y="949"/>
                    </a:lnTo>
                    <a:lnTo>
                      <a:pt x="506" y="947"/>
                    </a:lnTo>
                    <a:lnTo>
                      <a:pt x="502" y="943"/>
                    </a:lnTo>
                    <a:lnTo>
                      <a:pt x="508" y="943"/>
                    </a:lnTo>
                    <a:lnTo>
                      <a:pt x="508" y="941"/>
                    </a:lnTo>
                    <a:lnTo>
                      <a:pt x="510" y="941"/>
                    </a:lnTo>
                    <a:lnTo>
                      <a:pt x="512" y="943"/>
                    </a:lnTo>
                    <a:lnTo>
                      <a:pt x="514" y="943"/>
                    </a:lnTo>
                    <a:lnTo>
                      <a:pt x="516" y="943"/>
                    </a:lnTo>
                    <a:lnTo>
                      <a:pt x="518" y="943"/>
                    </a:lnTo>
                    <a:lnTo>
                      <a:pt x="526" y="943"/>
                    </a:lnTo>
                    <a:lnTo>
                      <a:pt x="526" y="945"/>
                    </a:lnTo>
                    <a:lnTo>
                      <a:pt x="530" y="941"/>
                    </a:lnTo>
                    <a:lnTo>
                      <a:pt x="532" y="941"/>
                    </a:lnTo>
                    <a:lnTo>
                      <a:pt x="536" y="941"/>
                    </a:lnTo>
                    <a:lnTo>
                      <a:pt x="538" y="939"/>
                    </a:lnTo>
                    <a:lnTo>
                      <a:pt x="540" y="939"/>
                    </a:lnTo>
                    <a:lnTo>
                      <a:pt x="544" y="937"/>
                    </a:lnTo>
                    <a:lnTo>
                      <a:pt x="546" y="937"/>
                    </a:lnTo>
                    <a:lnTo>
                      <a:pt x="546" y="939"/>
                    </a:lnTo>
                    <a:lnTo>
                      <a:pt x="550" y="939"/>
                    </a:lnTo>
                    <a:lnTo>
                      <a:pt x="550" y="937"/>
                    </a:lnTo>
                    <a:lnTo>
                      <a:pt x="554" y="935"/>
                    </a:lnTo>
                    <a:lnTo>
                      <a:pt x="556" y="933"/>
                    </a:lnTo>
                    <a:lnTo>
                      <a:pt x="558" y="933"/>
                    </a:lnTo>
                    <a:lnTo>
                      <a:pt x="560" y="933"/>
                    </a:lnTo>
                    <a:lnTo>
                      <a:pt x="562" y="933"/>
                    </a:lnTo>
                    <a:lnTo>
                      <a:pt x="564" y="933"/>
                    </a:lnTo>
                    <a:lnTo>
                      <a:pt x="568" y="927"/>
                    </a:lnTo>
                    <a:lnTo>
                      <a:pt x="570" y="927"/>
                    </a:lnTo>
                    <a:lnTo>
                      <a:pt x="572" y="925"/>
                    </a:lnTo>
                    <a:lnTo>
                      <a:pt x="574" y="927"/>
                    </a:lnTo>
                    <a:lnTo>
                      <a:pt x="578" y="925"/>
                    </a:lnTo>
                    <a:lnTo>
                      <a:pt x="604" y="919"/>
                    </a:lnTo>
                    <a:lnTo>
                      <a:pt x="606" y="919"/>
                    </a:lnTo>
                    <a:lnTo>
                      <a:pt x="608" y="919"/>
                    </a:lnTo>
                    <a:lnTo>
                      <a:pt x="610" y="917"/>
                    </a:lnTo>
                    <a:lnTo>
                      <a:pt x="612" y="915"/>
                    </a:lnTo>
                    <a:lnTo>
                      <a:pt x="612" y="911"/>
                    </a:lnTo>
                    <a:lnTo>
                      <a:pt x="614" y="911"/>
                    </a:lnTo>
                    <a:lnTo>
                      <a:pt x="616" y="911"/>
                    </a:lnTo>
                    <a:lnTo>
                      <a:pt x="618" y="909"/>
                    </a:lnTo>
                    <a:lnTo>
                      <a:pt x="620" y="909"/>
                    </a:lnTo>
                    <a:lnTo>
                      <a:pt x="622" y="909"/>
                    </a:lnTo>
                    <a:lnTo>
                      <a:pt x="624" y="907"/>
                    </a:lnTo>
                    <a:lnTo>
                      <a:pt x="626" y="907"/>
                    </a:lnTo>
                    <a:lnTo>
                      <a:pt x="630" y="907"/>
                    </a:lnTo>
                    <a:lnTo>
                      <a:pt x="632" y="909"/>
                    </a:lnTo>
                    <a:lnTo>
                      <a:pt x="634" y="907"/>
                    </a:lnTo>
                    <a:lnTo>
                      <a:pt x="636" y="909"/>
                    </a:lnTo>
                    <a:lnTo>
                      <a:pt x="636" y="911"/>
                    </a:lnTo>
                    <a:lnTo>
                      <a:pt x="640" y="913"/>
                    </a:lnTo>
                    <a:lnTo>
                      <a:pt x="644" y="911"/>
                    </a:lnTo>
                    <a:lnTo>
                      <a:pt x="648" y="909"/>
                    </a:lnTo>
                    <a:lnTo>
                      <a:pt x="650" y="911"/>
                    </a:lnTo>
                    <a:lnTo>
                      <a:pt x="652" y="911"/>
                    </a:lnTo>
                    <a:lnTo>
                      <a:pt x="654" y="913"/>
                    </a:lnTo>
                    <a:lnTo>
                      <a:pt x="654" y="921"/>
                    </a:lnTo>
                    <a:lnTo>
                      <a:pt x="654" y="923"/>
                    </a:lnTo>
                    <a:lnTo>
                      <a:pt x="658" y="925"/>
                    </a:lnTo>
                    <a:lnTo>
                      <a:pt x="656" y="927"/>
                    </a:lnTo>
                    <a:lnTo>
                      <a:pt x="656" y="931"/>
                    </a:lnTo>
                    <a:lnTo>
                      <a:pt x="654" y="935"/>
                    </a:lnTo>
                    <a:lnTo>
                      <a:pt x="656" y="937"/>
                    </a:lnTo>
                    <a:lnTo>
                      <a:pt x="656" y="939"/>
                    </a:lnTo>
                    <a:lnTo>
                      <a:pt x="660" y="939"/>
                    </a:lnTo>
                    <a:lnTo>
                      <a:pt x="662" y="939"/>
                    </a:lnTo>
                    <a:lnTo>
                      <a:pt x="664" y="939"/>
                    </a:lnTo>
                    <a:lnTo>
                      <a:pt x="664" y="937"/>
                    </a:lnTo>
                    <a:lnTo>
                      <a:pt x="668" y="937"/>
                    </a:lnTo>
                    <a:lnTo>
                      <a:pt x="670" y="937"/>
                    </a:lnTo>
                    <a:lnTo>
                      <a:pt x="670" y="933"/>
                    </a:lnTo>
                    <a:lnTo>
                      <a:pt x="672" y="933"/>
                    </a:lnTo>
                    <a:lnTo>
                      <a:pt x="674" y="937"/>
                    </a:lnTo>
                    <a:lnTo>
                      <a:pt x="674" y="939"/>
                    </a:lnTo>
                    <a:lnTo>
                      <a:pt x="674" y="941"/>
                    </a:lnTo>
                    <a:lnTo>
                      <a:pt x="674" y="943"/>
                    </a:lnTo>
                    <a:lnTo>
                      <a:pt x="678" y="945"/>
                    </a:lnTo>
                    <a:lnTo>
                      <a:pt x="678" y="943"/>
                    </a:lnTo>
                    <a:lnTo>
                      <a:pt x="676" y="941"/>
                    </a:lnTo>
                    <a:lnTo>
                      <a:pt x="678" y="939"/>
                    </a:lnTo>
                    <a:lnTo>
                      <a:pt x="682" y="941"/>
                    </a:lnTo>
                    <a:lnTo>
                      <a:pt x="684" y="941"/>
                    </a:lnTo>
                    <a:lnTo>
                      <a:pt x="686" y="943"/>
                    </a:lnTo>
                    <a:lnTo>
                      <a:pt x="688" y="945"/>
                    </a:lnTo>
                    <a:lnTo>
                      <a:pt x="690" y="945"/>
                    </a:lnTo>
                    <a:lnTo>
                      <a:pt x="692" y="943"/>
                    </a:lnTo>
                    <a:lnTo>
                      <a:pt x="694" y="941"/>
                    </a:lnTo>
                    <a:lnTo>
                      <a:pt x="694" y="943"/>
                    </a:lnTo>
                    <a:lnTo>
                      <a:pt x="694" y="945"/>
                    </a:lnTo>
                    <a:lnTo>
                      <a:pt x="692" y="947"/>
                    </a:lnTo>
                    <a:lnTo>
                      <a:pt x="690" y="947"/>
                    </a:lnTo>
                    <a:lnTo>
                      <a:pt x="688" y="949"/>
                    </a:lnTo>
                    <a:lnTo>
                      <a:pt x="688" y="951"/>
                    </a:lnTo>
                    <a:lnTo>
                      <a:pt x="688" y="955"/>
                    </a:lnTo>
                    <a:lnTo>
                      <a:pt x="690" y="955"/>
                    </a:lnTo>
                    <a:lnTo>
                      <a:pt x="692" y="955"/>
                    </a:lnTo>
                    <a:lnTo>
                      <a:pt x="692" y="953"/>
                    </a:lnTo>
                    <a:lnTo>
                      <a:pt x="696" y="953"/>
                    </a:lnTo>
                    <a:lnTo>
                      <a:pt x="698" y="953"/>
                    </a:lnTo>
                    <a:lnTo>
                      <a:pt x="702" y="953"/>
                    </a:lnTo>
                    <a:lnTo>
                      <a:pt x="702" y="955"/>
                    </a:lnTo>
                    <a:lnTo>
                      <a:pt x="704" y="955"/>
                    </a:lnTo>
                    <a:lnTo>
                      <a:pt x="704" y="953"/>
                    </a:lnTo>
                    <a:lnTo>
                      <a:pt x="706" y="951"/>
                    </a:lnTo>
                    <a:lnTo>
                      <a:pt x="708" y="951"/>
                    </a:lnTo>
                    <a:lnTo>
                      <a:pt x="710" y="947"/>
                    </a:lnTo>
                    <a:lnTo>
                      <a:pt x="716" y="947"/>
                    </a:lnTo>
                    <a:lnTo>
                      <a:pt x="718" y="943"/>
                    </a:lnTo>
                    <a:lnTo>
                      <a:pt x="720" y="939"/>
                    </a:lnTo>
                    <a:lnTo>
                      <a:pt x="722" y="939"/>
                    </a:lnTo>
                    <a:lnTo>
                      <a:pt x="724" y="939"/>
                    </a:lnTo>
                    <a:lnTo>
                      <a:pt x="730" y="937"/>
                    </a:lnTo>
                    <a:lnTo>
                      <a:pt x="732" y="935"/>
                    </a:lnTo>
                    <a:lnTo>
                      <a:pt x="736" y="935"/>
                    </a:lnTo>
                    <a:lnTo>
                      <a:pt x="740" y="933"/>
                    </a:lnTo>
                    <a:lnTo>
                      <a:pt x="740" y="935"/>
                    </a:lnTo>
                    <a:lnTo>
                      <a:pt x="740" y="937"/>
                    </a:lnTo>
                    <a:lnTo>
                      <a:pt x="740" y="939"/>
                    </a:lnTo>
                    <a:lnTo>
                      <a:pt x="738" y="939"/>
                    </a:lnTo>
                    <a:lnTo>
                      <a:pt x="736" y="939"/>
                    </a:lnTo>
                    <a:lnTo>
                      <a:pt x="734" y="941"/>
                    </a:lnTo>
                    <a:lnTo>
                      <a:pt x="736" y="943"/>
                    </a:lnTo>
                    <a:lnTo>
                      <a:pt x="738" y="943"/>
                    </a:lnTo>
                    <a:lnTo>
                      <a:pt x="756" y="961"/>
                    </a:lnTo>
                    <a:lnTo>
                      <a:pt x="790" y="1020"/>
                    </a:lnTo>
                    <a:lnTo>
                      <a:pt x="794" y="1018"/>
                    </a:lnTo>
                    <a:lnTo>
                      <a:pt x="794" y="1016"/>
                    </a:lnTo>
                    <a:lnTo>
                      <a:pt x="794" y="1014"/>
                    </a:lnTo>
                    <a:lnTo>
                      <a:pt x="795" y="1010"/>
                    </a:lnTo>
                    <a:lnTo>
                      <a:pt x="799" y="1010"/>
                    </a:lnTo>
                    <a:lnTo>
                      <a:pt x="799" y="1012"/>
                    </a:lnTo>
                    <a:lnTo>
                      <a:pt x="801" y="1012"/>
                    </a:lnTo>
                    <a:lnTo>
                      <a:pt x="805" y="1014"/>
                    </a:lnTo>
                    <a:lnTo>
                      <a:pt x="805" y="1016"/>
                    </a:lnTo>
                    <a:lnTo>
                      <a:pt x="805" y="1018"/>
                    </a:lnTo>
                    <a:lnTo>
                      <a:pt x="807" y="1018"/>
                    </a:lnTo>
                    <a:lnTo>
                      <a:pt x="809" y="1022"/>
                    </a:lnTo>
                    <a:lnTo>
                      <a:pt x="815" y="1022"/>
                    </a:lnTo>
                    <a:lnTo>
                      <a:pt x="819" y="1022"/>
                    </a:lnTo>
                    <a:lnTo>
                      <a:pt x="821" y="1022"/>
                    </a:lnTo>
                    <a:lnTo>
                      <a:pt x="827" y="1022"/>
                    </a:lnTo>
                    <a:lnTo>
                      <a:pt x="827" y="1020"/>
                    </a:lnTo>
                    <a:lnTo>
                      <a:pt x="829" y="1018"/>
                    </a:lnTo>
                    <a:lnTo>
                      <a:pt x="831" y="1018"/>
                    </a:lnTo>
                    <a:lnTo>
                      <a:pt x="833" y="1018"/>
                    </a:lnTo>
                    <a:lnTo>
                      <a:pt x="833" y="1016"/>
                    </a:lnTo>
                    <a:lnTo>
                      <a:pt x="835" y="1016"/>
                    </a:lnTo>
                    <a:lnTo>
                      <a:pt x="839" y="1016"/>
                    </a:lnTo>
                    <a:lnTo>
                      <a:pt x="841" y="1018"/>
                    </a:lnTo>
                    <a:lnTo>
                      <a:pt x="843" y="1020"/>
                    </a:lnTo>
                    <a:lnTo>
                      <a:pt x="845" y="1020"/>
                    </a:lnTo>
                    <a:lnTo>
                      <a:pt x="847" y="1024"/>
                    </a:lnTo>
                    <a:lnTo>
                      <a:pt x="849" y="1024"/>
                    </a:lnTo>
                    <a:lnTo>
                      <a:pt x="851" y="1026"/>
                    </a:lnTo>
                    <a:lnTo>
                      <a:pt x="849" y="1030"/>
                    </a:lnTo>
                    <a:lnTo>
                      <a:pt x="851" y="1032"/>
                    </a:lnTo>
                    <a:lnTo>
                      <a:pt x="851" y="1034"/>
                    </a:lnTo>
                    <a:lnTo>
                      <a:pt x="853" y="1034"/>
                    </a:lnTo>
                    <a:lnTo>
                      <a:pt x="859" y="1036"/>
                    </a:lnTo>
                    <a:lnTo>
                      <a:pt x="861" y="1038"/>
                    </a:lnTo>
                    <a:lnTo>
                      <a:pt x="861" y="1040"/>
                    </a:lnTo>
                    <a:lnTo>
                      <a:pt x="863" y="1042"/>
                    </a:lnTo>
                    <a:lnTo>
                      <a:pt x="863" y="1044"/>
                    </a:lnTo>
                    <a:lnTo>
                      <a:pt x="865" y="1048"/>
                    </a:lnTo>
                    <a:lnTo>
                      <a:pt x="867" y="1048"/>
                    </a:lnTo>
                    <a:lnTo>
                      <a:pt x="871" y="1048"/>
                    </a:lnTo>
                    <a:lnTo>
                      <a:pt x="875" y="1050"/>
                    </a:lnTo>
                    <a:lnTo>
                      <a:pt x="881" y="1052"/>
                    </a:lnTo>
                    <a:lnTo>
                      <a:pt x="881" y="1050"/>
                    </a:lnTo>
                    <a:lnTo>
                      <a:pt x="883" y="1048"/>
                    </a:lnTo>
                    <a:lnTo>
                      <a:pt x="887" y="1046"/>
                    </a:lnTo>
                    <a:lnTo>
                      <a:pt x="887" y="1048"/>
                    </a:lnTo>
                    <a:lnTo>
                      <a:pt x="889" y="1050"/>
                    </a:lnTo>
                    <a:lnTo>
                      <a:pt x="891" y="1052"/>
                    </a:lnTo>
                    <a:lnTo>
                      <a:pt x="891" y="1056"/>
                    </a:lnTo>
                    <a:lnTo>
                      <a:pt x="893" y="1056"/>
                    </a:lnTo>
                    <a:lnTo>
                      <a:pt x="895" y="1058"/>
                    </a:lnTo>
                    <a:lnTo>
                      <a:pt x="891" y="1066"/>
                    </a:lnTo>
                    <a:lnTo>
                      <a:pt x="899" y="1068"/>
                    </a:lnTo>
                    <a:lnTo>
                      <a:pt x="903" y="1064"/>
                    </a:lnTo>
                    <a:lnTo>
                      <a:pt x="907" y="1058"/>
                    </a:lnTo>
                    <a:lnTo>
                      <a:pt x="911" y="1052"/>
                    </a:lnTo>
                    <a:lnTo>
                      <a:pt x="921" y="1048"/>
                    </a:lnTo>
                    <a:lnTo>
                      <a:pt x="947" y="1032"/>
                    </a:lnTo>
                    <a:lnTo>
                      <a:pt x="971" y="1024"/>
                    </a:lnTo>
                    <a:lnTo>
                      <a:pt x="981" y="1028"/>
                    </a:lnTo>
                    <a:lnTo>
                      <a:pt x="985" y="1030"/>
                    </a:lnTo>
                    <a:lnTo>
                      <a:pt x="995" y="1028"/>
                    </a:lnTo>
                    <a:lnTo>
                      <a:pt x="999" y="1030"/>
                    </a:lnTo>
                    <a:lnTo>
                      <a:pt x="1009" y="1040"/>
                    </a:lnTo>
                    <a:lnTo>
                      <a:pt x="1015" y="1040"/>
                    </a:lnTo>
                    <a:lnTo>
                      <a:pt x="1027" y="1038"/>
                    </a:lnTo>
                    <a:lnTo>
                      <a:pt x="1031" y="1040"/>
                    </a:lnTo>
                    <a:lnTo>
                      <a:pt x="1053" y="1040"/>
                    </a:lnTo>
                    <a:lnTo>
                      <a:pt x="1057" y="1038"/>
                    </a:lnTo>
                    <a:lnTo>
                      <a:pt x="1055" y="1032"/>
                    </a:lnTo>
                    <a:lnTo>
                      <a:pt x="1055" y="1028"/>
                    </a:lnTo>
                    <a:lnTo>
                      <a:pt x="1059" y="1024"/>
                    </a:lnTo>
                    <a:lnTo>
                      <a:pt x="1059" y="1020"/>
                    </a:lnTo>
                    <a:lnTo>
                      <a:pt x="1055" y="1016"/>
                    </a:lnTo>
                    <a:lnTo>
                      <a:pt x="1055" y="1010"/>
                    </a:lnTo>
                    <a:lnTo>
                      <a:pt x="1055" y="1006"/>
                    </a:lnTo>
                    <a:lnTo>
                      <a:pt x="1071" y="988"/>
                    </a:lnTo>
                    <a:lnTo>
                      <a:pt x="1075" y="988"/>
                    </a:lnTo>
                    <a:lnTo>
                      <a:pt x="1079" y="990"/>
                    </a:lnTo>
                    <a:lnTo>
                      <a:pt x="1085" y="994"/>
                    </a:lnTo>
                    <a:lnTo>
                      <a:pt x="1095" y="996"/>
                    </a:lnTo>
                    <a:lnTo>
                      <a:pt x="1097" y="1000"/>
                    </a:lnTo>
                    <a:lnTo>
                      <a:pt x="1115" y="1004"/>
                    </a:lnTo>
                    <a:lnTo>
                      <a:pt x="1117" y="1008"/>
                    </a:lnTo>
                    <a:lnTo>
                      <a:pt x="1119" y="1022"/>
                    </a:lnTo>
                    <a:lnTo>
                      <a:pt x="1121" y="1022"/>
                    </a:lnTo>
                    <a:lnTo>
                      <a:pt x="1131" y="1030"/>
                    </a:lnTo>
                    <a:lnTo>
                      <a:pt x="1139" y="1034"/>
                    </a:lnTo>
                    <a:lnTo>
                      <a:pt x="1147" y="1032"/>
                    </a:lnTo>
                    <a:lnTo>
                      <a:pt x="1163" y="1024"/>
                    </a:lnTo>
                    <a:lnTo>
                      <a:pt x="1183" y="1032"/>
                    </a:lnTo>
                    <a:lnTo>
                      <a:pt x="1185" y="1034"/>
                    </a:lnTo>
                    <a:lnTo>
                      <a:pt x="1187" y="1034"/>
                    </a:lnTo>
                    <a:lnTo>
                      <a:pt x="1195" y="1040"/>
                    </a:lnTo>
                    <a:lnTo>
                      <a:pt x="1205" y="1044"/>
                    </a:lnTo>
                    <a:lnTo>
                      <a:pt x="1209" y="1048"/>
                    </a:lnTo>
                    <a:lnTo>
                      <a:pt x="1217" y="1054"/>
                    </a:lnTo>
                    <a:lnTo>
                      <a:pt x="1243" y="1056"/>
                    </a:lnTo>
                    <a:lnTo>
                      <a:pt x="1249" y="1058"/>
                    </a:lnTo>
                    <a:lnTo>
                      <a:pt x="1281" y="1050"/>
                    </a:lnTo>
                    <a:lnTo>
                      <a:pt x="1297" y="1038"/>
                    </a:lnTo>
                    <a:lnTo>
                      <a:pt x="1305" y="1036"/>
                    </a:lnTo>
                    <a:lnTo>
                      <a:pt x="1311" y="1038"/>
                    </a:lnTo>
                    <a:lnTo>
                      <a:pt x="1315" y="1042"/>
                    </a:lnTo>
                    <a:lnTo>
                      <a:pt x="1321" y="1042"/>
                    </a:lnTo>
                    <a:lnTo>
                      <a:pt x="1327" y="1042"/>
                    </a:lnTo>
                    <a:lnTo>
                      <a:pt x="1329" y="1040"/>
                    </a:lnTo>
                    <a:lnTo>
                      <a:pt x="1331" y="1040"/>
                    </a:lnTo>
                    <a:lnTo>
                      <a:pt x="1353" y="1050"/>
                    </a:lnTo>
                    <a:lnTo>
                      <a:pt x="1357" y="1050"/>
                    </a:lnTo>
                    <a:lnTo>
                      <a:pt x="1375" y="1038"/>
                    </a:lnTo>
                    <a:lnTo>
                      <a:pt x="1375" y="1036"/>
                    </a:lnTo>
                    <a:lnTo>
                      <a:pt x="1375" y="1032"/>
                    </a:lnTo>
                    <a:lnTo>
                      <a:pt x="1375" y="1028"/>
                    </a:lnTo>
                    <a:lnTo>
                      <a:pt x="1379" y="1022"/>
                    </a:lnTo>
                    <a:lnTo>
                      <a:pt x="1385" y="1004"/>
                    </a:lnTo>
                    <a:lnTo>
                      <a:pt x="1389" y="1000"/>
                    </a:lnTo>
                    <a:lnTo>
                      <a:pt x="1397" y="994"/>
                    </a:lnTo>
                    <a:lnTo>
                      <a:pt x="1397" y="992"/>
                    </a:lnTo>
                    <a:lnTo>
                      <a:pt x="1395" y="990"/>
                    </a:lnTo>
                    <a:lnTo>
                      <a:pt x="1395" y="982"/>
                    </a:lnTo>
                    <a:lnTo>
                      <a:pt x="1395" y="980"/>
                    </a:lnTo>
                    <a:lnTo>
                      <a:pt x="1387" y="982"/>
                    </a:lnTo>
                    <a:lnTo>
                      <a:pt x="1385" y="980"/>
                    </a:lnTo>
                    <a:lnTo>
                      <a:pt x="1387" y="978"/>
                    </a:lnTo>
                    <a:lnTo>
                      <a:pt x="1393" y="970"/>
                    </a:lnTo>
                    <a:lnTo>
                      <a:pt x="1395" y="969"/>
                    </a:lnTo>
                    <a:lnTo>
                      <a:pt x="1399" y="965"/>
                    </a:lnTo>
                    <a:lnTo>
                      <a:pt x="1439" y="957"/>
                    </a:lnTo>
                    <a:lnTo>
                      <a:pt x="1453" y="967"/>
                    </a:lnTo>
                    <a:lnTo>
                      <a:pt x="1457" y="967"/>
                    </a:lnTo>
                    <a:lnTo>
                      <a:pt x="1463" y="967"/>
                    </a:lnTo>
                    <a:lnTo>
                      <a:pt x="1471" y="969"/>
                    </a:lnTo>
                    <a:lnTo>
                      <a:pt x="1475" y="978"/>
                    </a:lnTo>
                    <a:lnTo>
                      <a:pt x="1475" y="980"/>
                    </a:lnTo>
                    <a:lnTo>
                      <a:pt x="1481" y="984"/>
                    </a:lnTo>
                    <a:lnTo>
                      <a:pt x="1481" y="988"/>
                    </a:lnTo>
                    <a:lnTo>
                      <a:pt x="1481" y="986"/>
                    </a:lnTo>
                    <a:lnTo>
                      <a:pt x="1497" y="1036"/>
                    </a:lnTo>
                    <a:lnTo>
                      <a:pt x="1497" y="1038"/>
                    </a:lnTo>
                    <a:lnTo>
                      <a:pt x="1499" y="1048"/>
                    </a:lnTo>
                    <a:lnTo>
                      <a:pt x="1501" y="1052"/>
                    </a:lnTo>
                    <a:lnTo>
                      <a:pt x="1507" y="1052"/>
                    </a:lnTo>
                    <a:lnTo>
                      <a:pt x="1513" y="1050"/>
                    </a:lnTo>
                    <a:lnTo>
                      <a:pt x="1529" y="1054"/>
                    </a:lnTo>
                    <a:lnTo>
                      <a:pt x="1537" y="1062"/>
                    </a:lnTo>
                    <a:lnTo>
                      <a:pt x="1541" y="1064"/>
                    </a:lnTo>
                    <a:lnTo>
                      <a:pt x="1545" y="1064"/>
                    </a:lnTo>
                    <a:lnTo>
                      <a:pt x="1545" y="1068"/>
                    </a:lnTo>
                    <a:lnTo>
                      <a:pt x="1547" y="1072"/>
                    </a:lnTo>
                    <a:lnTo>
                      <a:pt x="1549" y="1074"/>
                    </a:lnTo>
                    <a:lnTo>
                      <a:pt x="1549" y="1084"/>
                    </a:lnTo>
                    <a:lnTo>
                      <a:pt x="1553" y="1092"/>
                    </a:lnTo>
                    <a:lnTo>
                      <a:pt x="1557" y="1092"/>
                    </a:lnTo>
                    <a:lnTo>
                      <a:pt x="1563" y="1094"/>
                    </a:lnTo>
                    <a:lnTo>
                      <a:pt x="1567" y="1092"/>
                    </a:lnTo>
                    <a:lnTo>
                      <a:pt x="1585" y="1082"/>
                    </a:lnTo>
                    <a:lnTo>
                      <a:pt x="1591" y="1082"/>
                    </a:lnTo>
                    <a:lnTo>
                      <a:pt x="1609" y="1074"/>
                    </a:lnTo>
                    <a:lnTo>
                      <a:pt x="1609" y="1076"/>
                    </a:lnTo>
                    <a:lnTo>
                      <a:pt x="1607" y="1080"/>
                    </a:lnTo>
                    <a:lnTo>
                      <a:pt x="1607" y="1084"/>
                    </a:lnTo>
                    <a:lnTo>
                      <a:pt x="1607" y="1090"/>
                    </a:lnTo>
                    <a:lnTo>
                      <a:pt x="1607" y="1094"/>
                    </a:lnTo>
                    <a:lnTo>
                      <a:pt x="1601" y="1100"/>
                    </a:lnTo>
                    <a:lnTo>
                      <a:pt x="1593" y="1126"/>
                    </a:lnTo>
                    <a:lnTo>
                      <a:pt x="1585" y="1142"/>
                    </a:lnTo>
                    <a:lnTo>
                      <a:pt x="1583" y="1148"/>
                    </a:lnTo>
                    <a:lnTo>
                      <a:pt x="1579" y="1150"/>
                    </a:lnTo>
                    <a:lnTo>
                      <a:pt x="1565" y="1146"/>
                    </a:lnTo>
                    <a:lnTo>
                      <a:pt x="1551" y="1158"/>
                    </a:lnTo>
                    <a:lnTo>
                      <a:pt x="1553" y="1162"/>
                    </a:lnTo>
                    <a:lnTo>
                      <a:pt x="1555" y="1184"/>
                    </a:lnTo>
                    <a:lnTo>
                      <a:pt x="1551" y="1192"/>
                    </a:lnTo>
                    <a:lnTo>
                      <a:pt x="1545" y="1196"/>
                    </a:lnTo>
                    <a:lnTo>
                      <a:pt x="1545" y="1202"/>
                    </a:lnTo>
                    <a:lnTo>
                      <a:pt x="1547" y="1204"/>
                    </a:lnTo>
                    <a:lnTo>
                      <a:pt x="1549" y="1204"/>
                    </a:lnTo>
                    <a:lnTo>
                      <a:pt x="1547" y="1202"/>
                    </a:lnTo>
                    <a:lnTo>
                      <a:pt x="1547" y="1200"/>
                    </a:lnTo>
                    <a:lnTo>
                      <a:pt x="1555" y="1200"/>
                    </a:lnTo>
                    <a:lnTo>
                      <a:pt x="1557" y="1198"/>
                    </a:lnTo>
                    <a:lnTo>
                      <a:pt x="1559" y="1196"/>
                    </a:lnTo>
                    <a:lnTo>
                      <a:pt x="1559" y="1194"/>
                    </a:lnTo>
                    <a:lnTo>
                      <a:pt x="1563" y="1190"/>
                    </a:lnTo>
                    <a:lnTo>
                      <a:pt x="1565" y="1184"/>
                    </a:lnTo>
                    <a:lnTo>
                      <a:pt x="1565" y="1186"/>
                    </a:lnTo>
                    <a:lnTo>
                      <a:pt x="1567" y="1186"/>
                    </a:lnTo>
                    <a:lnTo>
                      <a:pt x="1565" y="1190"/>
                    </a:lnTo>
                    <a:lnTo>
                      <a:pt x="1567" y="1190"/>
                    </a:lnTo>
                    <a:lnTo>
                      <a:pt x="1571" y="1188"/>
                    </a:lnTo>
                    <a:lnTo>
                      <a:pt x="1571" y="1194"/>
                    </a:lnTo>
                    <a:lnTo>
                      <a:pt x="1571" y="1196"/>
                    </a:lnTo>
                    <a:lnTo>
                      <a:pt x="1577" y="1196"/>
                    </a:lnTo>
                    <a:lnTo>
                      <a:pt x="1579" y="1198"/>
                    </a:lnTo>
                    <a:lnTo>
                      <a:pt x="1581" y="1198"/>
                    </a:lnTo>
                    <a:lnTo>
                      <a:pt x="1583" y="1198"/>
                    </a:lnTo>
                    <a:lnTo>
                      <a:pt x="1585" y="1198"/>
                    </a:lnTo>
                    <a:lnTo>
                      <a:pt x="1591" y="1196"/>
                    </a:lnTo>
                    <a:lnTo>
                      <a:pt x="1593" y="1196"/>
                    </a:lnTo>
                    <a:lnTo>
                      <a:pt x="1615" y="1180"/>
                    </a:lnTo>
                    <a:lnTo>
                      <a:pt x="1623" y="1170"/>
                    </a:lnTo>
                    <a:lnTo>
                      <a:pt x="1623" y="1168"/>
                    </a:lnTo>
                    <a:lnTo>
                      <a:pt x="1627" y="1162"/>
                    </a:lnTo>
                    <a:lnTo>
                      <a:pt x="1631" y="1162"/>
                    </a:lnTo>
                    <a:lnTo>
                      <a:pt x="1685" y="1078"/>
                    </a:lnTo>
                    <a:lnTo>
                      <a:pt x="1687" y="1078"/>
                    </a:lnTo>
                    <a:lnTo>
                      <a:pt x="1691" y="1076"/>
                    </a:lnTo>
                    <a:lnTo>
                      <a:pt x="1691" y="1066"/>
                    </a:lnTo>
                    <a:lnTo>
                      <a:pt x="1691" y="1062"/>
                    </a:lnTo>
                    <a:lnTo>
                      <a:pt x="1695" y="1054"/>
                    </a:lnTo>
                    <a:lnTo>
                      <a:pt x="1693" y="1042"/>
                    </a:lnTo>
                    <a:lnTo>
                      <a:pt x="1697" y="1040"/>
                    </a:lnTo>
                    <a:lnTo>
                      <a:pt x="1695" y="1038"/>
                    </a:lnTo>
                    <a:lnTo>
                      <a:pt x="1695" y="1036"/>
                    </a:lnTo>
                    <a:lnTo>
                      <a:pt x="1693" y="1024"/>
                    </a:lnTo>
                    <a:lnTo>
                      <a:pt x="1695" y="1020"/>
                    </a:lnTo>
                    <a:lnTo>
                      <a:pt x="1695" y="1010"/>
                    </a:lnTo>
                    <a:lnTo>
                      <a:pt x="1697" y="1010"/>
                    </a:lnTo>
                    <a:lnTo>
                      <a:pt x="1699" y="1008"/>
                    </a:lnTo>
                    <a:lnTo>
                      <a:pt x="1697" y="1006"/>
                    </a:lnTo>
                    <a:lnTo>
                      <a:pt x="1701" y="1000"/>
                    </a:lnTo>
                    <a:lnTo>
                      <a:pt x="1703" y="1000"/>
                    </a:lnTo>
                    <a:lnTo>
                      <a:pt x="1707" y="994"/>
                    </a:lnTo>
                    <a:lnTo>
                      <a:pt x="1707" y="992"/>
                    </a:lnTo>
                    <a:lnTo>
                      <a:pt x="1707" y="988"/>
                    </a:lnTo>
                    <a:lnTo>
                      <a:pt x="1703" y="982"/>
                    </a:lnTo>
                    <a:lnTo>
                      <a:pt x="1705" y="978"/>
                    </a:lnTo>
                    <a:lnTo>
                      <a:pt x="1703" y="970"/>
                    </a:lnTo>
                    <a:lnTo>
                      <a:pt x="1697" y="967"/>
                    </a:lnTo>
                    <a:lnTo>
                      <a:pt x="1695" y="967"/>
                    </a:lnTo>
                    <a:lnTo>
                      <a:pt x="1691" y="965"/>
                    </a:lnTo>
                    <a:lnTo>
                      <a:pt x="1687" y="963"/>
                    </a:lnTo>
                    <a:lnTo>
                      <a:pt x="1685" y="965"/>
                    </a:lnTo>
                    <a:lnTo>
                      <a:pt x="1687" y="963"/>
                    </a:lnTo>
                    <a:lnTo>
                      <a:pt x="1691" y="963"/>
                    </a:lnTo>
                    <a:lnTo>
                      <a:pt x="1693" y="965"/>
                    </a:lnTo>
                    <a:lnTo>
                      <a:pt x="1695" y="965"/>
                    </a:lnTo>
                    <a:lnTo>
                      <a:pt x="1699" y="965"/>
                    </a:lnTo>
                    <a:lnTo>
                      <a:pt x="1703" y="969"/>
                    </a:lnTo>
                    <a:lnTo>
                      <a:pt x="1705" y="967"/>
                    </a:lnTo>
                    <a:lnTo>
                      <a:pt x="1707" y="965"/>
                    </a:lnTo>
                    <a:lnTo>
                      <a:pt x="1707" y="961"/>
                    </a:lnTo>
                    <a:lnTo>
                      <a:pt x="1705" y="961"/>
                    </a:lnTo>
                    <a:lnTo>
                      <a:pt x="1691" y="951"/>
                    </a:lnTo>
                    <a:lnTo>
                      <a:pt x="1691" y="949"/>
                    </a:lnTo>
                    <a:lnTo>
                      <a:pt x="1691" y="945"/>
                    </a:lnTo>
                    <a:lnTo>
                      <a:pt x="1685" y="941"/>
                    </a:lnTo>
                    <a:lnTo>
                      <a:pt x="1683" y="941"/>
                    </a:lnTo>
                    <a:lnTo>
                      <a:pt x="1683" y="939"/>
                    </a:lnTo>
                    <a:lnTo>
                      <a:pt x="1683" y="937"/>
                    </a:lnTo>
                    <a:lnTo>
                      <a:pt x="1679" y="937"/>
                    </a:lnTo>
                    <a:lnTo>
                      <a:pt x="1675" y="939"/>
                    </a:lnTo>
                    <a:lnTo>
                      <a:pt x="1673" y="939"/>
                    </a:lnTo>
                    <a:lnTo>
                      <a:pt x="1667" y="937"/>
                    </a:lnTo>
                    <a:lnTo>
                      <a:pt x="1667" y="943"/>
                    </a:lnTo>
                    <a:lnTo>
                      <a:pt x="1665" y="955"/>
                    </a:lnTo>
                    <a:lnTo>
                      <a:pt x="1661" y="957"/>
                    </a:lnTo>
                    <a:lnTo>
                      <a:pt x="1663" y="953"/>
                    </a:lnTo>
                    <a:lnTo>
                      <a:pt x="1665" y="949"/>
                    </a:lnTo>
                    <a:lnTo>
                      <a:pt x="1663" y="945"/>
                    </a:lnTo>
                    <a:lnTo>
                      <a:pt x="1659" y="951"/>
                    </a:lnTo>
                    <a:lnTo>
                      <a:pt x="1649" y="955"/>
                    </a:lnTo>
                    <a:lnTo>
                      <a:pt x="1645" y="955"/>
                    </a:lnTo>
                    <a:lnTo>
                      <a:pt x="1645" y="953"/>
                    </a:lnTo>
                    <a:lnTo>
                      <a:pt x="1647" y="953"/>
                    </a:lnTo>
                    <a:lnTo>
                      <a:pt x="1651" y="947"/>
                    </a:lnTo>
                    <a:lnTo>
                      <a:pt x="1651" y="945"/>
                    </a:lnTo>
                    <a:lnTo>
                      <a:pt x="1649" y="945"/>
                    </a:lnTo>
                    <a:lnTo>
                      <a:pt x="1647" y="941"/>
                    </a:lnTo>
                    <a:lnTo>
                      <a:pt x="1649" y="941"/>
                    </a:lnTo>
                    <a:lnTo>
                      <a:pt x="1651" y="939"/>
                    </a:lnTo>
                    <a:lnTo>
                      <a:pt x="1651" y="937"/>
                    </a:lnTo>
                    <a:lnTo>
                      <a:pt x="1647" y="937"/>
                    </a:lnTo>
                    <a:lnTo>
                      <a:pt x="1645" y="939"/>
                    </a:lnTo>
                    <a:lnTo>
                      <a:pt x="1643" y="941"/>
                    </a:lnTo>
                    <a:lnTo>
                      <a:pt x="1645" y="943"/>
                    </a:lnTo>
                    <a:lnTo>
                      <a:pt x="1643" y="945"/>
                    </a:lnTo>
                    <a:lnTo>
                      <a:pt x="1641" y="949"/>
                    </a:lnTo>
                    <a:lnTo>
                      <a:pt x="1639" y="949"/>
                    </a:lnTo>
                    <a:lnTo>
                      <a:pt x="1637" y="951"/>
                    </a:lnTo>
                    <a:lnTo>
                      <a:pt x="1637" y="949"/>
                    </a:lnTo>
                    <a:lnTo>
                      <a:pt x="1639" y="935"/>
                    </a:lnTo>
                    <a:lnTo>
                      <a:pt x="1637" y="935"/>
                    </a:lnTo>
                    <a:lnTo>
                      <a:pt x="1639" y="931"/>
                    </a:lnTo>
                    <a:lnTo>
                      <a:pt x="1637" y="929"/>
                    </a:lnTo>
                    <a:lnTo>
                      <a:pt x="1635" y="927"/>
                    </a:lnTo>
                    <a:lnTo>
                      <a:pt x="1623" y="929"/>
                    </a:lnTo>
                    <a:lnTo>
                      <a:pt x="1615" y="925"/>
                    </a:lnTo>
                    <a:lnTo>
                      <a:pt x="1615" y="919"/>
                    </a:lnTo>
                    <a:lnTo>
                      <a:pt x="1623" y="913"/>
                    </a:lnTo>
                    <a:lnTo>
                      <a:pt x="1625" y="913"/>
                    </a:lnTo>
                    <a:lnTo>
                      <a:pt x="1631" y="909"/>
                    </a:lnTo>
                    <a:lnTo>
                      <a:pt x="1633" y="905"/>
                    </a:lnTo>
                    <a:lnTo>
                      <a:pt x="1635" y="903"/>
                    </a:lnTo>
                    <a:lnTo>
                      <a:pt x="1651" y="889"/>
                    </a:lnTo>
                    <a:lnTo>
                      <a:pt x="1655" y="883"/>
                    </a:lnTo>
                    <a:lnTo>
                      <a:pt x="1657" y="881"/>
                    </a:lnTo>
                    <a:lnTo>
                      <a:pt x="1657" y="879"/>
                    </a:lnTo>
                    <a:lnTo>
                      <a:pt x="1657" y="877"/>
                    </a:lnTo>
                    <a:lnTo>
                      <a:pt x="1661" y="873"/>
                    </a:lnTo>
                    <a:lnTo>
                      <a:pt x="1663" y="871"/>
                    </a:lnTo>
                    <a:lnTo>
                      <a:pt x="1665" y="871"/>
                    </a:lnTo>
                    <a:lnTo>
                      <a:pt x="1665" y="867"/>
                    </a:lnTo>
                    <a:lnTo>
                      <a:pt x="1675" y="857"/>
                    </a:lnTo>
                    <a:lnTo>
                      <a:pt x="1677" y="857"/>
                    </a:lnTo>
                    <a:lnTo>
                      <a:pt x="1683" y="851"/>
                    </a:lnTo>
                    <a:lnTo>
                      <a:pt x="1683" y="847"/>
                    </a:lnTo>
                    <a:lnTo>
                      <a:pt x="1685" y="847"/>
                    </a:lnTo>
                    <a:lnTo>
                      <a:pt x="1691" y="843"/>
                    </a:lnTo>
                    <a:lnTo>
                      <a:pt x="1693" y="839"/>
                    </a:lnTo>
                    <a:lnTo>
                      <a:pt x="1695" y="835"/>
                    </a:lnTo>
                    <a:lnTo>
                      <a:pt x="1733" y="799"/>
                    </a:lnTo>
                    <a:lnTo>
                      <a:pt x="1775" y="797"/>
                    </a:lnTo>
                    <a:lnTo>
                      <a:pt x="1775" y="801"/>
                    </a:lnTo>
                    <a:lnTo>
                      <a:pt x="1775" y="803"/>
                    </a:lnTo>
                    <a:lnTo>
                      <a:pt x="1777" y="803"/>
                    </a:lnTo>
                    <a:lnTo>
                      <a:pt x="1781" y="803"/>
                    </a:lnTo>
                    <a:lnTo>
                      <a:pt x="1781" y="801"/>
                    </a:lnTo>
                    <a:lnTo>
                      <a:pt x="1781" y="797"/>
                    </a:lnTo>
                    <a:lnTo>
                      <a:pt x="1783" y="795"/>
                    </a:lnTo>
                    <a:lnTo>
                      <a:pt x="1799" y="801"/>
                    </a:lnTo>
                    <a:lnTo>
                      <a:pt x="1803" y="801"/>
                    </a:lnTo>
                    <a:lnTo>
                      <a:pt x="1803" y="799"/>
                    </a:lnTo>
                    <a:lnTo>
                      <a:pt x="1805" y="797"/>
                    </a:lnTo>
                    <a:lnTo>
                      <a:pt x="1811" y="797"/>
                    </a:lnTo>
                    <a:lnTo>
                      <a:pt x="1813" y="801"/>
                    </a:lnTo>
                    <a:lnTo>
                      <a:pt x="1815" y="803"/>
                    </a:lnTo>
                    <a:lnTo>
                      <a:pt x="1819" y="801"/>
                    </a:lnTo>
                    <a:lnTo>
                      <a:pt x="1819" y="799"/>
                    </a:lnTo>
                    <a:lnTo>
                      <a:pt x="1817" y="799"/>
                    </a:lnTo>
                    <a:lnTo>
                      <a:pt x="1817" y="797"/>
                    </a:lnTo>
                    <a:lnTo>
                      <a:pt x="1819" y="795"/>
                    </a:lnTo>
                    <a:lnTo>
                      <a:pt x="1823" y="795"/>
                    </a:lnTo>
                    <a:lnTo>
                      <a:pt x="1823" y="793"/>
                    </a:lnTo>
                    <a:lnTo>
                      <a:pt x="1821" y="791"/>
                    </a:lnTo>
                    <a:lnTo>
                      <a:pt x="1821" y="789"/>
                    </a:lnTo>
                    <a:lnTo>
                      <a:pt x="1825" y="787"/>
                    </a:lnTo>
                    <a:lnTo>
                      <a:pt x="1827" y="787"/>
                    </a:lnTo>
                    <a:lnTo>
                      <a:pt x="1841" y="791"/>
                    </a:lnTo>
                    <a:lnTo>
                      <a:pt x="1843" y="791"/>
                    </a:lnTo>
                    <a:lnTo>
                      <a:pt x="1847" y="793"/>
                    </a:lnTo>
                    <a:lnTo>
                      <a:pt x="1847" y="795"/>
                    </a:lnTo>
                    <a:lnTo>
                      <a:pt x="1849" y="795"/>
                    </a:lnTo>
                    <a:lnTo>
                      <a:pt x="1851" y="793"/>
                    </a:lnTo>
                    <a:lnTo>
                      <a:pt x="1853" y="791"/>
                    </a:lnTo>
                    <a:lnTo>
                      <a:pt x="1857" y="793"/>
                    </a:lnTo>
                    <a:lnTo>
                      <a:pt x="1863" y="797"/>
                    </a:lnTo>
                    <a:lnTo>
                      <a:pt x="1863" y="799"/>
                    </a:lnTo>
                    <a:lnTo>
                      <a:pt x="1869" y="801"/>
                    </a:lnTo>
                    <a:lnTo>
                      <a:pt x="1869" y="803"/>
                    </a:lnTo>
                    <a:lnTo>
                      <a:pt x="1867" y="805"/>
                    </a:lnTo>
                    <a:lnTo>
                      <a:pt x="1857" y="805"/>
                    </a:lnTo>
                    <a:lnTo>
                      <a:pt x="1853" y="805"/>
                    </a:lnTo>
                    <a:lnTo>
                      <a:pt x="1853" y="807"/>
                    </a:lnTo>
                    <a:lnTo>
                      <a:pt x="1857" y="813"/>
                    </a:lnTo>
                    <a:lnTo>
                      <a:pt x="1865" y="813"/>
                    </a:lnTo>
                    <a:lnTo>
                      <a:pt x="1869" y="811"/>
                    </a:lnTo>
                    <a:lnTo>
                      <a:pt x="1871" y="809"/>
                    </a:lnTo>
                    <a:lnTo>
                      <a:pt x="1873" y="807"/>
                    </a:lnTo>
                    <a:lnTo>
                      <a:pt x="1875" y="809"/>
                    </a:lnTo>
                    <a:lnTo>
                      <a:pt x="1879" y="811"/>
                    </a:lnTo>
                    <a:lnTo>
                      <a:pt x="1881" y="809"/>
                    </a:lnTo>
                    <a:lnTo>
                      <a:pt x="1883" y="807"/>
                    </a:lnTo>
                    <a:lnTo>
                      <a:pt x="1887" y="807"/>
                    </a:lnTo>
                    <a:lnTo>
                      <a:pt x="1887" y="805"/>
                    </a:lnTo>
                    <a:lnTo>
                      <a:pt x="1889" y="803"/>
                    </a:lnTo>
                    <a:lnTo>
                      <a:pt x="1895" y="803"/>
                    </a:lnTo>
                    <a:lnTo>
                      <a:pt x="1897" y="807"/>
                    </a:lnTo>
                    <a:lnTo>
                      <a:pt x="1899" y="807"/>
                    </a:lnTo>
                    <a:lnTo>
                      <a:pt x="1902" y="805"/>
                    </a:lnTo>
                    <a:lnTo>
                      <a:pt x="1902" y="803"/>
                    </a:lnTo>
                    <a:lnTo>
                      <a:pt x="1906" y="803"/>
                    </a:lnTo>
                    <a:lnTo>
                      <a:pt x="1908" y="805"/>
                    </a:lnTo>
                    <a:lnTo>
                      <a:pt x="1908" y="803"/>
                    </a:lnTo>
                    <a:lnTo>
                      <a:pt x="1912" y="803"/>
                    </a:lnTo>
                    <a:lnTo>
                      <a:pt x="1912" y="801"/>
                    </a:lnTo>
                    <a:lnTo>
                      <a:pt x="1910" y="799"/>
                    </a:lnTo>
                    <a:lnTo>
                      <a:pt x="1910" y="795"/>
                    </a:lnTo>
                    <a:lnTo>
                      <a:pt x="1904" y="793"/>
                    </a:lnTo>
                    <a:lnTo>
                      <a:pt x="1899" y="795"/>
                    </a:lnTo>
                    <a:lnTo>
                      <a:pt x="1899" y="793"/>
                    </a:lnTo>
                    <a:lnTo>
                      <a:pt x="1901" y="791"/>
                    </a:lnTo>
                    <a:lnTo>
                      <a:pt x="1899" y="785"/>
                    </a:lnTo>
                    <a:lnTo>
                      <a:pt x="1899" y="783"/>
                    </a:lnTo>
                    <a:lnTo>
                      <a:pt x="1901" y="785"/>
                    </a:lnTo>
                    <a:lnTo>
                      <a:pt x="1908" y="771"/>
                    </a:lnTo>
                    <a:lnTo>
                      <a:pt x="1910" y="767"/>
                    </a:lnTo>
                    <a:lnTo>
                      <a:pt x="1914" y="765"/>
                    </a:lnTo>
                    <a:lnTo>
                      <a:pt x="1924" y="755"/>
                    </a:lnTo>
                    <a:lnTo>
                      <a:pt x="1924" y="753"/>
                    </a:lnTo>
                    <a:lnTo>
                      <a:pt x="1934" y="741"/>
                    </a:lnTo>
                    <a:lnTo>
                      <a:pt x="1936" y="735"/>
                    </a:lnTo>
                    <a:lnTo>
                      <a:pt x="1944" y="727"/>
                    </a:lnTo>
                    <a:lnTo>
                      <a:pt x="1946" y="727"/>
                    </a:lnTo>
                    <a:lnTo>
                      <a:pt x="1948" y="723"/>
                    </a:lnTo>
                    <a:lnTo>
                      <a:pt x="1956" y="725"/>
                    </a:lnTo>
                    <a:lnTo>
                      <a:pt x="1966" y="723"/>
                    </a:lnTo>
                    <a:lnTo>
                      <a:pt x="1968" y="721"/>
                    </a:lnTo>
                    <a:lnTo>
                      <a:pt x="1970" y="719"/>
                    </a:lnTo>
                    <a:lnTo>
                      <a:pt x="1972" y="719"/>
                    </a:lnTo>
                    <a:lnTo>
                      <a:pt x="1976" y="721"/>
                    </a:lnTo>
                    <a:lnTo>
                      <a:pt x="1976" y="723"/>
                    </a:lnTo>
                    <a:lnTo>
                      <a:pt x="1978" y="727"/>
                    </a:lnTo>
                    <a:lnTo>
                      <a:pt x="1982" y="727"/>
                    </a:lnTo>
                    <a:lnTo>
                      <a:pt x="1990" y="719"/>
                    </a:lnTo>
                    <a:lnTo>
                      <a:pt x="1988" y="731"/>
                    </a:lnTo>
                    <a:lnTo>
                      <a:pt x="1986" y="733"/>
                    </a:lnTo>
                    <a:lnTo>
                      <a:pt x="1982" y="739"/>
                    </a:lnTo>
                    <a:lnTo>
                      <a:pt x="1982" y="741"/>
                    </a:lnTo>
                    <a:lnTo>
                      <a:pt x="1984" y="745"/>
                    </a:lnTo>
                    <a:lnTo>
                      <a:pt x="1984" y="747"/>
                    </a:lnTo>
                    <a:lnTo>
                      <a:pt x="1982" y="747"/>
                    </a:lnTo>
                    <a:lnTo>
                      <a:pt x="1982" y="749"/>
                    </a:lnTo>
                    <a:lnTo>
                      <a:pt x="1984" y="751"/>
                    </a:lnTo>
                    <a:lnTo>
                      <a:pt x="1990" y="747"/>
                    </a:lnTo>
                    <a:lnTo>
                      <a:pt x="1986" y="759"/>
                    </a:lnTo>
                    <a:lnTo>
                      <a:pt x="1988" y="761"/>
                    </a:lnTo>
                    <a:lnTo>
                      <a:pt x="1990" y="761"/>
                    </a:lnTo>
                    <a:lnTo>
                      <a:pt x="1992" y="757"/>
                    </a:lnTo>
                    <a:lnTo>
                      <a:pt x="1996" y="757"/>
                    </a:lnTo>
                    <a:lnTo>
                      <a:pt x="2020" y="729"/>
                    </a:lnTo>
                    <a:lnTo>
                      <a:pt x="2024" y="729"/>
                    </a:lnTo>
                    <a:lnTo>
                      <a:pt x="2026" y="729"/>
                    </a:lnTo>
                    <a:lnTo>
                      <a:pt x="2026" y="727"/>
                    </a:lnTo>
                    <a:lnTo>
                      <a:pt x="2028" y="727"/>
                    </a:lnTo>
                    <a:lnTo>
                      <a:pt x="2028" y="729"/>
                    </a:lnTo>
                    <a:lnTo>
                      <a:pt x="2028" y="731"/>
                    </a:lnTo>
                    <a:lnTo>
                      <a:pt x="2030" y="731"/>
                    </a:lnTo>
                    <a:lnTo>
                      <a:pt x="2034" y="727"/>
                    </a:lnTo>
                    <a:lnTo>
                      <a:pt x="2030" y="727"/>
                    </a:lnTo>
                    <a:lnTo>
                      <a:pt x="2030" y="723"/>
                    </a:lnTo>
                    <a:lnTo>
                      <a:pt x="2030" y="715"/>
                    </a:lnTo>
                    <a:lnTo>
                      <a:pt x="2030" y="713"/>
                    </a:lnTo>
                    <a:lnTo>
                      <a:pt x="2034" y="710"/>
                    </a:lnTo>
                    <a:lnTo>
                      <a:pt x="2034" y="706"/>
                    </a:lnTo>
                    <a:lnTo>
                      <a:pt x="2034" y="704"/>
                    </a:lnTo>
                    <a:lnTo>
                      <a:pt x="2038" y="700"/>
                    </a:lnTo>
                    <a:lnTo>
                      <a:pt x="2050" y="696"/>
                    </a:lnTo>
                    <a:lnTo>
                      <a:pt x="2054" y="698"/>
                    </a:lnTo>
                    <a:lnTo>
                      <a:pt x="2058" y="702"/>
                    </a:lnTo>
                    <a:lnTo>
                      <a:pt x="2058" y="704"/>
                    </a:lnTo>
                    <a:lnTo>
                      <a:pt x="2054" y="704"/>
                    </a:lnTo>
                    <a:lnTo>
                      <a:pt x="2046" y="710"/>
                    </a:lnTo>
                    <a:lnTo>
                      <a:pt x="2044" y="727"/>
                    </a:lnTo>
                    <a:lnTo>
                      <a:pt x="2042" y="731"/>
                    </a:lnTo>
                    <a:lnTo>
                      <a:pt x="2042" y="735"/>
                    </a:lnTo>
                    <a:lnTo>
                      <a:pt x="2042" y="737"/>
                    </a:lnTo>
                    <a:lnTo>
                      <a:pt x="2042" y="741"/>
                    </a:lnTo>
                    <a:lnTo>
                      <a:pt x="2040" y="743"/>
                    </a:lnTo>
                    <a:lnTo>
                      <a:pt x="2038" y="743"/>
                    </a:lnTo>
                    <a:lnTo>
                      <a:pt x="2038" y="749"/>
                    </a:lnTo>
                    <a:lnTo>
                      <a:pt x="2040" y="751"/>
                    </a:lnTo>
                    <a:lnTo>
                      <a:pt x="2040" y="753"/>
                    </a:lnTo>
                    <a:lnTo>
                      <a:pt x="2034" y="757"/>
                    </a:lnTo>
                    <a:lnTo>
                      <a:pt x="2032" y="755"/>
                    </a:lnTo>
                    <a:lnTo>
                      <a:pt x="2028" y="757"/>
                    </a:lnTo>
                    <a:lnTo>
                      <a:pt x="2024" y="761"/>
                    </a:lnTo>
                    <a:lnTo>
                      <a:pt x="2020" y="761"/>
                    </a:lnTo>
                    <a:lnTo>
                      <a:pt x="2014" y="765"/>
                    </a:lnTo>
                    <a:lnTo>
                      <a:pt x="2012" y="767"/>
                    </a:lnTo>
                    <a:lnTo>
                      <a:pt x="2012" y="769"/>
                    </a:lnTo>
                    <a:lnTo>
                      <a:pt x="2012" y="773"/>
                    </a:lnTo>
                    <a:lnTo>
                      <a:pt x="1998" y="789"/>
                    </a:lnTo>
                    <a:lnTo>
                      <a:pt x="1992" y="793"/>
                    </a:lnTo>
                    <a:lnTo>
                      <a:pt x="1990" y="797"/>
                    </a:lnTo>
                    <a:lnTo>
                      <a:pt x="1986" y="799"/>
                    </a:lnTo>
                    <a:lnTo>
                      <a:pt x="1982" y="807"/>
                    </a:lnTo>
                    <a:lnTo>
                      <a:pt x="1980" y="811"/>
                    </a:lnTo>
                    <a:lnTo>
                      <a:pt x="1960" y="835"/>
                    </a:lnTo>
                    <a:lnTo>
                      <a:pt x="1956" y="837"/>
                    </a:lnTo>
                    <a:lnTo>
                      <a:pt x="1950" y="837"/>
                    </a:lnTo>
                    <a:lnTo>
                      <a:pt x="1946" y="843"/>
                    </a:lnTo>
                    <a:lnTo>
                      <a:pt x="1940" y="841"/>
                    </a:lnTo>
                    <a:lnTo>
                      <a:pt x="1938" y="843"/>
                    </a:lnTo>
                    <a:lnTo>
                      <a:pt x="1940" y="851"/>
                    </a:lnTo>
                    <a:lnTo>
                      <a:pt x="1936" y="863"/>
                    </a:lnTo>
                    <a:lnTo>
                      <a:pt x="1926" y="869"/>
                    </a:lnTo>
                    <a:lnTo>
                      <a:pt x="1918" y="893"/>
                    </a:lnTo>
                    <a:lnTo>
                      <a:pt x="1922" y="943"/>
                    </a:lnTo>
                    <a:lnTo>
                      <a:pt x="1924" y="945"/>
                    </a:lnTo>
                    <a:lnTo>
                      <a:pt x="1936" y="1018"/>
                    </a:lnTo>
                    <a:lnTo>
                      <a:pt x="1958" y="996"/>
                    </a:lnTo>
                    <a:lnTo>
                      <a:pt x="1962" y="984"/>
                    </a:lnTo>
                    <a:lnTo>
                      <a:pt x="1962" y="978"/>
                    </a:lnTo>
                    <a:lnTo>
                      <a:pt x="1962" y="976"/>
                    </a:lnTo>
                    <a:lnTo>
                      <a:pt x="1964" y="972"/>
                    </a:lnTo>
                    <a:lnTo>
                      <a:pt x="1962" y="972"/>
                    </a:lnTo>
                    <a:lnTo>
                      <a:pt x="1964" y="970"/>
                    </a:lnTo>
                    <a:lnTo>
                      <a:pt x="1966" y="970"/>
                    </a:lnTo>
                    <a:lnTo>
                      <a:pt x="1974" y="965"/>
                    </a:lnTo>
                    <a:lnTo>
                      <a:pt x="1980" y="963"/>
                    </a:lnTo>
                    <a:lnTo>
                      <a:pt x="1984" y="965"/>
                    </a:lnTo>
                    <a:lnTo>
                      <a:pt x="1984" y="963"/>
                    </a:lnTo>
                    <a:lnTo>
                      <a:pt x="1984" y="961"/>
                    </a:lnTo>
                    <a:lnTo>
                      <a:pt x="1982" y="943"/>
                    </a:lnTo>
                    <a:lnTo>
                      <a:pt x="1994" y="933"/>
                    </a:lnTo>
                    <a:lnTo>
                      <a:pt x="1998" y="929"/>
                    </a:lnTo>
                    <a:lnTo>
                      <a:pt x="2002" y="929"/>
                    </a:lnTo>
                    <a:lnTo>
                      <a:pt x="2004" y="931"/>
                    </a:lnTo>
                    <a:lnTo>
                      <a:pt x="2008" y="931"/>
                    </a:lnTo>
                    <a:lnTo>
                      <a:pt x="2010" y="931"/>
                    </a:lnTo>
                    <a:lnTo>
                      <a:pt x="2016" y="927"/>
                    </a:lnTo>
                    <a:lnTo>
                      <a:pt x="2016" y="923"/>
                    </a:lnTo>
                    <a:lnTo>
                      <a:pt x="2010" y="915"/>
                    </a:lnTo>
                    <a:lnTo>
                      <a:pt x="2008" y="909"/>
                    </a:lnTo>
                    <a:lnTo>
                      <a:pt x="2012" y="893"/>
                    </a:lnTo>
                    <a:lnTo>
                      <a:pt x="2014" y="889"/>
                    </a:lnTo>
                    <a:lnTo>
                      <a:pt x="2020" y="887"/>
                    </a:lnTo>
                    <a:lnTo>
                      <a:pt x="2018" y="883"/>
                    </a:lnTo>
                    <a:lnTo>
                      <a:pt x="2018" y="881"/>
                    </a:lnTo>
                    <a:lnTo>
                      <a:pt x="2026" y="879"/>
                    </a:lnTo>
                    <a:lnTo>
                      <a:pt x="2028" y="877"/>
                    </a:lnTo>
                    <a:lnTo>
                      <a:pt x="2028" y="879"/>
                    </a:lnTo>
                    <a:lnTo>
                      <a:pt x="2026" y="881"/>
                    </a:lnTo>
                    <a:lnTo>
                      <a:pt x="2024" y="883"/>
                    </a:lnTo>
                    <a:lnTo>
                      <a:pt x="2024" y="885"/>
                    </a:lnTo>
                    <a:lnTo>
                      <a:pt x="2026" y="891"/>
                    </a:lnTo>
                    <a:lnTo>
                      <a:pt x="2028" y="893"/>
                    </a:lnTo>
                    <a:lnTo>
                      <a:pt x="2030" y="893"/>
                    </a:lnTo>
                    <a:lnTo>
                      <a:pt x="2032" y="887"/>
                    </a:lnTo>
                    <a:lnTo>
                      <a:pt x="2034" y="885"/>
                    </a:lnTo>
                    <a:lnTo>
                      <a:pt x="2032" y="875"/>
                    </a:lnTo>
                    <a:lnTo>
                      <a:pt x="2030" y="873"/>
                    </a:lnTo>
                    <a:lnTo>
                      <a:pt x="2026" y="873"/>
                    </a:lnTo>
                    <a:lnTo>
                      <a:pt x="2024" y="857"/>
                    </a:lnTo>
                    <a:lnTo>
                      <a:pt x="2026" y="855"/>
                    </a:lnTo>
                    <a:lnTo>
                      <a:pt x="2030" y="851"/>
                    </a:lnTo>
                    <a:lnTo>
                      <a:pt x="2032" y="847"/>
                    </a:lnTo>
                    <a:lnTo>
                      <a:pt x="2032" y="843"/>
                    </a:lnTo>
                    <a:lnTo>
                      <a:pt x="2024" y="839"/>
                    </a:lnTo>
                    <a:lnTo>
                      <a:pt x="2020" y="839"/>
                    </a:lnTo>
                    <a:lnTo>
                      <a:pt x="2020" y="843"/>
                    </a:lnTo>
                    <a:lnTo>
                      <a:pt x="2018" y="845"/>
                    </a:lnTo>
                    <a:lnTo>
                      <a:pt x="2016" y="843"/>
                    </a:lnTo>
                    <a:lnTo>
                      <a:pt x="2014" y="843"/>
                    </a:lnTo>
                    <a:lnTo>
                      <a:pt x="2014" y="839"/>
                    </a:lnTo>
                    <a:lnTo>
                      <a:pt x="2014" y="835"/>
                    </a:lnTo>
                    <a:lnTo>
                      <a:pt x="2028" y="809"/>
                    </a:lnTo>
                    <a:lnTo>
                      <a:pt x="2028" y="807"/>
                    </a:lnTo>
                    <a:lnTo>
                      <a:pt x="2028" y="805"/>
                    </a:lnTo>
                    <a:lnTo>
                      <a:pt x="2032" y="805"/>
                    </a:lnTo>
                    <a:lnTo>
                      <a:pt x="2030" y="803"/>
                    </a:lnTo>
                    <a:lnTo>
                      <a:pt x="2030" y="801"/>
                    </a:lnTo>
                    <a:lnTo>
                      <a:pt x="2032" y="801"/>
                    </a:lnTo>
                    <a:lnTo>
                      <a:pt x="2034" y="799"/>
                    </a:lnTo>
                    <a:lnTo>
                      <a:pt x="2032" y="795"/>
                    </a:lnTo>
                    <a:lnTo>
                      <a:pt x="2034" y="791"/>
                    </a:lnTo>
                    <a:lnTo>
                      <a:pt x="2036" y="787"/>
                    </a:lnTo>
                    <a:lnTo>
                      <a:pt x="2036" y="785"/>
                    </a:lnTo>
                    <a:lnTo>
                      <a:pt x="2038" y="783"/>
                    </a:lnTo>
                    <a:lnTo>
                      <a:pt x="2040" y="781"/>
                    </a:lnTo>
                    <a:lnTo>
                      <a:pt x="2044" y="779"/>
                    </a:lnTo>
                    <a:lnTo>
                      <a:pt x="2046" y="781"/>
                    </a:lnTo>
                    <a:lnTo>
                      <a:pt x="2046" y="783"/>
                    </a:lnTo>
                    <a:lnTo>
                      <a:pt x="2048" y="779"/>
                    </a:lnTo>
                    <a:lnTo>
                      <a:pt x="2052" y="777"/>
                    </a:lnTo>
                    <a:lnTo>
                      <a:pt x="2056" y="781"/>
                    </a:lnTo>
                    <a:lnTo>
                      <a:pt x="2056" y="785"/>
                    </a:lnTo>
                    <a:lnTo>
                      <a:pt x="2060" y="785"/>
                    </a:lnTo>
                    <a:lnTo>
                      <a:pt x="2060" y="781"/>
                    </a:lnTo>
                    <a:lnTo>
                      <a:pt x="2060" y="777"/>
                    </a:lnTo>
                    <a:lnTo>
                      <a:pt x="2062" y="773"/>
                    </a:lnTo>
                    <a:lnTo>
                      <a:pt x="2072" y="769"/>
                    </a:lnTo>
                    <a:lnTo>
                      <a:pt x="2076" y="763"/>
                    </a:lnTo>
                    <a:lnTo>
                      <a:pt x="2078" y="765"/>
                    </a:lnTo>
                    <a:lnTo>
                      <a:pt x="2078" y="767"/>
                    </a:lnTo>
                    <a:lnTo>
                      <a:pt x="2076" y="769"/>
                    </a:lnTo>
                    <a:lnTo>
                      <a:pt x="2078" y="773"/>
                    </a:lnTo>
                    <a:lnTo>
                      <a:pt x="2076" y="781"/>
                    </a:lnTo>
                    <a:lnTo>
                      <a:pt x="2076" y="783"/>
                    </a:lnTo>
                    <a:lnTo>
                      <a:pt x="2076" y="785"/>
                    </a:lnTo>
                    <a:lnTo>
                      <a:pt x="2088" y="771"/>
                    </a:lnTo>
                    <a:lnTo>
                      <a:pt x="2088" y="767"/>
                    </a:lnTo>
                    <a:lnTo>
                      <a:pt x="2090" y="769"/>
                    </a:lnTo>
                    <a:lnTo>
                      <a:pt x="2094" y="767"/>
                    </a:lnTo>
                    <a:lnTo>
                      <a:pt x="2096" y="765"/>
                    </a:lnTo>
                    <a:lnTo>
                      <a:pt x="2100" y="763"/>
                    </a:lnTo>
                    <a:lnTo>
                      <a:pt x="2104" y="763"/>
                    </a:lnTo>
                    <a:lnTo>
                      <a:pt x="2106" y="759"/>
                    </a:lnTo>
                    <a:lnTo>
                      <a:pt x="2108" y="761"/>
                    </a:lnTo>
                    <a:lnTo>
                      <a:pt x="2118" y="761"/>
                    </a:lnTo>
                    <a:lnTo>
                      <a:pt x="2124" y="763"/>
                    </a:lnTo>
                    <a:lnTo>
                      <a:pt x="2128" y="767"/>
                    </a:lnTo>
                    <a:lnTo>
                      <a:pt x="2130" y="769"/>
                    </a:lnTo>
                    <a:lnTo>
                      <a:pt x="2134" y="779"/>
                    </a:lnTo>
                    <a:lnTo>
                      <a:pt x="2136" y="779"/>
                    </a:lnTo>
                    <a:lnTo>
                      <a:pt x="2138" y="781"/>
                    </a:lnTo>
                    <a:lnTo>
                      <a:pt x="2140" y="779"/>
                    </a:lnTo>
                    <a:lnTo>
                      <a:pt x="2140" y="775"/>
                    </a:lnTo>
                    <a:lnTo>
                      <a:pt x="2142" y="767"/>
                    </a:lnTo>
                    <a:lnTo>
                      <a:pt x="2142" y="765"/>
                    </a:lnTo>
                    <a:lnTo>
                      <a:pt x="2148" y="763"/>
                    </a:lnTo>
                    <a:lnTo>
                      <a:pt x="2150" y="763"/>
                    </a:lnTo>
                    <a:lnTo>
                      <a:pt x="2150" y="761"/>
                    </a:lnTo>
                    <a:lnTo>
                      <a:pt x="2152" y="761"/>
                    </a:lnTo>
                    <a:lnTo>
                      <a:pt x="2156" y="757"/>
                    </a:lnTo>
                    <a:lnTo>
                      <a:pt x="2158" y="757"/>
                    </a:lnTo>
                    <a:lnTo>
                      <a:pt x="2158" y="755"/>
                    </a:lnTo>
                    <a:lnTo>
                      <a:pt x="2160" y="753"/>
                    </a:lnTo>
                    <a:lnTo>
                      <a:pt x="2162" y="753"/>
                    </a:lnTo>
                    <a:lnTo>
                      <a:pt x="2164" y="751"/>
                    </a:lnTo>
                    <a:lnTo>
                      <a:pt x="2166" y="751"/>
                    </a:lnTo>
                    <a:lnTo>
                      <a:pt x="2166" y="749"/>
                    </a:lnTo>
                    <a:lnTo>
                      <a:pt x="2164" y="747"/>
                    </a:lnTo>
                    <a:lnTo>
                      <a:pt x="2164" y="745"/>
                    </a:lnTo>
                    <a:lnTo>
                      <a:pt x="2166" y="747"/>
                    </a:lnTo>
                    <a:lnTo>
                      <a:pt x="2168" y="749"/>
                    </a:lnTo>
                    <a:lnTo>
                      <a:pt x="2170" y="747"/>
                    </a:lnTo>
                    <a:lnTo>
                      <a:pt x="2170" y="743"/>
                    </a:lnTo>
                    <a:lnTo>
                      <a:pt x="2172" y="743"/>
                    </a:lnTo>
                    <a:lnTo>
                      <a:pt x="2176" y="741"/>
                    </a:lnTo>
                    <a:lnTo>
                      <a:pt x="2176" y="739"/>
                    </a:lnTo>
                    <a:lnTo>
                      <a:pt x="2176" y="737"/>
                    </a:lnTo>
                    <a:lnTo>
                      <a:pt x="2176" y="735"/>
                    </a:lnTo>
                    <a:lnTo>
                      <a:pt x="2178" y="737"/>
                    </a:lnTo>
                    <a:lnTo>
                      <a:pt x="2180" y="737"/>
                    </a:lnTo>
                    <a:lnTo>
                      <a:pt x="2180" y="735"/>
                    </a:lnTo>
                    <a:lnTo>
                      <a:pt x="2182" y="735"/>
                    </a:lnTo>
                    <a:lnTo>
                      <a:pt x="2184" y="733"/>
                    </a:lnTo>
                    <a:lnTo>
                      <a:pt x="2184" y="731"/>
                    </a:lnTo>
                    <a:lnTo>
                      <a:pt x="2184" y="727"/>
                    </a:lnTo>
                    <a:lnTo>
                      <a:pt x="2186" y="725"/>
                    </a:lnTo>
                    <a:lnTo>
                      <a:pt x="2188" y="725"/>
                    </a:lnTo>
                    <a:lnTo>
                      <a:pt x="2188" y="727"/>
                    </a:lnTo>
                    <a:lnTo>
                      <a:pt x="2190" y="729"/>
                    </a:lnTo>
                    <a:lnTo>
                      <a:pt x="2192" y="727"/>
                    </a:lnTo>
                    <a:lnTo>
                      <a:pt x="2196" y="725"/>
                    </a:lnTo>
                    <a:lnTo>
                      <a:pt x="2202" y="721"/>
                    </a:lnTo>
                    <a:lnTo>
                      <a:pt x="2204" y="719"/>
                    </a:lnTo>
                    <a:lnTo>
                      <a:pt x="2208" y="717"/>
                    </a:lnTo>
                    <a:lnTo>
                      <a:pt x="2210" y="715"/>
                    </a:lnTo>
                    <a:lnTo>
                      <a:pt x="2210" y="713"/>
                    </a:lnTo>
                    <a:lnTo>
                      <a:pt x="2212" y="712"/>
                    </a:lnTo>
                    <a:lnTo>
                      <a:pt x="2212" y="715"/>
                    </a:lnTo>
                    <a:lnTo>
                      <a:pt x="2218" y="712"/>
                    </a:lnTo>
                    <a:lnTo>
                      <a:pt x="2220" y="712"/>
                    </a:lnTo>
                    <a:lnTo>
                      <a:pt x="2234" y="704"/>
                    </a:lnTo>
                    <a:lnTo>
                      <a:pt x="2242" y="700"/>
                    </a:lnTo>
                    <a:lnTo>
                      <a:pt x="2242" y="698"/>
                    </a:lnTo>
                    <a:lnTo>
                      <a:pt x="2240" y="698"/>
                    </a:lnTo>
                    <a:lnTo>
                      <a:pt x="2238" y="690"/>
                    </a:lnTo>
                    <a:lnTo>
                      <a:pt x="2242" y="698"/>
                    </a:lnTo>
                    <a:lnTo>
                      <a:pt x="2244" y="698"/>
                    </a:lnTo>
                    <a:lnTo>
                      <a:pt x="2244" y="700"/>
                    </a:lnTo>
                    <a:lnTo>
                      <a:pt x="2248" y="700"/>
                    </a:lnTo>
                    <a:lnTo>
                      <a:pt x="2248" y="698"/>
                    </a:lnTo>
                    <a:lnTo>
                      <a:pt x="2246" y="696"/>
                    </a:lnTo>
                    <a:lnTo>
                      <a:pt x="2248" y="696"/>
                    </a:lnTo>
                    <a:lnTo>
                      <a:pt x="2248" y="698"/>
                    </a:lnTo>
                    <a:lnTo>
                      <a:pt x="2250" y="700"/>
                    </a:lnTo>
                    <a:lnTo>
                      <a:pt x="2256" y="702"/>
                    </a:lnTo>
                    <a:lnTo>
                      <a:pt x="2264" y="706"/>
                    </a:lnTo>
                    <a:lnTo>
                      <a:pt x="2268" y="708"/>
                    </a:lnTo>
                    <a:lnTo>
                      <a:pt x="2270" y="704"/>
                    </a:lnTo>
                    <a:lnTo>
                      <a:pt x="2272" y="704"/>
                    </a:lnTo>
                    <a:lnTo>
                      <a:pt x="2276" y="698"/>
                    </a:lnTo>
                    <a:lnTo>
                      <a:pt x="2276" y="694"/>
                    </a:lnTo>
                    <a:lnTo>
                      <a:pt x="2276" y="690"/>
                    </a:lnTo>
                    <a:lnTo>
                      <a:pt x="2268" y="688"/>
                    </a:lnTo>
                    <a:lnTo>
                      <a:pt x="2268" y="686"/>
                    </a:lnTo>
                    <a:lnTo>
                      <a:pt x="2268" y="684"/>
                    </a:lnTo>
                    <a:lnTo>
                      <a:pt x="2270" y="684"/>
                    </a:lnTo>
                    <a:lnTo>
                      <a:pt x="2274" y="684"/>
                    </a:lnTo>
                    <a:lnTo>
                      <a:pt x="2272" y="678"/>
                    </a:lnTo>
                    <a:lnTo>
                      <a:pt x="2270" y="678"/>
                    </a:lnTo>
                    <a:lnTo>
                      <a:pt x="2266" y="672"/>
                    </a:lnTo>
                    <a:lnTo>
                      <a:pt x="2264" y="654"/>
                    </a:lnTo>
                    <a:lnTo>
                      <a:pt x="2260" y="654"/>
                    </a:lnTo>
                    <a:lnTo>
                      <a:pt x="2258" y="652"/>
                    </a:lnTo>
                    <a:lnTo>
                      <a:pt x="2258" y="650"/>
                    </a:lnTo>
                    <a:lnTo>
                      <a:pt x="2260" y="648"/>
                    </a:lnTo>
                    <a:lnTo>
                      <a:pt x="2262" y="650"/>
                    </a:lnTo>
                    <a:lnTo>
                      <a:pt x="2258" y="640"/>
                    </a:lnTo>
                    <a:lnTo>
                      <a:pt x="2256" y="644"/>
                    </a:lnTo>
                    <a:lnTo>
                      <a:pt x="2252" y="642"/>
                    </a:lnTo>
                    <a:lnTo>
                      <a:pt x="2250" y="640"/>
                    </a:lnTo>
                    <a:lnTo>
                      <a:pt x="2248" y="640"/>
                    </a:lnTo>
                    <a:lnTo>
                      <a:pt x="2244" y="636"/>
                    </a:lnTo>
                    <a:lnTo>
                      <a:pt x="2244" y="626"/>
                    </a:lnTo>
                    <a:lnTo>
                      <a:pt x="2248" y="624"/>
                    </a:lnTo>
                    <a:lnTo>
                      <a:pt x="2250" y="626"/>
                    </a:lnTo>
                    <a:lnTo>
                      <a:pt x="2254" y="628"/>
                    </a:lnTo>
                    <a:lnTo>
                      <a:pt x="2258" y="626"/>
                    </a:lnTo>
                    <a:lnTo>
                      <a:pt x="2256" y="628"/>
                    </a:lnTo>
                    <a:lnTo>
                      <a:pt x="2258" y="630"/>
                    </a:lnTo>
                    <a:lnTo>
                      <a:pt x="2264" y="628"/>
                    </a:lnTo>
                    <a:lnTo>
                      <a:pt x="2262" y="630"/>
                    </a:lnTo>
                    <a:lnTo>
                      <a:pt x="2262" y="632"/>
                    </a:lnTo>
                    <a:lnTo>
                      <a:pt x="2266" y="630"/>
                    </a:lnTo>
                    <a:lnTo>
                      <a:pt x="2268" y="626"/>
                    </a:lnTo>
                    <a:lnTo>
                      <a:pt x="2276" y="624"/>
                    </a:lnTo>
                    <a:lnTo>
                      <a:pt x="2284" y="614"/>
                    </a:lnTo>
                    <a:lnTo>
                      <a:pt x="2292" y="606"/>
                    </a:lnTo>
                    <a:lnTo>
                      <a:pt x="2292" y="602"/>
                    </a:lnTo>
                    <a:lnTo>
                      <a:pt x="2294" y="598"/>
                    </a:lnTo>
                    <a:lnTo>
                      <a:pt x="2294" y="594"/>
                    </a:lnTo>
                    <a:lnTo>
                      <a:pt x="2286" y="586"/>
                    </a:lnTo>
                    <a:lnTo>
                      <a:pt x="2286" y="576"/>
                    </a:lnTo>
                    <a:lnTo>
                      <a:pt x="2288" y="576"/>
                    </a:lnTo>
                    <a:lnTo>
                      <a:pt x="2290" y="576"/>
                    </a:lnTo>
                    <a:lnTo>
                      <a:pt x="2290" y="578"/>
                    </a:lnTo>
                    <a:lnTo>
                      <a:pt x="2294" y="576"/>
                    </a:lnTo>
                    <a:lnTo>
                      <a:pt x="2294" y="570"/>
                    </a:lnTo>
                    <a:lnTo>
                      <a:pt x="2296" y="572"/>
                    </a:lnTo>
                    <a:lnTo>
                      <a:pt x="2296" y="568"/>
                    </a:lnTo>
                    <a:lnTo>
                      <a:pt x="2298" y="572"/>
                    </a:lnTo>
                    <a:lnTo>
                      <a:pt x="2300" y="576"/>
                    </a:lnTo>
                    <a:lnTo>
                      <a:pt x="2302" y="574"/>
                    </a:lnTo>
                    <a:lnTo>
                      <a:pt x="2304" y="568"/>
                    </a:lnTo>
                    <a:lnTo>
                      <a:pt x="2306" y="568"/>
                    </a:lnTo>
                    <a:lnTo>
                      <a:pt x="2306" y="578"/>
                    </a:lnTo>
                    <a:lnTo>
                      <a:pt x="2304" y="580"/>
                    </a:lnTo>
                    <a:lnTo>
                      <a:pt x="2302" y="580"/>
                    </a:lnTo>
                    <a:lnTo>
                      <a:pt x="2300" y="578"/>
                    </a:lnTo>
                    <a:lnTo>
                      <a:pt x="2304" y="588"/>
                    </a:lnTo>
                    <a:lnTo>
                      <a:pt x="2306" y="588"/>
                    </a:lnTo>
                    <a:lnTo>
                      <a:pt x="2306" y="592"/>
                    </a:lnTo>
                    <a:lnTo>
                      <a:pt x="2306" y="596"/>
                    </a:lnTo>
                    <a:lnTo>
                      <a:pt x="2310" y="598"/>
                    </a:lnTo>
                    <a:lnTo>
                      <a:pt x="2314" y="598"/>
                    </a:lnTo>
                    <a:lnTo>
                      <a:pt x="2318" y="600"/>
                    </a:lnTo>
                    <a:lnTo>
                      <a:pt x="2324" y="598"/>
                    </a:lnTo>
                    <a:lnTo>
                      <a:pt x="2326" y="596"/>
                    </a:lnTo>
                    <a:lnTo>
                      <a:pt x="2328" y="596"/>
                    </a:lnTo>
                    <a:lnTo>
                      <a:pt x="2334" y="596"/>
                    </a:lnTo>
                    <a:lnTo>
                      <a:pt x="2336" y="596"/>
                    </a:lnTo>
                    <a:lnTo>
                      <a:pt x="2340" y="600"/>
                    </a:lnTo>
                    <a:lnTo>
                      <a:pt x="2342" y="600"/>
                    </a:lnTo>
                    <a:lnTo>
                      <a:pt x="2346" y="602"/>
                    </a:lnTo>
                    <a:lnTo>
                      <a:pt x="2344" y="606"/>
                    </a:lnTo>
                    <a:lnTo>
                      <a:pt x="2346" y="608"/>
                    </a:lnTo>
                    <a:lnTo>
                      <a:pt x="2346" y="616"/>
                    </a:lnTo>
                    <a:lnTo>
                      <a:pt x="2352" y="622"/>
                    </a:lnTo>
                    <a:lnTo>
                      <a:pt x="2352" y="624"/>
                    </a:lnTo>
                    <a:lnTo>
                      <a:pt x="2354" y="626"/>
                    </a:lnTo>
                    <a:lnTo>
                      <a:pt x="2356" y="626"/>
                    </a:lnTo>
                    <a:lnTo>
                      <a:pt x="2358" y="626"/>
                    </a:lnTo>
                    <a:lnTo>
                      <a:pt x="2360" y="626"/>
                    </a:lnTo>
                    <a:lnTo>
                      <a:pt x="2358" y="624"/>
                    </a:lnTo>
                    <a:lnTo>
                      <a:pt x="2360" y="622"/>
                    </a:lnTo>
                    <a:lnTo>
                      <a:pt x="2360" y="624"/>
                    </a:lnTo>
                    <a:lnTo>
                      <a:pt x="2364" y="624"/>
                    </a:lnTo>
                    <a:lnTo>
                      <a:pt x="2364" y="620"/>
                    </a:lnTo>
                    <a:lnTo>
                      <a:pt x="2364" y="618"/>
                    </a:lnTo>
                    <a:lnTo>
                      <a:pt x="2364" y="624"/>
                    </a:lnTo>
                    <a:lnTo>
                      <a:pt x="2362" y="626"/>
                    </a:lnTo>
                    <a:lnTo>
                      <a:pt x="2366" y="630"/>
                    </a:lnTo>
                    <a:lnTo>
                      <a:pt x="2370" y="630"/>
                    </a:lnTo>
                    <a:lnTo>
                      <a:pt x="2372" y="630"/>
                    </a:lnTo>
                    <a:lnTo>
                      <a:pt x="2370" y="632"/>
                    </a:lnTo>
                    <a:lnTo>
                      <a:pt x="2374" y="634"/>
                    </a:lnTo>
                    <a:lnTo>
                      <a:pt x="2374" y="638"/>
                    </a:lnTo>
                    <a:lnTo>
                      <a:pt x="2376" y="638"/>
                    </a:lnTo>
                    <a:lnTo>
                      <a:pt x="2378" y="636"/>
                    </a:lnTo>
                    <a:lnTo>
                      <a:pt x="2378" y="640"/>
                    </a:lnTo>
                    <a:lnTo>
                      <a:pt x="2380" y="640"/>
                    </a:lnTo>
                    <a:lnTo>
                      <a:pt x="2382" y="638"/>
                    </a:lnTo>
                    <a:lnTo>
                      <a:pt x="2384" y="636"/>
                    </a:lnTo>
                    <a:lnTo>
                      <a:pt x="2384" y="632"/>
                    </a:lnTo>
                    <a:lnTo>
                      <a:pt x="2386" y="634"/>
                    </a:lnTo>
                    <a:lnTo>
                      <a:pt x="2382" y="640"/>
                    </a:lnTo>
                    <a:lnTo>
                      <a:pt x="2386" y="644"/>
                    </a:lnTo>
                    <a:lnTo>
                      <a:pt x="2388" y="644"/>
                    </a:lnTo>
                    <a:lnTo>
                      <a:pt x="2390" y="642"/>
                    </a:lnTo>
                    <a:lnTo>
                      <a:pt x="2390" y="636"/>
                    </a:lnTo>
                    <a:lnTo>
                      <a:pt x="2388" y="636"/>
                    </a:lnTo>
                    <a:lnTo>
                      <a:pt x="2388" y="634"/>
                    </a:lnTo>
                    <a:lnTo>
                      <a:pt x="2390" y="634"/>
                    </a:lnTo>
                    <a:lnTo>
                      <a:pt x="2392" y="636"/>
                    </a:lnTo>
                    <a:lnTo>
                      <a:pt x="2396" y="638"/>
                    </a:lnTo>
                    <a:lnTo>
                      <a:pt x="2398" y="638"/>
                    </a:lnTo>
                    <a:lnTo>
                      <a:pt x="2396" y="632"/>
                    </a:lnTo>
                    <a:lnTo>
                      <a:pt x="2394" y="630"/>
                    </a:lnTo>
                    <a:lnTo>
                      <a:pt x="2392" y="630"/>
                    </a:lnTo>
                    <a:lnTo>
                      <a:pt x="2390" y="628"/>
                    </a:lnTo>
                    <a:lnTo>
                      <a:pt x="2392" y="626"/>
                    </a:lnTo>
                    <a:lnTo>
                      <a:pt x="2392" y="624"/>
                    </a:lnTo>
                    <a:lnTo>
                      <a:pt x="2388" y="624"/>
                    </a:lnTo>
                    <a:lnTo>
                      <a:pt x="2390" y="622"/>
                    </a:lnTo>
                    <a:lnTo>
                      <a:pt x="2394" y="622"/>
                    </a:lnTo>
                    <a:lnTo>
                      <a:pt x="2394" y="618"/>
                    </a:lnTo>
                    <a:lnTo>
                      <a:pt x="2396" y="620"/>
                    </a:lnTo>
                    <a:lnTo>
                      <a:pt x="2402" y="616"/>
                    </a:lnTo>
                    <a:lnTo>
                      <a:pt x="2400" y="610"/>
                    </a:lnTo>
                    <a:lnTo>
                      <a:pt x="2398" y="610"/>
                    </a:lnTo>
                    <a:lnTo>
                      <a:pt x="2394" y="608"/>
                    </a:lnTo>
                    <a:lnTo>
                      <a:pt x="2402" y="608"/>
                    </a:lnTo>
                    <a:lnTo>
                      <a:pt x="2400" y="606"/>
                    </a:lnTo>
                    <a:lnTo>
                      <a:pt x="2402" y="602"/>
                    </a:lnTo>
                    <a:lnTo>
                      <a:pt x="2406" y="600"/>
                    </a:lnTo>
                    <a:lnTo>
                      <a:pt x="2410" y="598"/>
                    </a:lnTo>
                    <a:lnTo>
                      <a:pt x="2418" y="600"/>
                    </a:lnTo>
                    <a:lnTo>
                      <a:pt x="2418" y="598"/>
                    </a:lnTo>
                    <a:lnTo>
                      <a:pt x="2418" y="596"/>
                    </a:lnTo>
                    <a:lnTo>
                      <a:pt x="2414" y="594"/>
                    </a:lnTo>
                    <a:lnTo>
                      <a:pt x="2412" y="590"/>
                    </a:lnTo>
                    <a:lnTo>
                      <a:pt x="2414" y="586"/>
                    </a:lnTo>
                    <a:lnTo>
                      <a:pt x="2416" y="590"/>
                    </a:lnTo>
                    <a:lnTo>
                      <a:pt x="2420" y="592"/>
                    </a:lnTo>
                    <a:lnTo>
                      <a:pt x="2422" y="594"/>
                    </a:lnTo>
                    <a:lnTo>
                      <a:pt x="2424" y="596"/>
                    </a:lnTo>
                    <a:lnTo>
                      <a:pt x="2426" y="592"/>
                    </a:lnTo>
                    <a:lnTo>
                      <a:pt x="2426" y="590"/>
                    </a:lnTo>
                    <a:lnTo>
                      <a:pt x="2426" y="584"/>
                    </a:lnTo>
                    <a:lnTo>
                      <a:pt x="2430" y="582"/>
                    </a:lnTo>
                    <a:lnTo>
                      <a:pt x="2432" y="580"/>
                    </a:lnTo>
                    <a:lnTo>
                      <a:pt x="2434" y="580"/>
                    </a:lnTo>
                    <a:lnTo>
                      <a:pt x="2438" y="580"/>
                    </a:lnTo>
                    <a:lnTo>
                      <a:pt x="2438" y="576"/>
                    </a:lnTo>
                    <a:lnTo>
                      <a:pt x="2436" y="576"/>
                    </a:lnTo>
                    <a:close/>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8" name="Freeform 527"/>
              <p:cNvSpPr/>
              <p:nvPr/>
            </p:nvSpPr>
            <p:spPr bwMode="auto">
              <a:xfrm>
                <a:off x="2223147" y="3048894"/>
                <a:ext cx="501246" cy="330944"/>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lnTo>
                      <a:pt x="34"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9" name="Freeform 528"/>
              <p:cNvSpPr/>
              <p:nvPr/>
            </p:nvSpPr>
            <p:spPr bwMode="auto">
              <a:xfrm>
                <a:off x="2223147" y="3048894"/>
                <a:ext cx="501246" cy="330944"/>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0" name="Freeform 529"/>
              <p:cNvSpPr/>
              <p:nvPr/>
            </p:nvSpPr>
            <p:spPr bwMode="auto">
              <a:xfrm>
                <a:off x="2854799" y="3419003"/>
                <a:ext cx="199684" cy="278071"/>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lnTo>
                      <a:pt x="11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1" name="Freeform 530"/>
              <p:cNvSpPr/>
              <p:nvPr/>
            </p:nvSpPr>
            <p:spPr bwMode="auto">
              <a:xfrm>
                <a:off x="2854799" y="3419003"/>
                <a:ext cx="199684" cy="278071"/>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2" name="Freeform 531"/>
              <p:cNvSpPr/>
              <p:nvPr/>
            </p:nvSpPr>
            <p:spPr bwMode="auto">
              <a:xfrm>
                <a:off x="3009656" y="3787153"/>
                <a:ext cx="195608" cy="231073"/>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lnTo>
                      <a:pt x="0"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3" name="Freeform 532"/>
              <p:cNvSpPr/>
              <p:nvPr/>
            </p:nvSpPr>
            <p:spPr bwMode="auto">
              <a:xfrm>
                <a:off x="3009656" y="3787153"/>
                <a:ext cx="195608" cy="231073"/>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4" name="Freeform 533"/>
              <p:cNvSpPr/>
              <p:nvPr/>
            </p:nvSpPr>
            <p:spPr bwMode="auto">
              <a:xfrm>
                <a:off x="3195077" y="4153344"/>
                <a:ext cx="87616" cy="95955"/>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w 80"/>
                  <a:gd name="T105" fmla="*/ 68 h 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lnTo>
                      <a:pt x="0" y="6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5" name="Freeform 534"/>
              <p:cNvSpPr/>
              <p:nvPr/>
            </p:nvSpPr>
            <p:spPr bwMode="auto">
              <a:xfrm>
                <a:off x="3195077" y="4153344"/>
                <a:ext cx="87616" cy="95955"/>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6" name="Freeform 535"/>
              <p:cNvSpPr/>
              <p:nvPr/>
            </p:nvSpPr>
            <p:spPr bwMode="auto">
              <a:xfrm>
                <a:off x="3148212" y="3485583"/>
                <a:ext cx="79467" cy="119452"/>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7" name="Freeform 536"/>
              <p:cNvSpPr/>
              <p:nvPr/>
            </p:nvSpPr>
            <p:spPr bwMode="auto">
              <a:xfrm>
                <a:off x="3148212" y="3485583"/>
                <a:ext cx="79467" cy="119452"/>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8" name="Freeform 537"/>
              <p:cNvSpPr/>
              <p:nvPr/>
            </p:nvSpPr>
            <p:spPr bwMode="auto">
              <a:xfrm>
                <a:off x="3262317" y="3532581"/>
                <a:ext cx="46865" cy="60705"/>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w 44"/>
                  <a:gd name="T53" fmla="*/ 50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lnTo>
                      <a:pt x="0" y="5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9" name="Freeform 538"/>
              <p:cNvSpPr/>
              <p:nvPr/>
            </p:nvSpPr>
            <p:spPr bwMode="auto">
              <a:xfrm>
                <a:off x="3262317" y="3532581"/>
                <a:ext cx="46865" cy="60705"/>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0" name="Freeform 539"/>
              <p:cNvSpPr/>
              <p:nvPr/>
            </p:nvSpPr>
            <p:spPr bwMode="auto">
              <a:xfrm>
                <a:off x="4594899" y="2851112"/>
                <a:ext cx="50940" cy="43081"/>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30 w 46"/>
                  <a:gd name="T61" fmla="*/ 2 h 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lnTo>
                      <a:pt x="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1" name="Freeform 540"/>
              <p:cNvSpPr/>
              <p:nvPr/>
            </p:nvSpPr>
            <p:spPr bwMode="auto">
              <a:xfrm>
                <a:off x="4594899" y="2851112"/>
                <a:ext cx="50940" cy="43081"/>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2" name="Freeform 541"/>
              <p:cNvSpPr/>
              <p:nvPr/>
            </p:nvSpPr>
            <p:spPr bwMode="auto">
              <a:xfrm>
                <a:off x="5693159" y="3135057"/>
                <a:ext cx="148743" cy="31919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lnTo>
                      <a:pt x="30" y="19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3" name="Freeform 542"/>
              <p:cNvSpPr/>
              <p:nvPr/>
            </p:nvSpPr>
            <p:spPr bwMode="auto">
              <a:xfrm>
                <a:off x="5693159" y="3135057"/>
                <a:ext cx="148743" cy="31919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4" name="Freeform 543"/>
              <p:cNvSpPr/>
              <p:nvPr/>
            </p:nvSpPr>
            <p:spPr bwMode="auto">
              <a:xfrm>
                <a:off x="5860241" y="3377879"/>
                <a:ext cx="87616" cy="72456"/>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lnTo>
                      <a:pt x="32" y="6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5" name="Freeform 544"/>
              <p:cNvSpPr/>
              <p:nvPr/>
            </p:nvSpPr>
            <p:spPr bwMode="auto">
              <a:xfrm>
                <a:off x="5860241" y="3377879"/>
                <a:ext cx="87616" cy="72456"/>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6" name="Freeform 545"/>
              <p:cNvSpPr/>
              <p:nvPr/>
            </p:nvSpPr>
            <p:spPr bwMode="auto">
              <a:xfrm>
                <a:off x="6053811" y="3540414"/>
                <a:ext cx="22414" cy="15666"/>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18 w 20"/>
                  <a:gd name="T41" fmla="*/ 2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lnTo>
                      <a:pt x="1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7" name="Freeform 546"/>
              <p:cNvSpPr/>
              <p:nvPr/>
            </p:nvSpPr>
            <p:spPr bwMode="auto">
              <a:xfrm>
                <a:off x="6053811" y="3540414"/>
                <a:ext cx="22414" cy="15666"/>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8" name="Freeform 547"/>
              <p:cNvSpPr/>
              <p:nvPr/>
            </p:nvSpPr>
            <p:spPr bwMode="auto">
              <a:xfrm>
                <a:off x="4656026" y="3642243"/>
                <a:ext cx="179308" cy="178200"/>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122 w 162"/>
                  <a:gd name="T89" fmla="*/ 30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lnTo>
                      <a:pt x="122"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9" name="Freeform 548"/>
              <p:cNvSpPr/>
              <p:nvPr/>
            </p:nvSpPr>
            <p:spPr bwMode="auto">
              <a:xfrm>
                <a:off x="4656026" y="3642243"/>
                <a:ext cx="179308" cy="178200"/>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0" name="Freeform 549"/>
              <p:cNvSpPr/>
              <p:nvPr/>
            </p:nvSpPr>
            <p:spPr bwMode="auto">
              <a:xfrm>
                <a:off x="3951021" y="2984273"/>
                <a:ext cx="197647" cy="160576"/>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lnTo>
                      <a:pt x="66" y="1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1" name="Freeform 550"/>
              <p:cNvSpPr/>
              <p:nvPr/>
            </p:nvSpPr>
            <p:spPr bwMode="auto">
              <a:xfrm>
                <a:off x="3951021" y="2984273"/>
                <a:ext cx="197647" cy="160576"/>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2" name="Freeform 551"/>
              <p:cNvSpPr/>
              <p:nvPr/>
            </p:nvSpPr>
            <p:spPr bwMode="auto">
              <a:xfrm>
                <a:off x="3942871" y="3458168"/>
                <a:ext cx="50940" cy="48955"/>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lnTo>
                      <a:pt x="2"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3" name="Freeform 552"/>
              <p:cNvSpPr/>
              <p:nvPr/>
            </p:nvSpPr>
            <p:spPr bwMode="auto">
              <a:xfrm>
                <a:off x="3942871" y="3458168"/>
                <a:ext cx="50940" cy="48955"/>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4" name="Freeform 553"/>
              <p:cNvSpPr/>
              <p:nvPr/>
            </p:nvSpPr>
            <p:spPr bwMode="auto">
              <a:xfrm>
                <a:off x="4022337" y="3446418"/>
                <a:ext cx="101879" cy="10574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14 w 92"/>
                  <a:gd name="T95" fmla="*/ 95 h 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lnTo>
                      <a:pt x="14" y="9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5" name="Freeform 554"/>
              <p:cNvSpPr/>
              <p:nvPr/>
            </p:nvSpPr>
            <p:spPr bwMode="auto">
              <a:xfrm>
                <a:off x="4022337" y="3446418"/>
                <a:ext cx="101879" cy="10574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6" name="Freeform 555"/>
              <p:cNvSpPr/>
              <p:nvPr/>
            </p:nvSpPr>
            <p:spPr bwMode="auto">
              <a:xfrm>
                <a:off x="4160893" y="3438585"/>
                <a:ext cx="36677" cy="84204"/>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22 w 34"/>
                  <a:gd name="T57" fmla="*/ 75 h 7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lnTo>
                      <a:pt x="22" y="7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7" name="Freeform 556"/>
              <p:cNvSpPr/>
              <p:nvPr/>
            </p:nvSpPr>
            <p:spPr bwMode="auto">
              <a:xfrm>
                <a:off x="4160893" y="3438585"/>
                <a:ext cx="36677" cy="84204"/>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8" name="Freeform 557"/>
              <p:cNvSpPr/>
              <p:nvPr/>
            </p:nvSpPr>
            <p:spPr bwMode="auto">
              <a:xfrm>
                <a:off x="4843484" y="3424877"/>
                <a:ext cx="171157" cy="229115"/>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8 w 154"/>
                  <a:gd name="T99" fmla="*/ 203 h 20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lnTo>
                      <a:pt x="8" y="20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9" name="Freeform 558"/>
              <p:cNvSpPr/>
              <p:nvPr/>
            </p:nvSpPr>
            <p:spPr bwMode="auto">
              <a:xfrm>
                <a:off x="4843484" y="3424877"/>
                <a:ext cx="171157" cy="229115"/>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0" name="Freeform 559"/>
              <p:cNvSpPr/>
              <p:nvPr/>
            </p:nvSpPr>
            <p:spPr bwMode="auto">
              <a:xfrm>
                <a:off x="4580636" y="3888981"/>
                <a:ext cx="130406" cy="123369"/>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lnTo>
                      <a:pt x="52"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1" name="Freeform 560"/>
              <p:cNvSpPr/>
              <p:nvPr/>
            </p:nvSpPr>
            <p:spPr bwMode="auto">
              <a:xfrm>
                <a:off x="4580636" y="3888981"/>
                <a:ext cx="130406" cy="123369"/>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2" name="Freeform 561"/>
              <p:cNvSpPr/>
              <p:nvPr/>
            </p:nvSpPr>
            <p:spPr bwMode="auto">
              <a:xfrm>
                <a:off x="4527659" y="3229053"/>
                <a:ext cx="275074" cy="336818"/>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lnTo>
                      <a:pt x="32"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3" name="Freeform 562"/>
              <p:cNvSpPr/>
              <p:nvPr/>
            </p:nvSpPr>
            <p:spPr bwMode="auto">
              <a:xfrm>
                <a:off x="4527659" y="3229053"/>
                <a:ext cx="275074" cy="336818"/>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4" name="Freeform 563"/>
              <p:cNvSpPr/>
              <p:nvPr/>
            </p:nvSpPr>
            <p:spPr bwMode="auto">
              <a:xfrm>
                <a:off x="4164968" y="3221220"/>
                <a:ext cx="264886" cy="209533"/>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lnTo>
                      <a:pt x="62"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5" name="Freeform 564"/>
              <p:cNvSpPr/>
              <p:nvPr/>
            </p:nvSpPr>
            <p:spPr bwMode="auto">
              <a:xfrm>
                <a:off x="4164968" y="3221220"/>
                <a:ext cx="264886" cy="209533"/>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6" name="Freeform 565"/>
              <p:cNvSpPr/>
              <p:nvPr/>
            </p:nvSpPr>
            <p:spPr bwMode="auto">
              <a:xfrm>
                <a:off x="4401329" y="2980356"/>
                <a:ext cx="4075" cy="587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2"/>
                    </a:lnTo>
                    <a:lnTo>
                      <a:pt x="4"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7" name="Freeform 566"/>
              <p:cNvSpPr/>
              <p:nvPr/>
            </p:nvSpPr>
            <p:spPr bwMode="auto">
              <a:xfrm>
                <a:off x="4401329" y="2980356"/>
                <a:ext cx="4075" cy="587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2" y="2"/>
                    </a:lnTo>
                    <a:lnTo>
                      <a:pt x="4" y="2"/>
                    </a:lnTo>
                    <a:lnTo>
                      <a:pt x="4"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8" name="Freeform 567"/>
              <p:cNvSpPr/>
              <p:nvPr/>
            </p:nvSpPr>
            <p:spPr bwMode="auto">
              <a:xfrm>
                <a:off x="4998341" y="3170305"/>
                <a:ext cx="2038" cy="5875"/>
              </a:xfrm>
              <a:custGeom>
                <a:avLst/>
                <a:gdLst>
                  <a:gd name="T0" fmla="*/ 2 w 2"/>
                  <a:gd name="T1" fmla="*/ 0 h 4"/>
                  <a:gd name="T2" fmla="*/ 0 w 2"/>
                  <a:gd name="T3" fmla="*/ 0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0"/>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9" name="Freeform 568"/>
              <p:cNvSpPr/>
              <p:nvPr/>
            </p:nvSpPr>
            <p:spPr bwMode="auto">
              <a:xfrm>
                <a:off x="4998341" y="3170305"/>
                <a:ext cx="2038" cy="5875"/>
              </a:xfrm>
              <a:custGeom>
                <a:avLst/>
                <a:gdLst>
                  <a:gd name="T0" fmla="*/ 2 w 2"/>
                  <a:gd name="T1" fmla="*/ 0 h 4"/>
                  <a:gd name="T2" fmla="*/ 0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2" y="0"/>
                    </a:moveTo>
                    <a:lnTo>
                      <a:pt x="0"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0" name="Freeform 569"/>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0" y="4"/>
                    </a:lnTo>
                    <a:lnTo>
                      <a:pt x="2"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1" name="Freeform 570"/>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2" name="Freeform 571"/>
              <p:cNvSpPr/>
              <p:nvPr/>
            </p:nvSpPr>
            <p:spPr bwMode="auto">
              <a:xfrm>
                <a:off x="4303524" y="3409211"/>
                <a:ext cx="126330" cy="187991"/>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lnTo>
                      <a:pt x="72" y="15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3" name="Freeform 572"/>
              <p:cNvSpPr/>
              <p:nvPr/>
            </p:nvSpPr>
            <p:spPr bwMode="auto">
              <a:xfrm>
                <a:off x="4303524" y="3409211"/>
                <a:ext cx="126330" cy="187991"/>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4" name="Freeform 573"/>
              <p:cNvSpPr/>
              <p:nvPr/>
            </p:nvSpPr>
            <p:spPr bwMode="auto">
              <a:xfrm>
                <a:off x="5634068" y="3135057"/>
                <a:ext cx="57052" cy="2741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46 w 52"/>
                  <a:gd name="T69" fmla="*/ 8 h 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lnTo>
                      <a:pt x="4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5" name="Freeform 574"/>
              <p:cNvSpPr/>
              <p:nvPr/>
            </p:nvSpPr>
            <p:spPr bwMode="auto">
              <a:xfrm>
                <a:off x="5634068" y="3135057"/>
                <a:ext cx="57052" cy="2741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6" name="Freeform 575"/>
              <p:cNvSpPr/>
              <p:nvPr/>
            </p:nvSpPr>
            <p:spPr bwMode="auto">
              <a:xfrm>
                <a:off x="4470607" y="2753200"/>
                <a:ext cx="71315" cy="101829"/>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4 w 66"/>
                  <a:gd name="T109" fmla="*/ 6 h 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7" name="Freeform 576"/>
              <p:cNvSpPr/>
              <p:nvPr/>
            </p:nvSpPr>
            <p:spPr bwMode="auto">
              <a:xfrm>
                <a:off x="4470607" y="2753200"/>
                <a:ext cx="71315" cy="101829"/>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8" name="Freeform 577"/>
              <p:cNvSpPr/>
              <p:nvPr/>
            </p:nvSpPr>
            <p:spPr bwMode="auto">
              <a:xfrm>
                <a:off x="4486907" y="2500586"/>
                <a:ext cx="55014" cy="39165"/>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w 50"/>
                  <a:gd name="T55" fmla="*/ 32 h 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lnTo>
                      <a:pt x="0"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9" name="Freeform 578"/>
              <p:cNvSpPr/>
              <p:nvPr/>
            </p:nvSpPr>
            <p:spPr bwMode="auto">
              <a:xfrm>
                <a:off x="4486907" y="2500586"/>
                <a:ext cx="55014" cy="39165"/>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0" name="Freeform 579"/>
              <p:cNvSpPr/>
              <p:nvPr/>
            </p:nvSpPr>
            <p:spPr bwMode="auto">
              <a:xfrm>
                <a:off x="4741605" y="3035187"/>
                <a:ext cx="71316" cy="80287"/>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58 w 64"/>
                  <a:gd name="T57" fmla="*/ 26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lnTo>
                      <a:pt x="58"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1" name="Freeform 580"/>
              <p:cNvSpPr/>
              <p:nvPr/>
            </p:nvSpPr>
            <p:spPr bwMode="auto">
              <a:xfrm>
                <a:off x="4741605" y="3035187"/>
                <a:ext cx="71316" cy="80287"/>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2" name="Freeform 581"/>
              <p:cNvSpPr/>
              <p:nvPr/>
            </p:nvSpPr>
            <p:spPr bwMode="auto">
              <a:xfrm>
                <a:off x="2956679" y="1278642"/>
                <a:ext cx="904689" cy="1084867"/>
              </a:xfrm>
              <a:custGeom>
                <a:avLst/>
                <a:gdLst>
                  <a:gd name="T0" fmla="*/ 307 w 817"/>
                  <a:gd name="T1" fmla="*/ 72 h 964"/>
                  <a:gd name="T2" fmla="*/ 18 w 817"/>
                  <a:gd name="T3" fmla="*/ 122 h 964"/>
                  <a:gd name="T4" fmla="*/ 20 w 817"/>
                  <a:gd name="T5" fmla="*/ 175 h 964"/>
                  <a:gd name="T6" fmla="*/ 85 w 817"/>
                  <a:gd name="T7" fmla="*/ 197 h 964"/>
                  <a:gd name="T8" fmla="*/ 107 w 817"/>
                  <a:gd name="T9" fmla="*/ 217 h 964"/>
                  <a:gd name="T10" fmla="*/ 40 w 817"/>
                  <a:gd name="T11" fmla="*/ 249 h 964"/>
                  <a:gd name="T12" fmla="*/ 99 w 817"/>
                  <a:gd name="T13" fmla="*/ 289 h 964"/>
                  <a:gd name="T14" fmla="*/ 155 w 817"/>
                  <a:gd name="T15" fmla="*/ 289 h 964"/>
                  <a:gd name="T16" fmla="*/ 217 w 817"/>
                  <a:gd name="T17" fmla="*/ 327 h 964"/>
                  <a:gd name="T18" fmla="*/ 245 w 817"/>
                  <a:gd name="T19" fmla="*/ 392 h 964"/>
                  <a:gd name="T20" fmla="*/ 263 w 817"/>
                  <a:gd name="T21" fmla="*/ 448 h 964"/>
                  <a:gd name="T22" fmla="*/ 263 w 817"/>
                  <a:gd name="T23" fmla="*/ 526 h 964"/>
                  <a:gd name="T24" fmla="*/ 295 w 817"/>
                  <a:gd name="T25" fmla="*/ 532 h 964"/>
                  <a:gd name="T26" fmla="*/ 317 w 817"/>
                  <a:gd name="T27" fmla="*/ 566 h 964"/>
                  <a:gd name="T28" fmla="*/ 275 w 817"/>
                  <a:gd name="T29" fmla="*/ 578 h 964"/>
                  <a:gd name="T30" fmla="*/ 337 w 817"/>
                  <a:gd name="T31" fmla="*/ 643 h 964"/>
                  <a:gd name="T32" fmla="*/ 299 w 817"/>
                  <a:gd name="T33" fmla="*/ 683 h 964"/>
                  <a:gd name="T34" fmla="*/ 293 w 817"/>
                  <a:gd name="T35" fmla="*/ 685 h 964"/>
                  <a:gd name="T36" fmla="*/ 287 w 817"/>
                  <a:gd name="T37" fmla="*/ 735 h 964"/>
                  <a:gd name="T38" fmla="*/ 299 w 817"/>
                  <a:gd name="T39" fmla="*/ 771 h 964"/>
                  <a:gd name="T40" fmla="*/ 313 w 817"/>
                  <a:gd name="T41" fmla="*/ 809 h 964"/>
                  <a:gd name="T42" fmla="*/ 327 w 817"/>
                  <a:gd name="T43" fmla="*/ 831 h 964"/>
                  <a:gd name="T44" fmla="*/ 341 w 817"/>
                  <a:gd name="T45" fmla="*/ 879 h 964"/>
                  <a:gd name="T46" fmla="*/ 357 w 817"/>
                  <a:gd name="T47" fmla="*/ 900 h 964"/>
                  <a:gd name="T48" fmla="*/ 365 w 817"/>
                  <a:gd name="T49" fmla="*/ 928 h 964"/>
                  <a:gd name="T50" fmla="*/ 397 w 817"/>
                  <a:gd name="T51" fmla="*/ 934 h 964"/>
                  <a:gd name="T52" fmla="*/ 407 w 817"/>
                  <a:gd name="T53" fmla="*/ 946 h 964"/>
                  <a:gd name="T54" fmla="*/ 445 w 817"/>
                  <a:gd name="T55" fmla="*/ 958 h 964"/>
                  <a:gd name="T56" fmla="*/ 457 w 817"/>
                  <a:gd name="T57" fmla="*/ 902 h 964"/>
                  <a:gd name="T58" fmla="*/ 465 w 817"/>
                  <a:gd name="T59" fmla="*/ 871 h 964"/>
                  <a:gd name="T60" fmla="*/ 479 w 817"/>
                  <a:gd name="T61" fmla="*/ 849 h 964"/>
                  <a:gd name="T62" fmla="*/ 477 w 817"/>
                  <a:gd name="T63" fmla="*/ 811 h 964"/>
                  <a:gd name="T64" fmla="*/ 489 w 817"/>
                  <a:gd name="T65" fmla="*/ 787 h 964"/>
                  <a:gd name="T66" fmla="*/ 515 w 817"/>
                  <a:gd name="T67" fmla="*/ 769 h 964"/>
                  <a:gd name="T68" fmla="*/ 527 w 817"/>
                  <a:gd name="T69" fmla="*/ 763 h 964"/>
                  <a:gd name="T70" fmla="*/ 547 w 817"/>
                  <a:gd name="T71" fmla="*/ 771 h 964"/>
                  <a:gd name="T72" fmla="*/ 571 w 817"/>
                  <a:gd name="T73" fmla="*/ 755 h 964"/>
                  <a:gd name="T74" fmla="*/ 587 w 817"/>
                  <a:gd name="T75" fmla="*/ 717 h 964"/>
                  <a:gd name="T76" fmla="*/ 605 w 817"/>
                  <a:gd name="T77" fmla="*/ 683 h 964"/>
                  <a:gd name="T78" fmla="*/ 621 w 817"/>
                  <a:gd name="T79" fmla="*/ 687 h 964"/>
                  <a:gd name="T80" fmla="*/ 639 w 817"/>
                  <a:gd name="T81" fmla="*/ 679 h 964"/>
                  <a:gd name="T82" fmla="*/ 679 w 817"/>
                  <a:gd name="T83" fmla="*/ 671 h 964"/>
                  <a:gd name="T84" fmla="*/ 707 w 817"/>
                  <a:gd name="T85" fmla="*/ 647 h 964"/>
                  <a:gd name="T86" fmla="*/ 729 w 817"/>
                  <a:gd name="T87" fmla="*/ 632 h 964"/>
                  <a:gd name="T88" fmla="*/ 743 w 817"/>
                  <a:gd name="T89" fmla="*/ 612 h 964"/>
                  <a:gd name="T90" fmla="*/ 661 w 817"/>
                  <a:gd name="T91" fmla="*/ 608 h 964"/>
                  <a:gd name="T92" fmla="*/ 691 w 817"/>
                  <a:gd name="T93" fmla="*/ 566 h 964"/>
                  <a:gd name="T94" fmla="*/ 699 w 817"/>
                  <a:gd name="T95" fmla="*/ 538 h 964"/>
                  <a:gd name="T96" fmla="*/ 765 w 817"/>
                  <a:gd name="T97" fmla="*/ 582 h 964"/>
                  <a:gd name="T98" fmla="*/ 759 w 817"/>
                  <a:gd name="T99" fmla="*/ 534 h 964"/>
                  <a:gd name="T100" fmla="*/ 713 w 817"/>
                  <a:gd name="T101" fmla="*/ 500 h 964"/>
                  <a:gd name="T102" fmla="*/ 703 w 817"/>
                  <a:gd name="T103" fmla="*/ 476 h 964"/>
                  <a:gd name="T104" fmla="*/ 717 w 817"/>
                  <a:gd name="T105" fmla="*/ 442 h 964"/>
                  <a:gd name="T106" fmla="*/ 785 w 817"/>
                  <a:gd name="T107" fmla="*/ 426 h 964"/>
                  <a:gd name="T108" fmla="*/ 785 w 817"/>
                  <a:gd name="T109" fmla="*/ 392 h 964"/>
                  <a:gd name="T110" fmla="*/ 781 w 817"/>
                  <a:gd name="T111" fmla="*/ 353 h 964"/>
                  <a:gd name="T112" fmla="*/ 787 w 817"/>
                  <a:gd name="T113" fmla="*/ 299 h 964"/>
                  <a:gd name="T114" fmla="*/ 757 w 817"/>
                  <a:gd name="T115" fmla="*/ 275 h 964"/>
                  <a:gd name="T116" fmla="*/ 767 w 817"/>
                  <a:gd name="T117" fmla="*/ 245 h 964"/>
                  <a:gd name="T118" fmla="*/ 787 w 817"/>
                  <a:gd name="T119" fmla="*/ 205 h 964"/>
                  <a:gd name="T120" fmla="*/ 765 w 817"/>
                  <a:gd name="T121" fmla="*/ 191 h 964"/>
                  <a:gd name="T122" fmla="*/ 795 w 817"/>
                  <a:gd name="T123" fmla="*/ 82 h 964"/>
                  <a:gd name="T124" fmla="*/ 629 w 817"/>
                  <a:gd name="T125" fmla="*/ 0 h 9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7" h="964">
                    <a:moveTo>
                      <a:pt x="417" y="22"/>
                    </a:moveTo>
                    <a:lnTo>
                      <a:pt x="455" y="18"/>
                    </a:lnTo>
                    <a:lnTo>
                      <a:pt x="365" y="26"/>
                    </a:lnTo>
                    <a:lnTo>
                      <a:pt x="365" y="32"/>
                    </a:lnTo>
                    <a:lnTo>
                      <a:pt x="361" y="34"/>
                    </a:lnTo>
                    <a:lnTo>
                      <a:pt x="357" y="34"/>
                    </a:lnTo>
                    <a:lnTo>
                      <a:pt x="353" y="30"/>
                    </a:lnTo>
                    <a:lnTo>
                      <a:pt x="349" y="38"/>
                    </a:lnTo>
                    <a:lnTo>
                      <a:pt x="349" y="40"/>
                    </a:lnTo>
                    <a:lnTo>
                      <a:pt x="349" y="50"/>
                    </a:lnTo>
                    <a:lnTo>
                      <a:pt x="347" y="56"/>
                    </a:lnTo>
                    <a:lnTo>
                      <a:pt x="339" y="60"/>
                    </a:lnTo>
                    <a:lnTo>
                      <a:pt x="335" y="64"/>
                    </a:lnTo>
                    <a:lnTo>
                      <a:pt x="331" y="66"/>
                    </a:lnTo>
                    <a:lnTo>
                      <a:pt x="315" y="78"/>
                    </a:lnTo>
                    <a:lnTo>
                      <a:pt x="313" y="78"/>
                    </a:lnTo>
                    <a:lnTo>
                      <a:pt x="313" y="76"/>
                    </a:lnTo>
                    <a:lnTo>
                      <a:pt x="309" y="76"/>
                    </a:lnTo>
                    <a:lnTo>
                      <a:pt x="307" y="72"/>
                    </a:lnTo>
                    <a:lnTo>
                      <a:pt x="303" y="72"/>
                    </a:lnTo>
                    <a:lnTo>
                      <a:pt x="301" y="66"/>
                    </a:lnTo>
                    <a:lnTo>
                      <a:pt x="209" y="66"/>
                    </a:lnTo>
                    <a:lnTo>
                      <a:pt x="209" y="68"/>
                    </a:lnTo>
                    <a:lnTo>
                      <a:pt x="207" y="66"/>
                    </a:lnTo>
                    <a:lnTo>
                      <a:pt x="197" y="64"/>
                    </a:lnTo>
                    <a:lnTo>
                      <a:pt x="52" y="96"/>
                    </a:lnTo>
                    <a:lnTo>
                      <a:pt x="54" y="98"/>
                    </a:lnTo>
                    <a:lnTo>
                      <a:pt x="58" y="100"/>
                    </a:lnTo>
                    <a:lnTo>
                      <a:pt x="58" y="104"/>
                    </a:lnTo>
                    <a:lnTo>
                      <a:pt x="54" y="102"/>
                    </a:lnTo>
                    <a:lnTo>
                      <a:pt x="52" y="102"/>
                    </a:lnTo>
                    <a:lnTo>
                      <a:pt x="50" y="106"/>
                    </a:lnTo>
                    <a:lnTo>
                      <a:pt x="42" y="108"/>
                    </a:lnTo>
                    <a:lnTo>
                      <a:pt x="38" y="110"/>
                    </a:lnTo>
                    <a:lnTo>
                      <a:pt x="30" y="114"/>
                    </a:lnTo>
                    <a:lnTo>
                      <a:pt x="28" y="122"/>
                    </a:lnTo>
                    <a:lnTo>
                      <a:pt x="24" y="120"/>
                    </a:lnTo>
                    <a:lnTo>
                      <a:pt x="18" y="122"/>
                    </a:lnTo>
                    <a:lnTo>
                      <a:pt x="14" y="125"/>
                    </a:lnTo>
                    <a:lnTo>
                      <a:pt x="8" y="127"/>
                    </a:lnTo>
                    <a:lnTo>
                      <a:pt x="4" y="129"/>
                    </a:lnTo>
                    <a:lnTo>
                      <a:pt x="4" y="135"/>
                    </a:lnTo>
                    <a:lnTo>
                      <a:pt x="0" y="141"/>
                    </a:lnTo>
                    <a:lnTo>
                      <a:pt x="2" y="143"/>
                    </a:lnTo>
                    <a:lnTo>
                      <a:pt x="6" y="145"/>
                    </a:lnTo>
                    <a:lnTo>
                      <a:pt x="4" y="147"/>
                    </a:lnTo>
                    <a:lnTo>
                      <a:pt x="2" y="153"/>
                    </a:lnTo>
                    <a:lnTo>
                      <a:pt x="0" y="153"/>
                    </a:lnTo>
                    <a:lnTo>
                      <a:pt x="0" y="157"/>
                    </a:lnTo>
                    <a:lnTo>
                      <a:pt x="4" y="161"/>
                    </a:lnTo>
                    <a:lnTo>
                      <a:pt x="8" y="163"/>
                    </a:lnTo>
                    <a:lnTo>
                      <a:pt x="10" y="165"/>
                    </a:lnTo>
                    <a:lnTo>
                      <a:pt x="10" y="169"/>
                    </a:lnTo>
                    <a:lnTo>
                      <a:pt x="10" y="171"/>
                    </a:lnTo>
                    <a:lnTo>
                      <a:pt x="16" y="173"/>
                    </a:lnTo>
                    <a:lnTo>
                      <a:pt x="18" y="173"/>
                    </a:lnTo>
                    <a:lnTo>
                      <a:pt x="20" y="175"/>
                    </a:lnTo>
                    <a:lnTo>
                      <a:pt x="24" y="175"/>
                    </a:lnTo>
                    <a:lnTo>
                      <a:pt x="24" y="179"/>
                    </a:lnTo>
                    <a:lnTo>
                      <a:pt x="24" y="181"/>
                    </a:lnTo>
                    <a:lnTo>
                      <a:pt x="42" y="177"/>
                    </a:lnTo>
                    <a:lnTo>
                      <a:pt x="36" y="183"/>
                    </a:lnTo>
                    <a:lnTo>
                      <a:pt x="34" y="189"/>
                    </a:lnTo>
                    <a:lnTo>
                      <a:pt x="44" y="189"/>
                    </a:lnTo>
                    <a:lnTo>
                      <a:pt x="48" y="185"/>
                    </a:lnTo>
                    <a:lnTo>
                      <a:pt x="48" y="189"/>
                    </a:lnTo>
                    <a:lnTo>
                      <a:pt x="42" y="193"/>
                    </a:lnTo>
                    <a:lnTo>
                      <a:pt x="42" y="197"/>
                    </a:lnTo>
                    <a:lnTo>
                      <a:pt x="58" y="203"/>
                    </a:lnTo>
                    <a:lnTo>
                      <a:pt x="64" y="199"/>
                    </a:lnTo>
                    <a:lnTo>
                      <a:pt x="64" y="195"/>
                    </a:lnTo>
                    <a:lnTo>
                      <a:pt x="62" y="189"/>
                    </a:lnTo>
                    <a:lnTo>
                      <a:pt x="64" y="189"/>
                    </a:lnTo>
                    <a:lnTo>
                      <a:pt x="68" y="193"/>
                    </a:lnTo>
                    <a:lnTo>
                      <a:pt x="70" y="199"/>
                    </a:lnTo>
                    <a:lnTo>
                      <a:pt x="85" y="197"/>
                    </a:lnTo>
                    <a:lnTo>
                      <a:pt x="89" y="189"/>
                    </a:lnTo>
                    <a:lnTo>
                      <a:pt x="93" y="185"/>
                    </a:lnTo>
                    <a:lnTo>
                      <a:pt x="95" y="185"/>
                    </a:lnTo>
                    <a:lnTo>
                      <a:pt x="95" y="189"/>
                    </a:lnTo>
                    <a:lnTo>
                      <a:pt x="91" y="191"/>
                    </a:lnTo>
                    <a:lnTo>
                      <a:pt x="93" y="193"/>
                    </a:lnTo>
                    <a:lnTo>
                      <a:pt x="95" y="191"/>
                    </a:lnTo>
                    <a:lnTo>
                      <a:pt x="97" y="189"/>
                    </a:lnTo>
                    <a:lnTo>
                      <a:pt x="101" y="187"/>
                    </a:lnTo>
                    <a:lnTo>
                      <a:pt x="101" y="191"/>
                    </a:lnTo>
                    <a:lnTo>
                      <a:pt x="103" y="193"/>
                    </a:lnTo>
                    <a:lnTo>
                      <a:pt x="105" y="197"/>
                    </a:lnTo>
                    <a:lnTo>
                      <a:pt x="105" y="201"/>
                    </a:lnTo>
                    <a:lnTo>
                      <a:pt x="103" y="205"/>
                    </a:lnTo>
                    <a:lnTo>
                      <a:pt x="97" y="203"/>
                    </a:lnTo>
                    <a:lnTo>
                      <a:pt x="95" y="207"/>
                    </a:lnTo>
                    <a:lnTo>
                      <a:pt x="97" y="209"/>
                    </a:lnTo>
                    <a:lnTo>
                      <a:pt x="97" y="213"/>
                    </a:lnTo>
                    <a:lnTo>
                      <a:pt x="107" y="217"/>
                    </a:lnTo>
                    <a:lnTo>
                      <a:pt x="107" y="219"/>
                    </a:lnTo>
                    <a:lnTo>
                      <a:pt x="107" y="221"/>
                    </a:lnTo>
                    <a:lnTo>
                      <a:pt x="105" y="223"/>
                    </a:lnTo>
                    <a:lnTo>
                      <a:pt x="101" y="225"/>
                    </a:lnTo>
                    <a:lnTo>
                      <a:pt x="99" y="227"/>
                    </a:lnTo>
                    <a:lnTo>
                      <a:pt x="97" y="229"/>
                    </a:lnTo>
                    <a:lnTo>
                      <a:pt x="78" y="223"/>
                    </a:lnTo>
                    <a:lnTo>
                      <a:pt x="70" y="225"/>
                    </a:lnTo>
                    <a:lnTo>
                      <a:pt x="40" y="219"/>
                    </a:lnTo>
                    <a:lnTo>
                      <a:pt x="32" y="223"/>
                    </a:lnTo>
                    <a:lnTo>
                      <a:pt x="32" y="227"/>
                    </a:lnTo>
                    <a:lnTo>
                      <a:pt x="28" y="227"/>
                    </a:lnTo>
                    <a:lnTo>
                      <a:pt x="22" y="237"/>
                    </a:lnTo>
                    <a:lnTo>
                      <a:pt x="24" y="237"/>
                    </a:lnTo>
                    <a:lnTo>
                      <a:pt x="30" y="241"/>
                    </a:lnTo>
                    <a:lnTo>
                      <a:pt x="30" y="243"/>
                    </a:lnTo>
                    <a:lnTo>
                      <a:pt x="30" y="247"/>
                    </a:lnTo>
                    <a:lnTo>
                      <a:pt x="34" y="251"/>
                    </a:lnTo>
                    <a:lnTo>
                      <a:pt x="40" y="249"/>
                    </a:lnTo>
                    <a:lnTo>
                      <a:pt x="46" y="235"/>
                    </a:lnTo>
                    <a:lnTo>
                      <a:pt x="48" y="237"/>
                    </a:lnTo>
                    <a:lnTo>
                      <a:pt x="42" y="247"/>
                    </a:lnTo>
                    <a:lnTo>
                      <a:pt x="44" y="253"/>
                    </a:lnTo>
                    <a:lnTo>
                      <a:pt x="64" y="259"/>
                    </a:lnTo>
                    <a:lnTo>
                      <a:pt x="70" y="257"/>
                    </a:lnTo>
                    <a:lnTo>
                      <a:pt x="70" y="261"/>
                    </a:lnTo>
                    <a:lnTo>
                      <a:pt x="66" y="265"/>
                    </a:lnTo>
                    <a:lnTo>
                      <a:pt x="60" y="265"/>
                    </a:lnTo>
                    <a:lnTo>
                      <a:pt x="50" y="275"/>
                    </a:lnTo>
                    <a:lnTo>
                      <a:pt x="70" y="299"/>
                    </a:lnTo>
                    <a:lnTo>
                      <a:pt x="97" y="309"/>
                    </a:lnTo>
                    <a:lnTo>
                      <a:pt x="89" y="295"/>
                    </a:lnTo>
                    <a:lnTo>
                      <a:pt x="83" y="291"/>
                    </a:lnTo>
                    <a:lnTo>
                      <a:pt x="89" y="287"/>
                    </a:lnTo>
                    <a:lnTo>
                      <a:pt x="91" y="287"/>
                    </a:lnTo>
                    <a:lnTo>
                      <a:pt x="97" y="293"/>
                    </a:lnTo>
                    <a:lnTo>
                      <a:pt x="99" y="293"/>
                    </a:lnTo>
                    <a:lnTo>
                      <a:pt x="99" y="289"/>
                    </a:lnTo>
                    <a:lnTo>
                      <a:pt x="103" y="283"/>
                    </a:lnTo>
                    <a:lnTo>
                      <a:pt x="111" y="285"/>
                    </a:lnTo>
                    <a:lnTo>
                      <a:pt x="109" y="289"/>
                    </a:lnTo>
                    <a:lnTo>
                      <a:pt x="109" y="297"/>
                    </a:lnTo>
                    <a:lnTo>
                      <a:pt x="113" y="301"/>
                    </a:lnTo>
                    <a:lnTo>
                      <a:pt x="115" y="299"/>
                    </a:lnTo>
                    <a:lnTo>
                      <a:pt x="119" y="293"/>
                    </a:lnTo>
                    <a:lnTo>
                      <a:pt x="123" y="291"/>
                    </a:lnTo>
                    <a:lnTo>
                      <a:pt x="125" y="293"/>
                    </a:lnTo>
                    <a:lnTo>
                      <a:pt x="125" y="289"/>
                    </a:lnTo>
                    <a:lnTo>
                      <a:pt x="129" y="285"/>
                    </a:lnTo>
                    <a:lnTo>
                      <a:pt x="133" y="283"/>
                    </a:lnTo>
                    <a:lnTo>
                      <a:pt x="133" y="287"/>
                    </a:lnTo>
                    <a:lnTo>
                      <a:pt x="135" y="293"/>
                    </a:lnTo>
                    <a:lnTo>
                      <a:pt x="141" y="287"/>
                    </a:lnTo>
                    <a:lnTo>
                      <a:pt x="145" y="279"/>
                    </a:lnTo>
                    <a:lnTo>
                      <a:pt x="149" y="281"/>
                    </a:lnTo>
                    <a:lnTo>
                      <a:pt x="153" y="287"/>
                    </a:lnTo>
                    <a:lnTo>
                      <a:pt x="155" y="289"/>
                    </a:lnTo>
                    <a:lnTo>
                      <a:pt x="157" y="287"/>
                    </a:lnTo>
                    <a:lnTo>
                      <a:pt x="177" y="293"/>
                    </a:lnTo>
                    <a:lnTo>
                      <a:pt x="179" y="299"/>
                    </a:lnTo>
                    <a:lnTo>
                      <a:pt x="181" y="299"/>
                    </a:lnTo>
                    <a:lnTo>
                      <a:pt x="181" y="303"/>
                    </a:lnTo>
                    <a:lnTo>
                      <a:pt x="181" y="297"/>
                    </a:lnTo>
                    <a:lnTo>
                      <a:pt x="183" y="297"/>
                    </a:lnTo>
                    <a:lnTo>
                      <a:pt x="193" y="305"/>
                    </a:lnTo>
                    <a:lnTo>
                      <a:pt x="197" y="305"/>
                    </a:lnTo>
                    <a:lnTo>
                      <a:pt x="197" y="307"/>
                    </a:lnTo>
                    <a:lnTo>
                      <a:pt x="197" y="313"/>
                    </a:lnTo>
                    <a:lnTo>
                      <a:pt x="199" y="313"/>
                    </a:lnTo>
                    <a:lnTo>
                      <a:pt x="203" y="309"/>
                    </a:lnTo>
                    <a:lnTo>
                      <a:pt x="205" y="315"/>
                    </a:lnTo>
                    <a:lnTo>
                      <a:pt x="207" y="315"/>
                    </a:lnTo>
                    <a:lnTo>
                      <a:pt x="209" y="319"/>
                    </a:lnTo>
                    <a:lnTo>
                      <a:pt x="213" y="317"/>
                    </a:lnTo>
                    <a:lnTo>
                      <a:pt x="217" y="323"/>
                    </a:lnTo>
                    <a:lnTo>
                      <a:pt x="217" y="327"/>
                    </a:lnTo>
                    <a:lnTo>
                      <a:pt x="217" y="329"/>
                    </a:lnTo>
                    <a:lnTo>
                      <a:pt x="217" y="331"/>
                    </a:lnTo>
                    <a:lnTo>
                      <a:pt x="213" y="339"/>
                    </a:lnTo>
                    <a:lnTo>
                      <a:pt x="217" y="337"/>
                    </a:lnTo>
                    <a:lnTo>
                      <a:pt x="217" y="341"/>
                    </a:lnTo>
                    <a:lnTo>
                      <a:pt x="217" y="343"/>
                    </a:lnTo>
                    <a:lnTo>
                      <a:pt x="221" y="347"/>
                    </a:lnTo>
                    <a:lnTo>
                      <a:pt x="221" y="353"/>
                    </a:lnTo>
                    <a:lnTo>
                      <a:pt x="223" y="357"/>
                    </a:lnTo>
                    <a:lnTo>
                      <a:pt x="239" y="367"/>
                    </a:lnTo>
                    <a:lnTo>
                      <a:pt x="239" y="369"/>
                    </a:lnTo>
                    <a:lnTo>
                      <a:pt x="237" y="371"/>
                    </a:lnTo>
                    <a:lnTo>
                      <a:pt x="235" y="373"/>
                    </a:lnTo>
                    <a:lnTo>
                      <a:pt x="237" y="377"/>
                    </a:lnTo>
                    <a:lnTo>
                      <a:pt x="241" y="379"/>
                    </a:lnTo>
                    <a:lnTo>
                      <a:pt x="249" y="388"/>
                    </a:lnTo>
                    <a:lnTo>
                      <a:pt x="247" y="390"/>
                    </a:lnTo>
                    <a:lnTo>
                      <a:pt x="239" y="392"/>
                    </a:lnTo>
                    <a:lnTo>
                      <a:pt x="245" y="392"/>
                    </a:lnTo>
                    <a:lnTo>
                      <a:pt x="247" y="392"/>
                    </a:lnTo>
                    <a:lnTo>
                      <a:pt x="249" y="396"/>
                    </a:lnTo>
                    <a:lnTo>
                      <a:pt x="243" y="396"/>
                    </a:lnTo>
                    <a:lnTo>
                      <a:pt x="249" y="400"/>
                    </a:lnTo>
                    <a:lnTo>
                      <a:pt x="247" y="412"/>
                    </a:lnTo>
                    <a:lnTo>
                      <a:pt x="251" y="412"/>
                    </a:lnTo>
                    <a:lnTo>
                      <a:pt x="253" y="414"/>
                    </a:lnTo>
                    <a:lnTo>
                      <a:pt x="251" y="418"/>
                    </a:lnTo>
                    <a:lnTo>
                      <a:pt x="255" y="424"/>
                    </a:lnTo>
                    <a:lnTo>
                      <a:pt x="255" y="428"/>
                    </a:lnTo>
                    <a:lnTo>
                      <a:pt x="255" y="430"/>
                    </a:lnTo>
                    <a:lnTo>
                      <a:pt x="253" y="430"/>
                    </a:lnTo>
                    <a:lnTo>
                      <a:pt x="251" y="434"/>
                    </a:lnTo>
                    <a:lnTo>
                      <a:pt x="259" y="440"/>
                    </a:lnTo>
                    <a:lnTo>
                      <a:pt x="259" y="444"/>
                    </a:lnTo>
                    <a:lnTo>
                      <a:pt x="257" y="450"/>
                    </a:lnTo>
                    <a:lnTo>
                      <a:pt x="259" y="450"/>
                    </a:lnTo>
                    <a:lnTo>
                      <a:pt x="265" y="446"/>
                    </a:lnTo>
                    <a:lnTo>
                      <a:pt x="263" y="448"/>
                    </a:lnTo>
                    <a:lnTo>
                      <a:pt x="261" y="454"/>
                    </a:lnTo>
                    <a:lnTo>
                      <a:pt x="263" y="458"/>
                    </a:lnTo>
                    <a:lnTo>
                      <a:pt x="261" y="460"/>
                    </a:lnTo>
                    <a:lnTo>
                      <a:pt x="259" y="462"/>
                    </a:lnTo>
                    <a:lnTo>
                      <a:pt x="257" y="464"/>
                    </a:lnTo>
                    <a:lnTo>
                      <a:pt x="271" y="470"/>
                    </a:lnTo>
                    <a:lnTo>
                      <a:pt x="273" y="474"/>
                    </a:lnTo>
                    <a:lnTo>
                      <a:pt x="273" y="480"/>
                    </a:lnTo>
                    <a:lnTo>
                      <a:pt x="271" y="482"/>
                    </a:lnTo>
                    <a:lnTo>
                      <a:pt x="271" y="494"/>
                    </a:lnTo>
                    <a:lnTo>
                      <a:pt x="269" y="496"/>
                    </a:lnTo>
                    <a:lnTo>
                      <a:pt x="271" y="500"/>
                    </a:lnTo>
                    <a:lnTo>
                      <a:pt x="269" y="502"/>
                    </a:lnTo>
                    <a:lnTo>
                      <a:pt x="267" y="506"/>
                    </a:lnTo>
                    <a:lnTo>
                      <a:pt x="263" y="514"/>
                    </a:lnTo>
                    <a:lnTo>
                      <a:pt x="259" y="516"/>
                    </a:lnTo>
                    <a:lnTo>
                      <a:pt x="263" y="520"/>
                    </a:lnTo>
                    <a:lnTo>
                      <a:pt x="269" y="518"/>
                    </a:lnTo>
                    <a:lnTo>
                      <a:pt x="263" y="526"/>
                    </a:lnTo>
                    <a:lnTo>
                      <a:pt x="259" y="528"/>
                    </a:lnTo>
                    <a:lnTo>
                      <a:pt x="255" y="532"/>
                    </a:lnTo>
                    <a:lnTo>
                      <a:pt x="261" y="546"/>
                    </a:lnTo>
                    <a:lnTo>
                      <a:pt x="265" y="542"/>
                    </a:lnTo>
                    <a:lnTo>
                      <a:pt x="269" y="546"/>
                    </a:lnTo>
                    <a:lnTo>
                      <a:pt x="273" y="548"/>
                    </a:lnTo>
                    <a:lnTo>
                      <a:pt x="281" y="544"/>
                    </a:lnTo>
                    <a:lnTo>
                      <a:pt x="281" y="538"/>
                    </a:lnTo>
                    <a:lnTo>
                      <a:pt x="279" y="536"/>
                    </a:lnTo>
                    <a:lnTo>
                      <a:pt x="281" y="532"/>
                    </a:lnTo>
                    <a:lnTo>
                      <a:pt x="283" y="534"/>
                    </a:lnTo>
                    <a:lnTo>
                      <a:pt x="285" y="532"/>
                    </a:lnTo>
                    <a:lnTo>
                      <a:pt x="283" y="528"/>
                    </a:lnTo>
                    <a:lnTo>
                      <a:pt x="289" y="526"/>
                    </a:lnTo>
                    <a:lnTo>
                      <a:pt x="289" y="518"/>
                    </a:lnTo>
                    <a:lnTo>
                      <a:pt x="293" y="526"/>
                    </a:lnTo>
                    <a:lnTo>
                      <a:pt x="297" y="522"/>
                    </a:lnTo>
                    <a:lnTo>
                      <a:pt x="295" y="528"/>
                    </a:lnTo>
                    <a:lnTo>
                      <a:pt x="295" y="532"/>
                    </a:lnTo>
                    <a:lnTo>
                      <a:pt x="301" y="534"/>
                    </a:lnTo>
                    <a:lnTo>
                      <a:pt x="303" y="534"/>
                    </a:lnTo>
                    <a:lnTo>
                      <a:pt x="313" y="532"/>
                    </a:lnTo>
                    <a:lnTo>
                      <a:pt x="311" y="538"/>
                    </a:lnTo>
                    <a:lnTo>
                      <a:pt x="301" y="542"/>
                    </a:lnTo>
                    <a:lnTo>
                      <a:pt x="297" y="546"/>
                    </a:lnTo>
                    <a:lnTo>
                      <a:pt x="305" y="546"/>
                    </a:lnTo>
                    <a:lnTo>
                      <a:pt x="313" y="544"/>
                    </a:lnTo>
                    <a:lnTo>
                      <a:pt x="307" y="548"/>
                    </a:lnTo>
                    <a:lnTo>
                      <a:pt x="307" y="552"/>
                    </a:lnTo>
                    <a:lnTo>
                      <a:pt x="303" y="556"/>
                    </a:lnTo>
                    <a:lnTo>
                      <a:pt x="317" y="548"/>
                    </a:lnTo>
                    <a:lnTo>
                      <a:pt x="309" y="558"/>
                    </a:lnTo>
                    <a:lnTo>
                      <a:pt x="321" y="558"/>
                    </a:lnTo>
                    <a:lnTo>
                      <a:pt x="319" y="560"/>
                    </a:lnTo>
                    <a:lnTo>
                      <a:pt x="321" y="564"/>
                    </a:lnTo>
                    <a:lnTo>
                      <a:pt x="321" y="566"/>
                    </a:lnTo>
                    <a:lnTo>
                      <a:pt x="313" y="562"/>
                    </a:lnTo>
                    <a:lnTo>
                      <a:pt x="317" y="566"/>
                    </a:lnTo>
                    <a:lnTo>
                      <a:pt x="325" y="570"/>
                    </a:lnTo>
                    <a:lnTo>
                      <a:pt x="329" y="574"/>
                    </a:lnTo>
                    <a:lnTo>
                      <a:pt x="331" y="578"/>
                    </a:lnTo>
                    <a:lnTo>
                      <a:pt x="325" y="576"/>
                    </a:lnTo>
                    <a:lnTo>
                      <a:pt x="329" y="580"/>
                    </a:lnTo>
                    <a:lnTo>
                      <a:pt x="329" y="582"/>
                    </a:lnTo>
                    <a:lnTo>
                      <a:pt x="327" y="582"/>
                    </a:lnTo>
                    <a:lnTo>
                      <a:pt x="327" y="584"/>
                    </a:lnTo>
                    <a:lnTo>
                      <a:pt x="323" y="582"/>
                    </a:lnTo>
                    <a:lnTo>
                      <a:pt x="323" y="588"/>
                    </a:lnTo>
                    <a:lnTo>
                      <a:pt x="327" y="590"/>
                    </a:lnTo>
                    <a:lnTo>
                      <a:pt x="331" y="588"/>
                    </a:lnTo>
                    <a:lnTo>
                      <a:pt x="333" y="592"/>
                    </a:lnTo>
                    <a:lnTo>
                      <a:pt x="331" y="594"/>
                    </a:lnTo>
                    <a:lnTo>
                      <a:pt x="317" y="590"/>
                    </a:lnTo>
                    <a:lnTo>
                      <a:pt x="299" y="576"/>
                    </a:lnTo>
                    <a:lnTo>
                      <a:pt x="283" y="574"/>
                    </a:lnTo>
                    <a:lnTo>
                      <a:pt x="277" y="574"/>
                    </a:lnTo>
                    <a:lnTo>
                      <a:pt x="275" y="578"/>
                    </a:lnTo>
                    <a:lnTo>
                      <a:pt x="283" y="592"/>
                    </a:lnTo>
                    <a:lnTo>
                      <a:pt x="299" y="598"/>
                    </a:lnTo>
                    <a:lnTo>
                      <a:pt x="305" y="606"/>
                    </a:lnTo>
                    <a:lnTo>
                      <a:pt x="319" y="608"/>
                    </a:lnTo>
                    <a:lnTo>
                      <a:pt x="321" y="606"/>
                    </a:lnTo>
                    <a:lnTo>
                      <a:pt x="325" y="608"/>
                    </a:lnTo>
                    <a:lnTo>
                      <a:pt x="327" y="610"/>
                    </a:lnTo>
                    <a:lnTo>
                      <a:pt x="335" y="608"/>
                    </a:lnTo>
                    <a:lnTo>
                      <a:pt x="335" y="612"/>
                    </a:lnTo>
                    <a:lnTo>
                      <a:pt x="337" y="618"/>
                    </a:lnTo>
                    <a:lnTo>
                      <a:pt x="331" y="618"/>
                    </a:lnTo>
                    <a:lnTo>
                      <a:pt x="333" y="624"/>
                    </a:lnTo>
                    <a:lnTo>
                      <a:pt x="329" y="626"/>
                    </a:lnTo>
                    <a:lnTo>
                      <a:pt x="331" y="630"/>
                    </a:lnTo>
                    <a:lnTo>
                      <a:pt x="327" y="632"/>
                    </a:lnTo>
                    <a:lnTo>
                      <a:pt x="327" y="640"/>
                    </a:lnTo>
                    <a:lnTo>
                      <a:pt x="331" y="641"/>
                    </a:lnTo>
                    <a:lnTo>
                      <a:pt x="335" y="638"/>
                    </a:lnTo>
                    <a:lnTo>
                      <a:pt x="337" y="643"/>
                    </a:lnTo>
                    <a:lnTo>
                      <a:pt x="333" y="645"/>
                    </a:lnTo>
                    <a:lnTo>
                      <a:pt x="335" y="649"/>
                    </a:lnTo>
                    <a:lnTo>
                      <a:pt x="331" y="649"/>
                    </a:lnTo>
                    <a:lnTo>
                      <a:pt x="331" y="645"/>
                    </a:lnTo>
                    <a:lnTo>
                      <a:pt x="327" y="645"/>
                    </a:lnTo>
                    <a:lnTo>
                      <a:pt x="325" y="647"/>
                    </a:lnTo>
                    <a:lnTo>
                      <a:pt x="325" y="655"/>
                    </a:lnTo>
                    <a:lnTo>
                      <a:pt x="327" y="657"/>
                    </a:lnTo>
                    <a:lnTo>
                      <a:pt x="323" y="661"/>
                    </a:lnTo>
                    <a:lnTo>
                      <a:pt x="327" y="661"/>
                    </a:lnTo>
                    <a:lnTo>
                      <a:pt x="325" y="663"/>
                    </a:lnTo>
                    <a:lnTo>
                      <a:pt x="325" y="669"/>
                    </a:lnTo>
                    <a:lnTo>
                      <a:pt x="319" y="669"/>
                    </a:lnTo>
                    <a:lnTo>
                      <a:pt x="309" y="667"/>
                    </a:lnTo>
                    <a:lnTo>
                      <a:pt x="303" y="669"/>
                    </a:lnTo>
                    <a:lnTo>
                      <a:pt x="303" y="671"/>
                    </a:lnTo>
                    <a:lnTo>
                      <a:pt x="299" y="677"/>
                    </a:lnTo>
                    <a:lnTo>
                      <a:pt x="299" y="679"/>
                    </a:lnTo>
                    <a:lnTo>
                      <a:pt x="299" y="683"/>
                    </a:lnTo>
                    <a:lnTo>
                      <a:pt x="303" y="681"/>
                    </a:lnTo>
                    <a:lnTo>
                      <a:pt x="307" y="683"/>
                    </a:lnTo>
                    <a:lnTo>
                      <a:pt x="321" y="679"/>
                    </a:lnTo>
                    <a:lnTo>
                      <a:pt x="319" y="673"/>
                    </a:lnTo>
                    <a:lnTo>
                      <a:pt x="323" y="675"/>
                    </a:lnTo>
                    <a:lnTo>
                      <a:pt x="325" y="675"/>
                    </a:lnTo>
                    <a:lnTo>
                      <a:pt x="323" y="679"/>
                    </a:lnTo>
                    <a:lnTo>
                      <a:pt x="319" y="681"/>
                    </a:lnTo>
                    <a:lnTo>
                      <a:pt x="325" y="683"/>
                    </a:lnTo>
                    <a:lnTo>
                      <a:pt x="321" y="683"/>
                    </a:lnTo>
                    <a:lnTo>
                      <a:pt x="323" y="685"/>
                    </a:lnTo>
                    <a:lnTo>
                      <a:pt x="327" y="687"/>
                    </a:lnTo>
                    <a:lnTo>
                      <a:pt x="325" y="689"/>
                    </a:lnTo>
                    <a:lnTo>
                      <a:pt x="323" y="687"/>
                    </a:lnTo>
                    <a:lnTo>
                      <a:pt x="319" y="689"/>
                    </a:lnTo>
                    <a:lnTo>
                      <a:pt x="313" y="691"/>
                    </a:lnTo>
                    <a:lnTo>
                      <a:pt x="303" y="685"/>
                    </a:lnTo>
                    <a:lnTo>
                      <a:pt x="299" y="687"/>
                    </a:lnTo>
                    <a:lnTo>
                      <a:pt x="293" y="685"/>
                    </a:lnTo>
                    <a:lnTo>
                      <a:pt x="291" y="687"/>
                    </a:lnTo>
                    <a:lnTo>
                      <a:pt x="295" y="687"/>
                    </a:lnTo>
                    <a:lnTo>
                      <a:pt x="301" y="691"/>
                    </a:lnTo>
                    <a:lnTo>
                      <a:pt x="299" y="693"/>
                    </a:lnTo>
                    <a:lnTo>
                      <a:pt x="293" y="691"/>
                    </a:lnTo>
                    <a:lnTo>
                      <a:pt x="297" y="693"/>
                    </a:lnTo>
                    <a:lnTo>
                      <a:pt x="293" y="693"/>
                    </a:lnTo>
                    <a:lnTo>
                      <a:pt x="289" y="697"/>
                    </a:lnTo>
                    <a:lnTo>
                      <a:pt x="289" y="705"/>
                    </a:lnTo>
                    <a:lnTo>
                      <a:pt x="287" y="709"/>
                    </a:lnTo>
                    <a:lnTo>
                      <a:pt x="289" y="711"/>
                    </a:lnTo>
                    <a:lnTo>
                      <a:pt x="291" y="709"/>
                    </a:lnTo>
                    <a:lnTo>
                      <a:pt x="285" y="715"/>
                    </a:lnTo>
                    <a:lnTo>
                      <a:pt x="287" y="717"/>
                    </a:lnTo>
                    <a:lnTo>
                      <a:pt x="285" y="719"/>
                    </a:lnTo>
                    <a:lnTo>
                      <a:pt x="283" y="721"/>
                    </a:lnTo>
                    <a:lnTo>
                      <a:pt x="283" y="727"/>
                    </a:lnTo>
                    <a:lnTo>
                      <a:pt x="289" y="731"/>
                    </a:lnTo>
                    <a:lnTo>
                      <a:pt x="287" y="735"/>
                    </a:lnTo>
                    <a:lnTo>
                      <a:pt x="291" y="735"/>
                    </a:lnTo>
                    <a:lnTo>
                      <a:pt x="297" y="735"/>
                    </a:lnTo>
                    <a:lnTo>
                      <a:pt x="297" y="741"/>
                    </a:lnTo>
                    <a:lnTo>
                      <a:pt x="293" y="741"/>
                    </a:lnTo>
                    <a:lnTo>
                      <a:pt x="291" y="745"/>
                    </a:lnTo>
                    <a:lnTo>
                      <a:pt x="295" y="749"/>
                    </a:lnTo>
                    <a:lnTo>
                      <a:pt x="289" y="749"/>
                    </a:lnTo>
                    <a:lnTo>
                      <a:pt x="287" y="751"/>
                    </a:lnTo>
                    <a:lnTo>
                      <a:pt x="289" y="759"/>
                    </a:lnTo>
                    <a:lnTo>
                      <a:pt x="293" y="759"/>
                    </a:lnTo>
                    <a:lnTo>
                      <a:pt x="289" y="761"/>
                    </a:lnTo>
                    <a:lnTo>
                      <a:pt x="291" y="763"/>
                    </a:lnTo>
                    <a:lnTo>
                      <a:pt x="295" y="763"/>
                    </a:lnTo>
                    <a:lnTo>
                      <a:pt x="299" y="761"/>
                    </a:lnTo>
                    <a:lnTo>
                      <a:pt x="291" y="767"/>
                    </a:lnTo>
                    <a:lnTo>
                      <a:pt x="291" y="771"/>
                    </a:lnTo>
                    <a:lnTo>
                      <a:pt x="295" y="773"/>
                    </a:lnTo>
                    <a:lnTo>
                      <a:pt x="295" y="775"/>
                    </a:lnTo>
                    <a:lnTo>
                      <a:pt x="299" y="771"/>
                    </a:lnTo>
                    <a:lnTo>
                      <a:pt x="297" y="773"/>
                    </a:lnTo>
                    <a:lnTo>
                      <a:pt x="297" y="775"/>
                    </a:lnTo>
                    <a:lnTo>
                      <a:pt x="297" y="777"/>
                    </a:lnTo>
                    <a:lnTo>
                      <a:pt x="295" y="781"/>
                    </a:lnTo>
                    <a:lnTo>
                      <a:pt x="299" y="779"/>
                    </a:lnTo>
                    <a:lnTo>
                      <a:pt x="301" y="779"/>
                    </a:lnTo>
                    <a:lnTo>
                      <a:pt x="301" y="787"/>
                    </a:lnTo>
                    <a:lnTo>
                      <a:pt x="305" y="787"/>
                    </a:lnTo>
                    <a:lnTo>
                      <a:pt x="305" y="789"/>
                    </a:lnTo>
                    <a:lnTo>
                      <a:pt x="309" y="789"/>
                    </a:lnTo>
                    <a:lnTo>
                      <a:pt x="305" y="793"/>
                    </a:lnTo>
                    <a:lnTo>
                      <a:pt x="305" y="797"/>
                    </a:lnTo>
                    <a:lnTo>
                      <a:pt x="309" y="793"/>
                    </a:lnTo>
                    <a:lnTo>
                      <a:pt x="309" y="797"/>
                    </a:lnTo>
                    <a:lnTo>
                      <a:pt x="309" y="799"/>
                    </a:lnTo>
                    <a:lnTo>
                      <a:pt x="307" y="803"/>
                    </a:lnTo>
                    <a:lnTo>
                      <a:pt x="309" y="805"/>
                    </a:lnTo>
                    <a:lnTo>
                      <a:pt x="311" y="811"/>
                    </a:lnTo>
                    <a:lnTo>
                      <a:pt x="313" y="809"/>
                    </a:lnTo>
                    <a:lnTo>
                      <a:pt x="315" y="811"/>
                    </a:lnTo>
                    <a:lnTo>
                      <a:pt x="311" y="815"/>
                    </a:lnTo>
                    <a:lnTo>
                      <a:pt x="311" y="831"/>
                    </a:lnTo>
                    <a:lnTo>
                      <a:pt x="313" y="829"/>
                    </a:lnTo>
                    <a:lnTo>
                      <a:pt x="317" y="829"/>
                    </a:lnTo>
                    <a:lnTo>
                      <a:pt x="323" y="815"/>
                    </a:lnTo>
                    <a:lnTo>
                      <a:pt x="325" y="817"/>
                    </a:lnTo>
                    <a:lnTo>
                      <a:pt x="329" y="815"/>
                    </a:lnTo>
                    <a:lnTo>
                      <a:pt x="331" y="811"/>
                    </a:lnTo>
                    <a:lnTo>
                      <a:pt x="337" y="813"/>
                    </a:lnTo>
                    <a:lnTo>
                      <a:pt x="339" y="813"/>
                    </a:lnTo>
                    <a:lnTo>
                      <a:pt x="341" y="817"/>
                    </a:lnTo>
                    <a:lnTo>
                      <a:pt x="333" y="815"/>
                    </a:lnTo>
                    <a:lnTo>
                      <a:pt x="331" y="817"/>
                    </a:lnTo>
                    <a:lnTo>
                      <a:pt x="331" y="821"/>
                    </a:lnTo>
                    <a:lnTo>
                      <a:pt x="335" y="823"/>
                    </a:lnTo>
                    <a:lnTo>
                      <a:pt x="339" y="823"/>
                    </a:lnTo>
                    <a:lnTo>
                      <a:pt x="327" y="827"/>
                    </a:lnTo>
                    <a:lnTo>
                      <a:pt x="327" y="831"/>
                    </a:lnTo>
                    <a:lnTo>
                      <a:pt x="323" y="833"/>
                    </a:lnTo>
                    <a:lnTo>
                      <a:pt x="319" y="833"/>
                    </a:lnTo>
                    <a:lnTo>
                      <a:pt x="319" y="837"/>
                    </a:lnTo>
                    <a:lnTo>
                      <a:pt x="321" y="841"/>
                    </a:lnTo>
                    <a:lnTo>
                      <a:pt x="319" y="849"/>
                    </a:lnTo>
                    <a:lnTo>
                      <a:pt x="323" y="847"/>
                    </a:lnTo>
                    <a:lnTo>
                      <a:pt x="319" y="851"/>
                    </a:lnTo>
                    <a:lnTo>
                      <a:pt x="323" y="859"/>
                    </a:lnTo>
                    <a:lnTo>
                      <a:pt x="325" y="857"/>
                    </a:lnTo>
                    <a:lnTo>
                      <a:pt x="325" y="863"/>
                    </a:lnTo>
                    <a:lnTo>
                      <a:pt x="329" y="871"/>
                    </a:lnTo>
                    <a:lnTo>
                      <a:pt x="331" y="871"/>
                    </a:lnTo>
                    <a:lnTo>
                      <a:pt x="331" y="873"/>
                    </a:lnTo>
                    <a:lnTo>
                      <a:pt x="335" y="873"/>
                    </a:lnTo>
                    <a:lnTo>
                      <a:pt x="335" y="877"/>
                    </a:lnTo>
                    <a:lnTo>
                      <a:pt x="337" y="879"/>
                    </a:lnTo>
                    <a:lnTo>
                      <a:pt x="337" y="881"/>
                    </a:lnTo>
                    <a:lnTo>
                      <a:pt x="339" y="879"/>
                    </a:lnTo>
                    <a:lnTo>
                      <a:pt x="341" y="879"/>
                    </a:lnTo>
                    <a:lnTo>
                      <a:pt x="339" y="885"/>
                    </a:lnTo>
                    <a:lnTo>
                      <a:pt x="339" y="887"/>
                    </a:lnTo>
                    <a:lnTo>
                      <a:pt x="339" y="889"/>
                    </a:lnTo>
                    <a:lnTo>
                      <a:pt x="343" y="889"/>
                    </a:lnTo>
                    <a:lnTo>
                      <a:pt x="345" y="891"/>
                    </a:lnTo>
                    <a:lnTo>
                      <a:pt x="345" y="893"/>
                    </a:lnTo>
                    <a:lnTo>
                      <a:pt x="345" y="895"/>
                    </a:lnTo>
                    <a:lnTo>
                      <a:pt x="347" y="897"/>
                    </a:lnTo>
                    <a:lnTo>
                      <a:pt x="349" y="897"/>
                    </a:lnTo>
                    <a:lnTo>
                      <a:pt x="347" y="899"/>
                    </a:lnTo>
                    <a:lnTo>
                      <a:pt x="347" y="900"/>
                    </a:lnTo>
                    <a:lnTo>
                      <a:pt x="351" y="899"/>
                    </a:lnTo>
                    <a:lnTo>
                      <a:pt x="349" y="900"/>
                    </a:lnTo>
                    <a:lnTo>
                      <a:pt x="347" y="900"/>
                    </a:lnTo>
                    <a:lnTo>
                      <a:pt x="347" y="902"/>
                    </a:lnTo>
                    <a:lnTo>
                      <a:pt x="347" y="904"/>
                    </a:lnTo>
                    <a:lnTo>
                      <a:pt x="351" y="904"/>
                    </a:lnTo>
                    <a:lnTo>
                      <a:pt x="355" y="900"/>
                    </a:lnTo>
                    <a:lnTo>
                      <a:pt x="357" y="900"/>
                    </a:lnTo>
                    <a:lnTo>
                      <a:pt x="357" y="902"/>
                    </a:lnTo>
                    <a:lnTo>
                      <a:pt x="351" y="906"/>
                    </a:lnTo>
                    <a:lnTo>
                      <a:pt x="351" y="908"/>
                    </a:lnTo>
                    <a:lnTo>
                      <a:pt x="353" y="910"/>
                    </a:lnTo>
                    <a:lnTo>
                      <a:pt x="355" y="912"/>
                    </a:lnTo>
                    <a:lnTo>
                      <a:pt x="355" y="914"/>
                    </a:lnTo>
                    <a:lnTo>
                      <a:pt x="357" y="914"/>
                    </a:lnTo>
                    <a:lnTo>
                      <a:pt x="357" y="916"/>
                    </a:lnTo>
                    <a:lnTo>
                      <a:pt x="353" y="918"/>
                    </a:lnTo>
                    <a:lnTo>
                      <a:pt x="357" y="920"/>
                    </a:lnTo>
                    <a:lnTo>
                      <a:pt x="363" y="918"/>
                    </a:lnTo>
                    <a:lnTo>
                      <a:pt x="365" y="918"/>
                    </a:lnTo>
                    <a:lnTo>
                      <a:pt x="369" y="918"/>
                    </a:lnTo>
                    <a:lnTo>
                      <a:pt x="357" y="922"/>
                    </a:lnTo>
                    <a:lnTo>
                      <a:pt x="357" y="924"/>
                    </a:lnTo>
                    <a:lnTo>
                      <a:pt x="359" y="924"/>
                    </a:lnTo>
                    <a:lnTo>
                      <a:pt x="363" y="924"/>
                    </a:lnTo>
                    <a:lnTo>
                      <a:pt x="363" y="928"/>
                    </a:lnTo>
                    <a:lnTo>
                      <a:pt x="365" y="928"/>
                    </a:lnTo>
                    <a:lnTo>
                      <a:pt x="369" y="928"/>
                    </a:lnTo>
                    <a:lnTo>
                      <a:pt x="371" y="930"/>
                    </a:lnTo>
                    <a:lnTo>
                      <a:pt x="371" y="932"/>
                    </a:lnTo>
                    <a:lnTo>
                      <a:pt x="373" y="932"/>
                    </a:lnTo>
                    <a:lnTo>
                      <a:pt x="377" y="934"/>
                    </a:lnTo>
                    <a:lnTo>
                      <a:pt x="377" y="932"/>
                    </a:lnTo>
                    <a:lnTo>
                      <a:pt x="379" y="934"/>
                    </a:lnTo>
                    <a:lnTo>
                      <a:pt x="377" y="934"/>
                    </a:lnTo>
                    <a:lnTo>
                      <a:pt x="371" y="938"/>
                    </a:lnTo>
                    <a:lnTo>
                      <a:pt x="369" y="940"/>
                    </a:lnTo>
                    <a:lnTo>
                      <a:pt x="373" y="940"/>
                    </a:lnTo>
                    <a:lnTo>
                      <a:pt x="375" y="940"/>
                    </a:lnTo>
                    <a:lnTo>
                      <a:pt x="381" y="940"/>
                    </a:lnTo>
                    <a:lnTo>
                      <a:pt x="379" y="938"/>
                    </a:lnTo>
                    <a:lnTo>
                      <a:pt x="381" y="936"/>
                    </a:lnTo>
                    <a:lnTo>
                      <a:pt x="383" y="938"/>
                    </a:lnTo>
                    <a:lnTo>
                      <a:pt x="385" y="936"/>
                    </a:lnTo>
                    <a:lnTo>
                      <a:pt x="393" y="938"/>
                    </a:lnTo>
                    <a:lnTo>
                      <a:pt x="397" y="934"/>
                    </a:lnTo>
                    <a:lnTo>
                      <a:pt x="399" y="934"/>
                    </a:lnTo>
                    <a:lnTo>
                      <a:pt x="403" y="932"/>
                    </a:lnTo>
                    <a:lnTo>
                      <a:pt x="401" y="934"/>
                    </a:lnTo>
                    <a:lnTo>
                      <a:pt x="401" y="936"/>
                    </a:lnTo>
                    <a:lnTo>
                      <a:pt x="403" y="938"/>
                    </a:lnTo>
                    <a:lnTo>
                      <a:pt x="407" y="936"/>
                    </a:lnTo>
                    <a:lnTo>
                      <a:pt x="399" y="940"/>
                    </a:lnTo>
                    <a:lnTo>
                      <a:pt x="403" y="940"/>
                    </a:lnTo>
                    <a:lnTo>
                      <a:pt x="399" y="942"/>
                    </a:lnTo>
                    <a:lnTo>
                      <a:pt x="401" y="944"/>
                    </a:lnTo>
                    <a:lnTo>
                      <a:pt x="403" y="942"/>
                    </a:lnTo>
                    <a:lnTo>
                      <a:pt x="405" y="942"/>
                    </a:lnTo>
                    <a:lnTo>
                      <a:pt x="409" y="940"/>
                    </a:lnTo>
                    <a:lnTo>
                      <a:pt x="411" y="936"/>
                    </a:lnTo>
                    <a:lnTo>
                      <a:pt x="411" y="938"/>
                    </a:lnTo>
                    <a:lnTo>
                      <a:pt x="411" y="940"/>
                    </a:lnTo>
                    <a:lnTo>
                      <a:pt x="407" y="942"/>
                    </a:lnTo>
                    <a:lnTo>
                      <a:pt x="405" y="944"/>
                    </a:lnTo>
                    <a:lnTo>
                      <a:pt x="407" y="946"/>
                    </a:lnTo>
                    <a:lnTo>
                      <a:pt x="409" y="952"/>
                    </a:lnTo>
                    <a:lnTo>
                      <a:pt x="411" y="946"/>
                    </a:lnTo>
                    <a:lnTo>
                      <a:pt x="413" y="946"/>
                    </a:lnTo>
                    <a:lnTo>
                      <a:pt x="413" y="952"/>
                    </a:lnTo>
                    <a:lnTo>
                      <a:pt x="415" y="952"/>
                    </a:lnTo>
                    <a:lnTo>
                      <a:pt x="419" y="948"/>
                    </a:lnTo>
                    <a:lnTo>
                      <a:pt x="417" y="954"/>
                    </a:lnTo>
                    <a:lnTo>
                      <a:pt x="415" y="958"/>
                    </a:lnTo>
                    <a:lnTo>
                      <a:pt x="415" y="960"/>
                    </a:lnTo>
                    <a:lnTo>
                      <a:pt x="415" y="962"/>
                    </a:lnTo>
                    <a:lnTo>
                      <a:pt x="417" y="962"/>
                    </a:lnTo>
                    <a:lnTo>
                      <a:pt x="419" y="962"/>
                    </a:lnTo>
                    <a:lnTo>
                      <a:pt x="421" y="964"/>
                    </a:lnTo>
                    <a:lnTo>
                      <a:pt x="425" y="964"/>
                    </a:lnTo>
                    <a:lnTo>
                      <a:pt x="431" y="958"/>
                    </a:lnTo>
                    <a:lnTo>
                      <a:pt x="431" y="960"/>
                    </a:lnTo>
                    <a:lnTo>
                      <a:pt x="445" y="962"/>
                    </a:lnTo>
                    <a:lnTo>
                      <a:pt x="445" y="960"/>
                    </a:lnTo>
                    <a:lnTo>
                      <a:pt x="445" y="958"/>
                    </a:lnTo>
                    <a:lnTo>
                      <a:pt x="443" y="952"/>
                    </a:lnTo>
                    <a:lnTo>
                      <a:pt x="437" y="950"/>
                    </a:lnTo>
                    <a:lnTo>
                      <a:pt x="443" y="950"/>
                    </a:lnTo>
                    <a:lnTo>
                      <a:pt x="445" y="950"/>
                    </a:lnTo>
                    <a:lnTo>
                      <a:pt x="447" y="950"/>
                    </a:lnTo>
                    <a:lnTo>
                      <a:pt x="449" y="948"/>
                    </a:lnTo>
                    <a:lnTo>
                      <a:pt x="449" y="938"/>
                    </a:lnTo>
                    <a:lnTo>
                      <a:pt x="451" y="936"/>
                    </a:lnTo>
                    <a:lnTo>
                      <a:pt x="453" y="928"/>
                    </a:lnTo>
                    <a:lnTo>
                      <a:pt x="451" y="926"/>
                    </a:lnTo>
                    <a:lnTo>
                      <a:pt x="453" y="926"/>
                    </a:lnTo>
                    <a:lnTo>
                      <a:pt x="455" y="924"/>
                    </a:lnTo>
                    <a:lnTo>
                      <a:pt x="455" y="920"/>
                    </a:lnTo>
                    <a:lnTo>
                      <a:pt x="459" y="912"/>
                    </a:lnTo>
                    <a:lnTo>
                      <a:pt x="461" y="910"/>
                    </a:lnTo>
                    <a:lnTo>
                      <a:pt x="459" y="908"/>
                    </a:lnTo>
                    <a:lnTo>
                      <a:pt x="461" y="906"/>
                    </a:lnTo>
                    <a:lnTo>
                      <a:pt x="459" y="904"/>
                    </a:lnTo>
                    <a:lnTo>
                      <a:pt x="457" y="902"/>
                    </a:lnTo>
                    <a:lnTo>
                      <a:pt x="457" y="891"/>
                    </a:lnTo>
                    <a:lnTo>
                      <a:pt x="455" y="891"/>
                    </a:lnTo>
                    <a:lnTo>
                      <a:pt x="455" y="889"/>
                    </a:lnTo>
                    <a:lnTo>
                      <a:pt x="455" y="885"/>
                    </a:lnTo>
                    <a:lnTo>
                      <a:pt x="449" y="883"/>
                    </a:lnTo>
                    <a:lnTo>
                      <a:pt x="453" y="883"/>
                    </a:lnTo>
                    <a:lnTo>
                      <a:pt x="455" y="881"/>
                    </a:lnTo>
                    <a:lnTo>
                      <a:pt x="455" y="879"/>
                    </a:lnTo>
                    <a:lnTo>
                      <a:pt x="457" y="877"/>
                    </a:lnTo>
                    <a:lnTo>
                      <a:pt x="459" y="879"/>
                    </a:lnTo>
                    <a:lnTo>
                      <a:pt x="465" y="877"/>
                    </a:lnTo>
                    <a:lnTo>
                      <a:pt x="467" y="875"/>
                    </a:lnTo>
                    <a:lnTo>
                      <a:pt x="469" y="875"/>
                    </a:lnTo>
                    <a:lnTo>
                      <a:pt x="469" y="873"/>
                    </a:lnTo>
                    <a:lnTo>
                      <a:pt x="467" y="873"/>
                    </a:lnTo>
                    <a:lnTo>
                      <a:pt x="459" y="867"/>
                    </a:lnTo>
                    <a:lnTo>
                      <a:pt x="461" y="867"/>
                    </a:lnTo>
                    <a:lnTo>
                      <a:pt x="463" y="869"/>
                    </a:lnTo>
                    <a:lnTo>
                      <a:pt x="465" y="871"/>
                    </a:lnTo>
                    <a:lnTo>
                      <a:pt x="471" y="871"/>
                    </a:lnTo>
                    <a:lnTo>
                      <a:pt x="471" y="869"/>
                    </a:lnTo>
                    <a:lnTo>
                      <a:pt x="467" y="869"/>
                    </a:lnTo>
                    <a:lnTo>
                      <a:pt x="467" y="865"/>
                    </a:lnTo>
                    <a:lnTo>
                      <a:pt x="469" y="865"/>
                    </a:lnTo>
                    <a:lnTo>
                      <a:pt x="467" y="863"/>
                    </a:lnTo>
                    <a:lnTo>
                      <a:pt x="467" y="861"/>
                    </a:lnTo>
                    <a:lnTo>
                      <a:pt x="471" y="865"/>
                    </a:lnTo>
                    <a:lnTo>
                      <a:pt x="473" y="865"/>
                    </a:lnTo>
                    <a:lnTo>
                      <a:pt x="473" y="863"/>
                    </a:lnTo>
                    <a:lnTo>
                      <a:pt x="475" y="861"/>
                    </a:lnTo>
                    <a:lnTo>
                      <a:pt x="473" y="859"/>
                    </a:lnTo>
                    <a:lnTo>
                      <a:pt x="475" y="859"/>
                    </a:lnTo>
                    <a:lnTo>
                      <a:pt x="477" y="859"/>
                    </a:lnTo>
                    <a:lnTo>
                      <a:pt x="479" y="857"/>
                    </a:lnTo>
                    <a:lnTo>
                      <a:pt x="479" y="855"/>
                    </a:lnTo>
                    <a:lnTo>
                      <a:pt x="481" y="855"/>
                    </a:lnTo>
                    <a:lnTo>
                      <a:pt x="481" y="851"/>
                    </a:lnTo>
                    <a:lnTo>
                      <a:pt x="479" y="849"/>
                    </a:lnTo>
                    <a:lnTo>
                      <a:pt x="471" y="847"/>
                    </a:lnTo>
                    <a:lnTo>
                      <a:pt x="471" y="845"/>
                    </a:lnTo>
                    <a:lnTo>
                      <a:pt x="479" y="847"/>
                    </a:lnTo>
                    <a:lnTo>
                      <a:pt x="483" y="847"/>
                    </a:lnTo>
                    <a:lnTo>
                      <a:pt x="479" y="839"/>
                    </a:lnTo>
                    <a:lnTo>
                      <a:pt x="481" y="837"/>
                    </a:lnTo>
                    <a:lnTo>
                      <a:pt x="481" y="833"/>
                    </a:lnTo>
                    <a:lnTo>
                      <a:pt x="469" y="833"/>
                    </a:lnTo>
                    <a:lnTo>
                      <a:pt x="469" y="829"/>
                    </a:lnTo>
                    <a:lnTo>
                      <a:pt x="471" y="829"/>
                    </a:lnTo>
                    <a:lnTo>
                      <a:pt x="477" y="825"/>
                    </a:lnTo>
                    <a:lnTo>
                      <a:pt x="483" y="825"/>
                    </a:lnTo>
                    <a:lnTo>
                      <a:pt x="485" y="827"/>
                    </a:lnTo>
                    <a:lnTo>
                      <a:pt x="487" y="825"/>
                    </a:lnTo>
                    <a:lnTo>
                      <a:pt x="483" y="825"/>
                    </a:lnTo>
                    <a:lnTo>
                      <a:pt x="481" y="823"/>
                    </a:lnTo>
                    <a:lnTo>
                      <a:pt x="481" y="817"/>
                    </a:lnTo>
                    <a:lnTo>
                      <a:pt x="479" y="815"/>
                    </a:lnTo>
                    <a:lnTo>
                      <a:pt x="477" y="811"/>
                    </a:lnTo>
                    <a:lnTo>
                      <a:pt x="475" y="809"/>
                    </a:lnTo>
                    <a:lnTo>
                      <a:pt x="475" y="807"/>
                    </a:lnTo>
                    <a:lnTo>
                      <a:pt x="471" y="807"/>
                    </a:lnTo>
                    <a:lnTo>
                      <a:pt x="475" y="801"/>
                    </a:lnTo>
                    <a:lnTo>
                      <a:pt x="477" y="803"/>
                    </a:lnTo>
                    <a:lnTo>
                      <a:pt x="479" y="801"/>
                    </a:lnTo>
                    <a:lnTo>
                      <a:pt x="481" y="803"/>
                    </a:lnTo>
                    <a:lnTo>
                      <a:pt x="481" y="801"/>
                    </a:lnTo>
                    <a:lnTo>
                      <a:pt x="483" y="801"/>
                    </a:lnTo>
                    <a:lnTo>
                      <a:pt x="485" y="803"/>
                    </a:lnTo>
                    <a:lnTo>
                      <a:pt x="487" y="801"/>
                    </a:lnTo>
                    <a:lnTo>
                      <a:pt x="489" y="803"/>
                    </a:lnTo>
                    <a:lnTo>
                      <a:pt x="491" y="801"/>
                    </a:lnTo>
                    <a:lnTo>
                      <a:pt x="491" y="799"/>
                    </a:lnTo>
                    <a:lnTo>
                      <a:pt x="493" y="795"/>
                    </a:lnTo>
                    <a:lnTo>
                      <a:pt x="493" y="793"/>
                    </a:lnTo>
                    <a:lnTo>
                      <a:pt x="493" y="791"/>
                    </a:lnTo>
                    <a:lnTo>
                      <a:pt x="493" y="789"/>
                    </a:lnTo>
                    <a:lnTo>
                      <a:pt x="489" y="787"/>
                    </a:lnTo>
                    <a:lnTo>
                      <a:pt x="491" y="785"/>
                    </a:lnTo>
                    <a:lnTo>
                      <a:pt x="493" y="785"/>
                    </a:lnTo>
                    <a:lnTo>
                      <a:pt x="495" y="781"/>
                    </a:lnTo>
                    <a:lnTo>
                      <a:pt x="497" y="781"/>
                    </a:lnTo>
                    <a:lnTo>
                      <a:pt x="497" y="783"/>
                    </a:lnTo>
                    <a:lnTo>
                      <a:pt x="501" y="785"/>
                    </a:lnTo>
                    <a:lnTo>
                      <a:pt x="501" y="779"/>
                    </a:lnTo>
                    <a:lnTo>
                      <a:pt x="505" y="783"/>
                    </a:lnTo>
                    <a:lnTo>
                      <a:pt x="511" y="783"/>
                    </a:lnTo>
                    <a:lnTo>
                      <a:pt x="509" y="781"/>
                    </a:lnTo>
                    <a:lnTo>
                      <a:pt x="513" y="781"/>
                    </a:lnTo>
                    <a:lnTo>
                      <a:pt x="517" y="781"/>
                    </a:lnTo>
                    <a:lnTo>
                      <a:pt x="517" y="779"/>
                    </a:lnTo>
                    <a:lnTo>
                      <a:pt x="519" y="779"/>
                    </a:lnTo>
                    <a:lnTo>
                      <a:pt x="517" y="777"/>
                    </a:lnTo>
                    <a:lnTo>
                      <a:pt x="519" y="775"/>
                    </a:lnTo>
                    <a:lnTo>
                      <a:pt x="517" y="775"/>
                    </a:lnTo>
                    <a:lnTo>
                      <a:pt x="515" y="773"/>
                    </a:lnTo>
                    <a:lnTo>
                      <a:pt x="515" y="769"/>
                    </a:lnTo>
                    <a:lnTo>
                      <a:pt x="517" y="771"/>
                    </a:lnTo>
                    <a:lnTo>
                      <a:pt x="517" y="769"/>
                    </a:lnTo>
                    <a:lnTo>
                      <a:pt x="519" y="771"/>
                    </a:lnTo>
                    <a:lnTo>
                      <a:pt x="521" y="771"/>
                    </a:lnTo>
                    <a:lnTo>
                      <a:pt x="521" y="767"/>
                    </a:lnTo>
                    <a:lnTo>
                      <a:pt x="519" y="765"/>
                    </a:lnTo>
                    <a:lnTo>
                      <a:pt x="521" y="763"/>
                    </a:lnTo>
                    <a:lnTo>
                      <a:pt x="521" y="761"/>
                    </a:lnTo>
                    <a:lnTo>
                      <a:pt x="523" y="759"/>
                    </a:lnTo>
                    <a:lnTo>
                      <a:pt x="525" y="759"/>
                    </a:lnTo>
                    <a:lnTo>
                      <a:pt x="521" y="757"/>
                    </a:lnTo>
                    <a:lnTo>
                      <a:pt x="521" y="755"/>
                    </a:lnTo>
                    <a:lnTo>
                      <a:pt x="523" y="757"/>
                    </a:lnTo>
                    <a:lnTo>
                      <a:pt x="523" y="753"/>
                    </a:lnTo>
                    <a:lnTo>
                      <a:pt x="527" y="757"/>
                    </a:lnTo>
                    <a:lnTo>
                      <a:pt x="529" y="757"/>
                    </a:lnTo>
                    <a:lnTo>
                      <a:pt x="531" y="757"/>
                    </a:lnTo>
                    <a:lnTo>
                      <a:pt x="533" y="757"/>
                    </a:lnTo>
                    <a:lnTo>
                      <a:pt x="527" y="763"/>
                    </a:lnTo>
                    <a:lnTo>
                      <a:pt x="527" y="765"/>
                    </a:lnTo>
                    <a:lnTo>
                      <a:pt x="525" y="767"/>
                    </a:lnTo>
                    <a:lnTo>
                      <a:pt x="525" y="769"/>
                    </a:lnTo>
                    <a:lnTo>
                      <a:pt x="525" y="771"/>
                    </a:lnTo>
                    <a:lnTo>
                      <a:pt x="527" y="771"/>
                    </a:lnTo>
                    <a:lnTo>
                      <a:pt x="533" y="775"/>
                    </a:lnTo>
                    <a:lnTo>
                      <a:pt x="533" y="773"/>
                    </a:lnTo>
                    <a:lnTo>
                      <a:pt x="531" y="771"/>
                    </a:lnTo>
                    <a:lnTo>
                      <a:pt x="533" y="771"/>
                    </a:lnTo>
                    <a:lnTo>
                      <a:pt x="533" y="765"/>
                    </a:lnTo>
                    <a:lnTo>
                      <a:pt x="535" y="767"/>
                    </a:lnTo>
                    <a:lnTo>
                      <a:pt x="537" y="773"/>
                    </a:lnTo>
                    <a:lnTo>
                      <a:pt x="541" y="771"/>
                    </a:lnTo>
                    <a:lnTo>
                      <a:pt x="541" y="775"/>
                    </a:lnTo>
                    <a:lnTo>
                      <a:pt x="543" y="767"/>
                    </a:lnTo>
                    <a:lnTo>
                      <a:pt x="545" y="767"/>
                    </a:lnTo>
                    <a:lnTo>
                      <a:pt x="545" y="771"/>
                    </a:lnTo>
                    <a:lnTo>
                      <a:pt x="547" y="769"/>
                    </a:lnTo>
                    <a:lnTo>
                      <a:pt x="547" y="771"/>
                    </a:lnTo>
                    <a:lnTo>
                      <a:pt x="549" y="769"/>
                    </a:lnTo>
                    <a:lnTo>
                      <a:pt x="551" y="771"/>
                    </a:lnTo>
                    <a:lnTo>
                      <a:pt x="551" y="769"/>
                    </a:lnTo>
                    <a:lnTo>
                      <a:pt x="553" y="765"/>
                    </a:lnTo>
                    <a:lnTo>
                      <a:pt x="555" y="765"/>
                    </a:lnTo>
                    <a:lnTo>
                      <a:pt x="555" y="763"/>
                    </a:lnTo>
                    <a:lnTo>
                      <a:pt x="557" y="759"/>
                    </a:lnTo>
                    <a:lnTo>
                      <a:pt x="553" y="757"/>
                    </a:lnTo>
                    <a:lnTo>
                      <a:pt x="553" y="755"/>
                    </a:lnTo>
                    <a:lnTo>
                      <a:pt x="553" y="753"/>
                    </a:lnTo>
                    <a:lnTo>
                      <a:pt x="557" y="757"/>
                    </a:lnTo>
                    <a:lnTo>
                      <a:pt x="563" y="759"/>
                    </a:lnTo>
                    <a:lnTo>
                      <a:pt x="565" y="759"/>
                    </a:lnTo>
                    <a:lnTo>
                      <a:pt x="563" y="755"/>
                    </a:lnTo>
                    <a:lnTo>
                      <a:pt x="565" y="751"/>
                    </a:lnTo>
                    <a:lnTo>
                      <a:pt x="565" y="755"/>
                    </a:lnTo>
                    <a:lnTo>
                      <a:pt x="567" y="757"/>
                    </a:lnTo>
                    <a:lnTo>
                      <a:pt x="569" y="755"/>
                    </a:lnTo>
                    <a:lnTo>
                      <a:pt x="571" y="755"/>
                    </a:lnTo>
                    <a:lnTo>
                      <a:pt x="571" y="753"/>
                    </a:lnTo>
                    <a:lnTo>
                      <a:pt x="571" y="751"/>
                    </a:lnTo>
                    <a:lnTo>
                      <a:pt x="573" y="749"/>
                    </a:lnTo>
                    <a:lnTo>
                      <a:pt x="575" y="741"/>
                    </a:lnTo>
                    <a:lnTo>
                      <a:pt x="575" y="745"/>
                    </a:lnTo>
                    <a:lnTo>
                      <a:pt x="577" y="741"/>
                    </a:lnTo>
                    <a:lnTo>
                      <a:pt x="577" y="745"/>
                    </a:lnTo>
                    <a:lnTo>
                      <a:pt x="579" y="739"/>
                    </a:lnTo>
                    <a:lnTo>
                      <a:pt x="581" y="739"/>
                    </a:lnTo>
                    <a:lnTo>
                      <a:pt x="581" y="737"/>
                    </a:lnTo>
                    <a:lnTo>
                      <a:pt x="583" y="739"/>
                    </a:lnTo>
                    <a:lnTo>
                      <a:pt x="581" y="735"/>
                    </a:lnTo>
                    <a:lnTo>
                      <a:pt x="581" y="733"/>
                    </a:lnTo>
                    <a:lnTo>
                      <a:pt x="583" y="733"/>
                    </a:lnTo>
                    <a:lnTo>
                      <a:pt x="583" y="731"/>
                    </a:lnTo>
                    <a:lnTo>
                      <a:pt x="587" y="729"/>
                    </a:lnTo>
                    <a:lnTo>
                      <a:pt x="589" y="721"/>
                    </a:lnTo>
                    <a:lnTo>
                      <a:pt x="589" y="719"/>
                    </a:lnTo>
                    <a:lnTo>
                      <a:pt x="587" y="717"/>
                    </a:lnTo>
                    <a:lnTo>
                      <a:pt x="589" y="717"/>
                    </a:lnTo>
                    <a:lnTo>
                      <a:pt x="589" y="715"/>
                    </a:lnTo>
                    <a:lnTo>
                      <a:pt x="591" y="709"/>
                    </a:lnTo>
                    <a:lnTo>
                      <a:pt x="593" y="709"/>
                    </a:lnTo>
                    <a:lnTo>
                      <a:pt x="593" y="703"/>
                    </a:lnTo>
                    <a:lnTo>
                      <a:pt x="595" y="705"/>
                    </a:lnTo>
                    <a:lnTo>
                      <a:pt x="599" y="703"/>
                    </a:lnTo>
                    <a:lnTo>
                      <a:pt x="601" y="699"/>
                    </a:lnTo>
                    <a:lnTo>
                      <a:pt x="601" y="697"/>
                    </a:lnTo>
                    <a:lnTo>
                      <a:pt x="603" y="695"/>
                    </a:lnTo>
                    <a:lnTo>
                      <a:pt x="605" y="697"/>
                    </a:lnTo>
                    <a:lnTo>
                      <a:pt x="607" y="695"/>
                    </a:lnTo>
                    <a:lnTo>
                      <a:pt x="607" y="697"/>
                    </a:lnTo>
                    <a:lnTo>
                      <a:pt x="607" y="695"/>
                    </a:lnTo>
                    <a:lnTo>
                      <a:pt x="609" y="693"/>
                    </a:lnTo>
                    <a:lnTo>
                      <a:pt x="609" y="689"/>
                    </a:lnTo>
                    <a:lnTo>
                      <a:pt x="611" y="689"/>
                    </a:lnTo>
                    <a:lnTo>
                      <a:pt x="609" y="687"/>
                    </a:lnTo>
                    <a:lnTo>
                      <a:pt x="605" y="683"/>
                    </a:lnTo>
                    <a:lnTo>
                      <a:pt x="607" y="683"/>
                    </a:lnTo>
                    <a:lnTo>
                      <a:pt x="599" y="671"/>
                    </a:lnTo>
                    <a:lnTo>
                      <a:pt x="603" y="669"/>
                    </a:lnTo>
                    <a:lnTo>
                      <a:pt x="603" y="667"/>
                    </a:lnTo>
                    <a:lnTo>
                      <a:pt x="605" y="669"/>
                    </a:lnTo>
                    <a:lnTo>
                      <a:pt x="605" y="675"/>
                    </a:lnTo>
                    <a:lnTo>
                      <a:pt x="607" y="673"/>
                    </a:lnTo>
                    <a:lnTo>
                      <a:pt x="609" y="673"/>
                    </a:lnTo>
                    <a:lnTo>
                      <a:pt x="609" y="675"/>
                    </a:lnTo>
                    <a:lnTo>
                      <a:pt x="609" y="679"/>
                    </a:lnTo>
                    <a:lnTo>
                      <a:pt x="611" y="681"/>
                    </a:lnTo>
                    <a:lnTo>
                      <a:pt x="615" y="681"/>
                    </a:lnTo>
                    <a:lnTo>
                      <a:pt x="615" y="683"/>
                    </a:lnTo>
                    <a:lnTo>
                      <a:pt x="613" y="683"/>
                    </a:lnTo>
                    <a:lnTo>
                      <a:pt x="613" y="687"/>
                    </a:lnTo>
                    <a:lnTo>
                      <a:pt x="617" y="689"/>
                    </a:lnTo>
                    <a:lnTo>
                      <a:pt x="615" y="689"/>
                    </a:lnTo>
                    <a:lnTo>
                      <a:pt x="619" y="687"/>
                    </a:lnTo>
                    <a:lnTo>
                      <a:pt x="621" y="687"/>
                    </a:lnTo>
                    <a:lnTo>
                      <a:pt x="625" y="689"/>
                    </a:lnTo>
                    <a:lnTo>
                      <a:pt x="623" y="687"/>
                    </a:lnTo>
                    <a:lnTo>
                      <a:pt x="625" y="685"/>
                    </a:lnTo>
                    <a:lnTo>
                      <a:pt x="623" y="685"/>
                    </a:lnTo>
                    <a:lnTo>
                      <a:pt x="625" y="685"/>
                    </a:lnTo>
                    <a:lnTo>
                      <a:pt x="631" y="689"/>
                    </a:lnTo>
                    <a:lnTo>
                      <a:pt x="633" y="689"/>
                    </a:lnTo>
                    <a:lnTo>
                      <a:pt x="633" y="685"/>
                    </a:lnTo>
                    <a:lnTo>
                      <a:pt x="629" y="685"/>
                    </a:lnTo>
                    <a:lnTo>
                      <a:pt x="629" y="681"/>
                    </a:lnTo>
                    <a:lnTo>
                      <a:pt x="631" y="681"/>
                    </a:lnTo>
                    <a:lnTo>
                      <a:pt x="635" y="683"/>
                    </a:lnTo>
                    <a:lnTo>
                      <a:pt x="635" y="685"/>
                    </a:lnTo>
                    <a:lnTo>
                      <a:pt x="637" y="687"/>
                    </a:lnTo>
                    <a:lnTo>
                      <a:pt x="639" y="685"/>
                    </a:lnTo>
                    <a:lnTo>
                      <a:pt x="637" y="683"/>
                    </a:lnTo>
                    <a:lnTo>
                      <a:pt x="637" y="681"/>
                    </a:lnTo>
                    <a:lnTo>
                      <a:pt x="641" y="683"/>
                    </a:lnTo>
                    <a:lnTo>
                      <a:pt x="639" y="679"/>
                    </a:lnTo>
                    <a:lnTo>
                      <a:pt x="641" y="677"/>
                    </a:lnTo>
                    <a:lnTo>
                      <a:pt x="643" y="675"/>
                    </a:lnTo>
                    <a:lnTo>
                      <a:pt x="645" y="679"/>
                    </a:lnTo>
                    <a:lnTo>
                      <a:pt x="649" y="681"/>
                    </a:lnTo>
                    <a:lnTo>
                      <a:pt x="651" y="679"/>
                    </a:lnTo>
                    <a:lnTo>
                      <a:pt x="653" y="681"/>
                    </a:lnTo>
                    <a:lnTo>
                      <a:pt x="653" y="677"/>
                    </a:lnTo>
                    <a:lnTo>
                      <a:pt x="661" y="677"/>
                    </a:lnTo>
                    <a:lnTo>
                      <a:pt x="663" y="673"/>
                    </a:lnTo>
                    <a:lnTo>
                      <a:pt x="665" y="675"/>
                    </a:lnTo>
                    <a:lnTo>
                      <a:pt x="665" y="671"/>
                    </a:lnTo>
                    <a:lnTo>
                      <a:pt x="669" y="673"/>
                    </a:lnTo>
                    <a:lnTo>
                      <a:pt x="671" y="669"/>
                    </a:lnTo>
                    <a:lnTo>
                      <a:pt x="673" y="671"/>
                    </a:lnTo>
                    <a:lnTo>
                      <a:pt x="673" y="673"/>
                    </a:lnTo>
                    <a:lnTo>
                      <a:pt x="675" y="673"/>
                    </a:lnTo>
                    <a:lnTo>
                      <a:pt x="675" y="671"/>
                    </a:lnTo>
                    <a:lnTo>
                      <a:pt x="679" y="669"/>
                    </a:lnTo>
                    <a:lnTo>
                      <a:pt x="679" y="671"/>
                    </a:lnTo>
                    <a:lnTo>
                      <a:pt x="681" y="671"/>
                    </a:lnTo>
                    <a:lnTo>
                      <a:pt x="681" y="669"/>
                    </a:lnTo>
                    <a:lnTo>
                      <a:pt x="681" y="667"/>
                    </a:lnTo>
                    <a:lnTo>
                      <a:pt x="683" y="667"/>
                    </a:lnTo>
                    <a:lnTo>
                      <a:pt x="685" y="669"/>
                    </a:lnTo>
                    <a:lnTo>
                      <a:pt x="687" y="665"/>
                    </a:lnTo>
                    <a:lnTo>
                      <a:pt x="691" y="663"/>
                    </a:lnTo>
                    <a:lnTo>
                      <a:pt x="691" y="665"/>
                    </a:lnTo>
                    <a:lnTo>
                      <a:pt x="691" y="663"/>
                    </a:lnTo>
                    <a:lnTo>
                      <a:pt x="695" y="663"/>
                    </a:lnTo>
                    <a:lnTo>
                      <a:pt x="697" y="661"/>
                    </a:lnTo>
                    <a:lnTo>
                      <a:pt x="701" y="659"/>
                    </a:lnTo>
                    <a:lnTo>
                      <a:pt x="703" y="657"/>
                    </a:lnTo>
                    <a:lnTo>
                      <a:pt x="705" y="657"/>
                    </a:lnTo>
                    <a:lnTo>
                      <a:pt x="707" y="653"/>
                    </a:lnTo>
                    <a:lnTo>
                      <a:pt x="709" y="653"/>
                    </a:lnTo>
                    <a:lnTo>
                      <a:pt x="707" y="651"/>
                    </a:lnTo>
                    <a:lnTo>
                      <a:pt x="707" y="649"/>
                    </a:lnTo>
                    <a:lnTo>
                      <a:pt x="707" y="647"/>
                    </a:lnTo>
                    <a:lnTo>
                      <a:pt x="711" y="649"/>
                    </a:lnTo>
                    <a:lnTo>
                      <a:pt x="711" y="647"/>
                    </a:lnTo>
                    <a:lnTo>
                      <a:pt x="713" y="645"/>
                    </a:lnTo>
                    <a:lnTo>
                      <a:pt x="715" y="647"/>
                    </a:lnTo>
                    <a:lnTo>
                      <a:pt x="715" y="645"/>
                    </a:lnTo>
                    <a:lnTo>
                      <a:pt x="715" y="643"/>
                    </a:lnTo>
                    <a:lnTo>
                      <a:pt x="711" y="641"/>
                    </a:lnTo>
                    <a:lnTo>
                      <a:pt x="713" y="640"/>
                    </a:lnTo>
                    <a:lnTo>
                      <a:pt x="717" y="640"/>
                    </a:lnTo>
                    <a:lnTo>
                      <a:pt x="719" y="641"/>
                    </a:lnTo>
                    <a:lnTo>
                      <a:pt x="717" y="641"/>
                    </a:lnTo>
                    <a:lnTo>
                      <a:pt x="719" y="640"/>
                    </a:lnTo>
                    <a:lnTo>
                      <a:pt x="721" y="638"/>
                    </a:lnTo>
                    <a:lnTo>
                      <a:pt x="721" y="636"/>
                    </a:lnTo>
                    <a:lnTo>
                      <a:pt x="725" y="634"/>
                    </a:lnTo>
                    <a:lnTo>
                      <a:pt x="725" y="632"/>
                    </a:lnTo>
                    <a:lnTo>
                      <a:pt x="729" y="634"/>
                    </a:lnTo>
                    <a:lnTo>
                      <a:pt x="727" y="632"/>
                    </a:lnTo>
                    <a:lnTo>
                      <a:pt x="729" y="632"/>
                    </a:lnTo>
                    <a:lnTo>
                      <a:pt x="727" y="630"/>
                    </a:lnTo>
                    <a:lnTo>
                      <a:pt x="725" y="628"/>
                    </a:lnTo>
                    <a:lnTo>
                      <a:pt x="727" y="626"/>
                    </a:lnTo>
                    <a:lnTo>
                      <a:pt x="729" y="628"/>
                    </a:lnTo>
                    <a:lnTo>
                      <a:pt x="731" y="626"/>
                    </a:lnTo>
                    <a:lnTo>
                      <a:pt x="731" y="628"/>
                    </a:lnTo>
                    <a:lnTo>
                      <a:pt x="735" y="630"/>
                    </a:lnTo>
                    <a:lnTo>
                      <a:pt x="735" y="626"/>
                    </a:lnTo>
                    <a:lnTo>
                      <a:pt x="735" y="624"/>
                    </a:lnTo>
                    <a:lnTo>
                      <a:pt x="733" y="620"/>
                    </a:lnTo>
                    <a:lnTo>
                      <a:pt x="735" y="620"/>
                    </a:lnTo>
                    <a:lnTo>
                      <a:pt x="741" y="618"/>
                    </a:lnTo>
                    <a:lnTo>
                      <a:pt x="741" y="616"/>
                    </a:lnTo>
                    <a:lnTo>
                      <a:pt x="745" y="618"/>
                    </a:lnTo>
                    <a:lnTo>
                      <a:pt x="745" y="616"/>
                    </a:lnTo>
                    <a:lnTo>
                      <a:pt x="743" y="616"/>
                    </a:lnTo>
                    <a:lnTo>
                      <a:pt x="741" y="614"/>
                    </a:lnTo>
                    <a:lnTo>
                      <a:pt x="743" y="614"/>
                    </a:lnTo>
                    <a:lnTo>
                      <a:pt x="743" y="612"/>
                    </a:lnTo>
                    <a:lnTo>
                      <a:pt x="747" y="614"/>
                    </a:lnTo>
                    <a:lnTo>
                      <a:pt x="749" y="612"/>
                    </a:lnTo>
                    <a:lnTo>
                      <a:pt x="751" y="612"/>
                    </a:lnTo>
                    <a:lnTo>
                      <a:pt x="753" y="610"/>
                    </a:lnTo>
                    <a:lnTo>
                      <a:pt x="755" y="612"/>
                    </a:lnTo>
                    <a:lnTo>
                      <a:pt x="759" y="606"/>
                    </a:lnTo>
                    <a:lnTo>
                      <a:pt x="759" y="602"/>
                    </a:lnTo>
                    <a:lnTo>
                      <a:pt x="753" y="606"/>
                    </a:lnTo>
                    <a:lnTo>
                      <a:pt x="733" y="604"/>
                    </a:lnTo>
                    <a:lnTo>
                      <a:pt x="717" y="596"/>
                    </a:lnTo>
                    <a:lnTo>
                      <a:pt x="717" y="594"/>
                    </a:lnTo>
                    <a:lnTo>
                      <a:pt x="713" y="594"/>
                    </a:lnTo>
                    <a:lnTo>
                      <a:pt x="711" y="596"/>
                    </a:lnTo>
                    <a:lnTo>
                      <a:pt x="709" y="592"/>
                    </a:lnTo>
                    <a:lnTo>
                      <a:pt x="695" y="602"/>
                    </a:lnTo>
                    <a:lnTo>
                      <a:pt x="689" y="598"/>
                    </a:lnTo>
                    <a:lnTo>
                      <a:pt x="683" y="602"/>
                    </a:lnTo>
                    <a:lnTo>
                      <a:pt x="681" y="608"/>
                    </a:lnTo>
                    <a:lnTo>
                      <a:pt x="661" y="608"/>
                    </a:lnTo>
                    <a:lnTo>
                      <a:pt x="667" y="602"/>
                    </a:lnTo>
                    <a:lnTo>
                      <a:pt x="671" y="606"/>
                    </a:lnTo>
                    <a:lnTo>
                      <a:pt x="683" y="596"/>
                    </a:lnTo>
                    <a:lnTo>
                      <a:pt x="689" y="596"/>
                    </a:lnTo>
                    <a:lnTo>
                      <a:pt x="693" y="594"/>
                    </a:lnTo>
                    <a:lnTo>
                      <a:pt x="691" y="590"/>
                    </a:lnTo>
                    <a:lnTo>
                      <a:pt x="665" y="592"/>
                    </a:lnTo>
                    <a:lnTo>
                      <a:pt x="661" y="588"/>
                    </a:lnTo>
                    <a:lnTo>
                      <a:pt x="657" y="588"/>
                    </a:lnTo>
                    <a:lnTo>
                      <a:pt x="665" y="584"/>
                    </a:lnTo>
                    <a:lnTo>
                      <a:pt x="667" y="582"/>
                    </a:lnTo>
                    <a:lnTo>
                      <a:pt x="669" y="574"/>
                    </a:lnTo>
                    <a:lnTo>
                      <a:pt x="667" y="568"/>
                    </a:lnTo>
                    <a:lnTo>
                      <a:pt x="667" y="566"/>
                    </a:lnTo>
                    <a:lnTo>
                      <a:pt x="671" y="566"/>
                    </a:lnTo>
                    <a:lnTo>
                      <a:pt x="675" y="568"/>
                    </a:lnTo>
                    <a:lnTo>
                      <a:pt x="675" y="562"/>
                    </a:lnTo>
                    <a:lnTo>
                      <a:pt x="679" y="566"/>
                    </a:lnTo>
                    <a:lnTo>
                      <a:pt x="691" y="566"/>
                    </a:lnTo>
                    <a:lnTo>
                      <a:pt x="701" y="560"/>
                    </a:lnTo>
                    <a:lnTo>
                      <a:pt x="705" y="556"/>
                    </a:lnTo>
                    <a:lnTo>
                      <a:pt x="703" y="552"/>
                    </a:lnTo>
                    <a:lnTo>
                      <a:pt x="707" y="554"/>
                    </a:lnTo>
                    <a:lnTo>
                      <a:pt x="707" y="548"/>
                    </a:lnTo>
                    <a:lnTo>
                      <a:pt x="703" y="542"/>
                    </a:lnTo>
                    <a:lnTo>
                      <a:pt x="695" y="542"/>
                    </a:lnTo>
                    <a:lnTo>
                      <a:pt x="691" y="544"/>
                    </a:lnTo>
                    <a:lnTo>
                      <a:pt x="685" y="540"/>
                    </a:lnTo>
                    <a:lnTo>
                      <a:pt x="681" y="542"/>
                    </a:lnTo>
                    <a:lnTo>
                      <a:pt x="681" y="538"/>
                    </a:lnTo>
                    <a:lnTo>
                      <a:pt x="673" y="536"/>
                    </a:lnTo>
                    <a:lnTo>
                      <a:pt x="677" y="534"/>
                    </a:lnTo>
                    <a:lnTo>
                      <a:pt x="675" y="526"/>
                    </a:lnTo>
                    <a:lnTo>
                      <a:pt x="683" y="530"/>
                    </a:lnTo>
                    <a:lnTo>
                      <a:pt x="687" y="538"/>
                    </a:lnTo>
                    <a:lnTo>
                      <a:pt x="691" y="538"/>
                    </a:lnTo>
                    <a:lnTo>
                      <a:pt x="695" y="536"/>
                    </a:lnTo>
                    <a:lnTo>
                      <a:pt x="699" y="538"/>
                    </a:lnTo>
                    <a:lnTo>
                      <a:pt x="705" y="538"/>
                    </a:lnTo>
                    <a:lnTo>
                      <a:pt x="715" y="550"/>
                    </a:lnTo>
                    <a:lnTo>
                      <a:pt x="719" y="550"/>
                    </a:lnTo>
                    <a:lnTo>
                      <a:pt x="721" y="552"/>
                    </a:lnTo>
                    <a:lnTo>
                      <a:pt x="723" y="556"/>
                    </a:lnTo>
                    <a:lnTo>
                      <a:pt x="727" y="562"/>
                    </a:lnTo>
                    <a:lnTo>
                      <a:pt x="729" y="576"/>
                    </a:lnTo>
                    <a:lnTo>
                      <a:pt x="733" y="584"/>
                    </a:lnTo>
                    <a:lnTo>
                      <a:pt x="739" y="588"/>
                    </a:lnTo>
                    <a:lnTo>
                      <a:pt x="745" y="590"/>
                    </a:lnTo>
                    <a:lnTo>
                      <a:pt x="751" y="590"/>
                    </a:lnTo>
                    <a:lnTo>
                      <a:pt x="753" y="572"/>
                    </a:lnTo>
                    <a:lnTo>
                      <a:pt x="753" y="574"/>
                    </a:lnTo>
                    <a:lnTo>
                      <a:pt x="755" y="588"/>
                    </a:lnTo>
                    <a:lnTo>
                      <a:pt x="761" y="586"/>
                    </a:lnTo>
                    <a:lnTo>
                      <a:pt x="763" y="590"/>
                    </a:lnTo>
                    <a:lnTo>
                      <a:pt x="767" y="588"/>
                    </a:lnTo>
                    <a:lnTo>
                      <a:pt x="767" y="584"/>
                    </a:lnTo>
                    <a:lnTo>
                      <a:pt x="765" y="582"/>
                    </a:lnTo>
                    <a:lnTo>
                      <a:pt x="765" y="578"/>
                    </a:lnTo>
                    <a:lnTo>
                      <a:pt x="763" y="574"/>
                    </a:lnTo>
                    <a:lnTo>
                      <a:pt x="763" y="572"/>
                    </a:lnTo>
                    <a:lnTo>
                      <a:pt x="763" y="566"/>
                    </a:lnTo>
                    <a:lnTo>
                      <a:pt x="763" y="564"/>
                    </a:lnTo>
                    <a:lnTo>
                      <a:pt x="763" y="562"/>
                    </a:lnTo>
                    <a:lnTo>
                      <a:pt x="759" y="562"/>
                    </a:lnTo>
                    <a:lnTo>
                      <a:pt x="763" y="560"/>
                    </a:lnTo>
                    <a:lnTo>
                      <a:pt x="763" y="556"/>
                    </a:lnTo>
                    <a:lnTo>
                      <a:pt x="763" y="552"/>
                    </a:lnTo>
                    <a:lnTo>
                      <a:pt x="763" y="550"/>
                    </a:lnTo>
                    <a:lnTo>
                      <a:pt x="763" y="542"/>
                    </a:lnTo>
                    <a:lnTo>
                      <a:pt x="761" y="540"/>
                    </a:lnTo>
                    <a:lnTo>
                      <a:pt x="759" y="544"/>
                    </a:lnTo>
                    <a:lnTo>
                      <a:pt x="757" y="544"/>
                    </a:lnTo>
                    <a:lnTo>
                      <a:pt x="755" y="550"/>
                    </a:lnTo>
                    <a:lnTo>
                      <a:pt x="751" y="552"/>
                    </a:lnTo>
                    <a:lnTo>
                      <a:pt x="753" y="544"/>
                    </a:lnTo>
                    <a:lnTo>
                      <a:pt x="759" y="534"/>
                    </a:lnTo>
                    <a:lnTo>
                      <a:pt x="759" y="530"/>
                    </a:lnTo>
                    <a:lnTo>
                      <a:pt x="757" y="530"/>
                    </a:lnTo>
                    <a:lnTo>
                      <a:pt x="753" y="536"/>
                    </a:lnTo>
                    <a:lnTo>
                      <a:pt x="751" y="538"/>
                    </a:lnTo>
                    <a:lnTo>
                      <a:pt x="753" y="532"/>
                    </a:lnTo>
                    <a:lnTo>
                      <a:pt x="753" y="528"/>
                    </a:lnTo>
                    <a:lnTo>
                      <a:pt x="747" y="532"/>
                    </a:lnTo>
                    <a:lnTo>
                      <a:pt x="745" y="536"/>
                    </a:lnTo>
                    <a:lnTo>
                      <a:pt x="743" y="538"/>
                    </a:lnTo>
                    <a:lnTo>
                      <a:pt x="745" y="532"/>
                    </a:lnTo>
                    <a:lnTo>
                      <a:pt x="749" y="528"/>
                    </a:lnTo>
                    <a:lnTo>
                      <a:pt x="751" y="522"/>
                    </a:lnTo>
                    <a:lnTo>
                      <a:pt x="743" y="518"/>
                    </a:lnTo>
                    <a:lnTo>
                      <a:pt x="741" y="514"/>
                    </a:lnTo>
                    <a:lnTo>
                      <a:pt x="733" y="512"/>
                    </a:lnTo>
                    <a:lnTo>
                      <a:pt x="733" y="508"/>
                    </a:lnTo>
                    <a:lnTo>
                      <a:pt x="721" y="498"/>
                    </a:lnTo>
                    <a:lnTo>
                      <a:pt x="717" y="496"/>
                    </a:lnTo>
                    <a:lnTo>
                      <a:pt x="713" y="500"/>
                    </a:lnTo>
                    <a:lnTo>
                      <a:pt x="711" y="504"/>
                    </a:lnTo>
                    <a:lnTo>
                      <a:pt x="711" y="508"/>
                    </a:lnTo>
                    <a:lnTo>
                      <a:pt x="707" y="512"/>
                    </a:lnTo>
                    <a:lnTo>
                      <a:pt x="711" y="500"/>
                    </a:lnTo>
                    <a:lnTo>
                      <a:pt x="707" y="498"/>
                    </a:lnTo>
                    <a:lnTo>
                      <a:pt x="707" y="496"/>
                    </a:lnTo>
                    <a:lnTo>
                      <a:pt x="719" y="494"/>
                    </a:lnTo>
                    <a:lnTo>
                      <a:pt x="717" y="484"/>
                    </a:lnTo>
                    <a:lnTo>
                      <a:pt x="709" y="478"/>
                    </a:lnTo>
                    <a:lnTo>
                      <a:pt x="703" y="478"/>
                    </a:lnTo>
                    <a:lnTo>
                      <a:pt x="695" y="486"/>
                    </a:lnTo>
                    <a:lnTo>
                      <a:pt x="695" y="488"/>
                    </a:lnTo>
                    <a:lnTo>
                      <a:pt x="695" y="482"/>
                    </a:lnTo>
                    <a:lnTo>
                      <a:pt x="689" y="484"/>
                    </a:lnTo>
                    <a:lnTo>
                      <a:pt x="691" y="480"/>
                    </a:lnTo>
                    <a:lnTo>
                      <a:pt x="693" y="480"/>
                    </a:lnTo>
                    <a:lnTo>
                      <a:pt x="689" y="478"/>
                    </a:lnTo>
                    <a:lnTo>
                      <a:pt x="697" y="478"/>
                    </a:lnTo>
                    <a:lnTo>
                      <a:pt x="703" y="476"/>
                    </a:lnTo>
                    <a:lnTo>
                      <a:pt x="707" y="474"/>
                    </a:lnTo>
                    <a:lnTo>
                      <a:pt x="711" y="472"/>
                    </a:lnTo>
                    <a:lnTo>
                      <a:pt x="715" y="466"/>
                    </a:lnTo>
                    <a:lnTo>
                      <a:pt x="713" y="464"/>
                    </a:lnTo>
                    <a:lnTo>
                      <a:pt x="707" y="464"/>
                    </a:lnTo>
                    <a:lnTo>
                      <a:pt x="703" y="460"/>
                    </a:lnTo>
                    <a:lnTo>
                      <a:pt x="699" y="458"/>
                    </a:lnTo>
                    <a:lnTo>
                      <a:pt x="693" y="460"/>
                    </a:lnTo>
                    <a:lnTo>
                      <a:pt x="689" y="462"/>
                    </a:lnTo>
                    <a:lnTo>
                      <a:pt x="685" y="460"/>
                    </a:lnTo>
                    <a:lnTo>
                      <a:pt x="691" y="458"/>
                    </a:lnTo>
                    <a:lnTo>
                      <a:pt x="693" y="456"/>
                    </a:lnTo>
                    <a:lnTo>
                      <a:pt x="687" y="452"/>
                    </a:lnTo>
                    <a:lnTo>
                      <a:pt x="693" y="450"/>
                    </a:lnTo>
                    <a:lnTo>
                      <a:pt x="697" y="456"/>
                    </a:lnTo>
                    <a:lnTo>
                      <a:pt x="703" y="456"/>
                    </a:lnTo>
                    <a:lnTo>
                      <a:pt x="709" y="450"/>
                    </a:lnTo>
                    <a:lnTo>
                      <a:pt x="711" y="446"/>
                    </a:lnTo>
                    <a:lnTo>
                      <a:pt x="717" y="442"/>
                    </a:lnTo>
                    <a:lnTo>
                      <a:pt x="715" y="434"/>
                    </a:lnTo>
                    <a:lnTo>
                      <a:pt x="721" y="438"/>
                    </a:lnTo>
                    <a:lnTo>
                      <a:pt x="723" y="438"/>
                    </a:lnTo>
                    <a:lnTo>
                      <a:pt x="725" y="428"/>
                    </a:lnTo>
                    <a:lnTo>
                      <a:pt x="727" y="428"/>
                    </a:lnTo>
                    <a:lnTo>
                      <a:pt x="729" y="428"/>
                    </a:lnTo>
                    <a:lnTo>
                      <a:pt x="731" y="434"/>
                    </a:lnTo>
                    <a:lnTo>
                      <a:pt x="745" y="450"/>
                    </a:lnTo>
                    <a:lnTo>
                      <a:pt x="755" y="454"/>
                    </a:lnTo>
                    <a:lnTo>
                      <a:pt x="757" y="454"/>
                    </a:lnTo>
                    <a:lnTo>
                      <a:pt x="759" y="450"/>
                    </a:lnTo>
                    <a:lnTo>
                      <a:pt x="763" y="448"/>
                    </a:lnTo>
                    <a:lnTo>
                      <a:pt x="769" y="442"/>
                    </a:lnTo>
                    <a:lnTo>
                      <a:pt x="775" y="444"/>
                    </a:lnTo>
                    <a:lnTo>
                      <a:pt x="781" y="444"/>
                    </a:lnTo>
                    <a:lnTo>
                      <a:pt x="783" y="442"/>
                    </a:lnTo>
                    <a:lnTo>
                      <a:pt x="783" y="438"/>
                    </a:lnTo>
                    <a:lnTo>
                      <a:pt x="783" y="430"/>
                    </a:lnTo>
                    <a:lnTo>
                      <a:pt x="785" y="426"/>
                    </a:lnTo>
                    <a:lnTo>
                      <a:pt x="785" y="424"/>
                    </a:lnTo>
                    <a:lnTo>
                      <a:pt x="769" y="416"/>
                    </a:lnTo>
                    <a:lnTo>
                      <a:pt x="765" y="414"/>
                    </a:lnTo>
                    <a:lnTo>
                      <a:pt x="759" y="414"/>
                    </a:lnTo>
                    <a:lnTo>
                      <a:pt x="755" y="412"/>
                    </a:lnTo>
                    <a:lnTo>
                      <a:pt x="755" y="410"/>
                    </a:lnTo>
                    <a:lnTo>
                      <a:pt x="757" y="410"/>
                    </a:lnTo>
                    <a:lnTo>
                      <a:pt x="755" y="406"/>
                    </a:lnTo>
                    <a:lnTo>
                      <a:pt x="759" y="404"/>
                    </a:lnTo>
                    <a:lnTo>
                      <a:pt x="759" y="400"/>
                    </a:lnTo>
                    <a:lnTo>
                      <a:pt x="753" y="400"/>
                    </a:lnTo>
                    <a:lnTo>
                      <a:pt x="761" y="396"/>
                    </a:lnTo>
                    <a:lnTo>
                      <a:pt x="759" y="386"/>
                    </a:lnTo>
                    <a:lnTo>
                      <a:pt x="763" y="386"/>
                    </a:lnTo>
                    <a:lnTo>
                      <a:pt x="765" y="390"/>
                    </a:lnTo>
                    <a:lnTo>
                      <a:pt x="773" y="388"/>
                    </a:lnTo>
                    <a:lnTo>
                      <a:pt x="777" y="390"/>
                    </a:lnTo>
                    <a:lnTo>
                      <a:pt x="781" y="390"/>
                    </a:lnTo>
                    <a:lnTo>
                      <a:pt x="785" y="392"/>
                    </a:lnTo>
                    <a:lnTo>
                      <a:pt x="789" y="402"/>
                    </a:lnTo>
                    <a:lnTo>
                      <a:pt x="797" y="402"/>
                    </a:lnTo>
                    <a:lnTo>
                      <a:pt x="803" y="392"/>
                    </a:lnTo>
                    <a:lnTo>
                      <a:pt x="803" y="388"/>
                    </a:lnTo>
                    <a:lnTo>
                      <a:pt x="801" y="384"/>
                    </a:lnTo>
                    <a:lnTo>
                      <a:pt x="799" y="379"/>
                    </a:lnTo>
                    <a:lnTo>
                      <a:pt x="791" y="383"/>
                    </a:lnTo>
                    <a:lnTo>
                      <a:pt x="787" y="381"/>
                    </a:lnTo>
                    <a:lnTo>
                      <a:pt x="781" y="379"/>
                    </a:lnTo>
                    <a:lnTo>
                      <a:pt x="775" y="379"/>
                    </a:lnTo>
                    <a:lnTo>
                      <a:pt x="779" y="377"/>
                    </a:lnTo>
                    <a:lnTo>
                      <a:pt x="779" y="359"/>
                    </a:lnTo>
                    <a:lnTo>
                      <a:pt x="777" y="357"/>
                    </a:lnTo>
                    <a:lnTo>
                      <a:pt x="775" y="357"/>
                    </a:lnTo>
                    <a:lnTo>
                      <a:pt x="771" y="359"/>
                    </a:lnTo>
                    <a:lnTo>
                      <a:pt x="767" y="361"/>
                    </a:lnTo>
                    <a:lnTo>
                      <a:pt x="771" y="355"/>
                    </a:lnTo>
                    <a:lnTo>
                      <a:pt x="777" y="353"/>
                    </a:lnTo>
                    <a:lnTo>
                      <a:pt x="781" y="353"/>
                    </a:lnTo>
                    <a:lnTo>
                      <a:pt x="781" y="349"/>
                    </a:lnTo>
                    <a:lnTo>
                      <a:pt x="769" y="335"/>
                    </a:lnTo>
                    <a:lnTo>
                      <a:pt x="763" y="335"/>
                    </a:lnTo>
                    <a:lnTo>
                      <a:pt x="759" y="333"/>
                    </a:lnTo>
                    <a:lnTo>
                      <a:pt x="767" y="333"/>
                    </a:lnTo>
                    <a:lnTo>
                      <a:pt x="763" y="327"/>
                    </a:lnTo>
                    <a:lnTo>
                      <a:pt x="787" y="341"/>
                    </a:lnTo>
                    <a:lnTo>
                      <a:pt x="789" y="345"/>
                    </a:lnTo>
                    <a:lnTo>
                      <a:pt x="791" y="351"/>
                    </a:lnTo>
                    <a:lnTo>
                      <a:pt x="795" y="353"/>
                    </a:lnTo>
                    <a:lnTo>
                      <a:pt x="797" y="351"/>
                    </a:lnTo>
                    <a:lnTo>
                      <a:pt x="797" y="317"/>
                    </a:lnTo>
                    <a:lnTo>
                      <a:pt x="789" y="307"/>
                    </a:lnTo>
                    <a:lnTo>
                      <a:pt x="787" y="307"/>
                    </a:lnTo>
                    <a:lnTo>
                      <a:pt x="783" y="307"/>
                    </a:lnTo>
                    <a:lnTo>
                      <a:pt x="781" y="303"/>
                    </a:lnTo>
                    <a:lnTo>
                      <a:pt x="775" y="303"/>
                    </a:lnTo>
                    <a:lnTo>
                      <a:pt x="775" y="301"/>
                    </a:lnTo>
                    <a:lnTo>
                      <a:pt x="787" y="299"/>
                    </a:lnTo>
                    <a:lnTo>
                      <a:pt x="789" y="297"/>
                    </a:lnTo>
                    <a:lnTo>
                      <a:pt x="793" y="297"/>
                    </a:lnTo>
                    <a:lnTo>
                      <a:pt x="793" y="295"/>
                    </a:lnTo>
                    <a:lnTo>
                      <a:pt x="791" y="287"/>
                    </a:lnTo>
                    <a:lnTo>
                      <a:pt x="787" y="287"/>
                    </a:lnTo>
                    <a:lnTo>
                      <a:pt x="783" y="287"/>
                    </a:lnTo>
                    <a:lnTo>
                      <a:pt x="775" y="283"/>
                    </a:lnTo>
                    <a:lnTo>
                      <a:pt x="781" y="291"/>
                    </a:lnTo>
                    <a:lnTo>
                      <a:pt x="779" y="291"/>
                    </a:lnTo>
                    <a:lnTo>
                      <a:pt x="775" y="287"/>
                    </a:lnTo>
                    <a:lnTo>
                      <a:pt x="773" y="285"/>
                    </a:lnTo>
                    <a:lnTo>
                      <a:pt x="773" y="289"/>
                    </a:lnTo>
                    <a:lnTo>
                      <a:pt x="769" y="289"/>
                    </a:lnTo>
                    <a:lnTo>
                      <a:pt x="769" y="287"/>
                    </a:lnTo>
                    <a:lnTo>
                      <a:pt x="765" y="285"/>
                    </a:lnTo>
                    <a:lnTo>
                      <a:pt x="765" y="279"/>
                    </a:lnTo>
                    <a:lnTo>
                      <a:pt x="767" y="277"/>
                    </a:lnTo>
                    <a:lnTo>
                      <a:pt x="765" y="275"/>
                    </a:lnTo>
                    <a:lnTo>
                      <a:pt x="757" y="275"/>
                    </a:lnTo>
                    <a:lnTo>
                      <a:pt x="751" y="273"/>
                    </a:lnTo>
                    <a:lnTo>
                      <a:pt x="755" y="271"/>
                    </a:lnTo>
                    <a:lnTo>
                      <a:pt x="763" y="273"/>
                    </a:lnTo>
                    <a:lnTo>
                      <a:pt x="761" y="271"/>
                    </a:lnTo>
                    <a:lnTo>
                      <a:pt x="763" y="269"/>
                    </a:lnTo>
                    <a:lnTo>
                      <a:pt x="759" y="267"/>
                    </a:lnTo>
                    <a:lnTo>
                      <a:pt x="757" y="263"/>
                    </a:lnTo>
                    <a:lnTo>
                      <a:pt x="755" y="263"/>
                    </a:lnTo>
                    <a:lnTo>
                      <a:pt x="753" y="267"/>
                    </a:lnTo>
                    <a:lnTo>
                      <a:pt x="753" y="263"/>
                    </a:lnTo>
                    <a:lnTo>
                      <a:pt x="751" y="257"/>
                    </a:lnTo>
                    <a:lnTo>
                      <a:pt x="755" y="253"/>
                    </a:lnTo>
                    <a:lnTo>
                      <a:pt x="755" y="251"/>
                    </a:lnTo>
                    <a:lnTo>
                      <a:pt x="759" y="249"/>
                    </a:lnTo>
                    <a:lnTo>
                      <a:pt x="765" y="259"/>
                    </a:lnTo>
                    <a:lnTo>
                      <a:pt x="769" y="255"/>
                    </a:lnTo>
                    <a:lnTo>
                      <a:pt x="771" y="251"/>
                    </a:lnTo>
                    <a:lnTo>
                      <a:pt x="779" y="249"/>
                    </a:lnTo>
                    <a:lnTo>
                      <a:pt x="767" y="245"/>
                    </a:lnTo>
                    <a:lnTo>
                      <a:pt x="777" y="245"/>
                    </a:lnTo>
                    <a:lnTo>
                      <a:pt x="781" y="243"/>
                    </a:lnTo>
                    <a:lnTo>
                      <a:pt x="779" y="243"/>
                    </a:lnTo>
                    <a:lnTo>
                      <a:pt x="765" y="239"/>
                    </a:lnTo>
                    <a:lnTo>
                      <a:pt x="795" y="243"/>
                    </a:lnTo>
                    <a:lnTo>
                      <a:pt x="813" y="251"/>
                    </a:lnTo>
                    <a:lnTo>
                      <a:pt x="817" y="245"/>
                    </a:lnTo>
                    <a:lnTo>
                      <a:pt x="817" y="215"/>
                    </a:lnTo>
                    <a:lnTo>
                      <a:pt x="815" y="215"/>
                    </a:lnTo>
                    <a:lnTo>
                      <a:pt x="807" y="211"/>
                    </a:lnTo>
                    <a:lnTo>
                      <a:pt x="805" y="215"/>
                    </a:lnTo>
                    <a:lnTo>
                      <a:pt x="805" y="219"/>
                    </a:lnTo>
                    <a:lnTo>
                      <a:pt x="803" y="221"/>
                    </a:lnTo>
                    <a:lnTo>
                      <a:pt x="801" y="219"/>
                    </a:lnTo>
                    <a:lnTo>
                      <a:pt x="801" y="215"/>
                    </a:lnTo>
                    <a:lnTo>
                      <a:pt x="795" y="211"/>
                    </a:lnTo>
                    <a:lnTo>
                      <a:pt x="781" y="209"/>
                    </a:lnTo>
                    <a:lnTo>
                      <a:pt x="787" y="207"/>
                    </a:lnTo>
                    <a:lnTo>
                      <a:pt x="787" y="205"/>
                    </a:lnTo>
                    <a:lnTo>
                      <a:pt x="781" y="203"/>
                    </a:lnTo>
                    <a:lnTo>
                      <a:pt x="783" y="201"/>
                    </a:lnTo>
                    <a:lnTo>
                      <a:pt x="783" y="199"/>
                    </a:lnTo>
                    <a:lnTo>
                      <a:pt x="787" y="199"/>
                    </a:lnTo>
                    <a:lnTo>
                      <a:pt x="781" y="193"/>
                    </a:lnTo>
                    <a:lnTo>
                      <a:pt x="779" y="191"/>
                    </a:lnTo>
                    <a:lnTo>
                      <a:pt x="781" y="187"/>
                    </a:lnTo>
                    <a:lnTo>
                      <a:pt x="787" y="189"/>
                    </a:lnTo>
                    <a:lnTo>
                      <a:pt x="793" y="189"/>
                    </a:lnTo>
                    <a:lnTo>
                      <a:pt x="801" y="197"/>
                    </a:lnTo>
                    <a:lnTo>
                      <a:pt x="805" y="195"/>
                    </a:lnTo>
                    <a:lnTo>
                      <a:pt x="805" y="189"/>
                    </a:lnTo>
                    <a:lnTo>
                      <a:pt x="803" y="185"/>
                    </a:lnTo>
                    <a:lnTo>
                      <a:pt x="783" y="175"/>
                    </a:lnTo>
                    <a:lnTo>
                      <a:pt x="781" y="171"/>
                    </a:lnTo>
                    <a:lnTo>
                      <a:pt x="779" y="169"/>
                    </a:lnTo>
                    <a:lnTo>
                      <a:pt x="777" y="171"/>
                    </a:lnTo>
                    <a:lnTo>
                      <a:pt x="769" y="189"/>
                    </a:lnTo>
                    <a:lnTo>
                      <a:pt x="765" y="191"/>
                    </a:lnTo>
                    <a:lnTo>
                      <a:pt x="763" y="185"/>
                    </a:lnTo>
                    <a:lnTo>
                      <a:pt x="767" y="167"/>
                    </a:lnTo>
                    <a:lnTo>
                      <a:pt x="771" y="161"/>
                    </a:lnTo>
                    <a:lnTo>
                      <a:pt x="771" y="159"/>
                    </a:lnTo>
                    <a:lnTo>
                      <a:pt x="769" y="155"/>
                    </a:lnTo>
                    <a:lnTo>
                      <a:pt x="777" y="122"/>
                    </a:lnTo>
                    <a:lnTo>
                      <a:pt x="773" y="122"/>
                    </a:lnTo>
                    <a:lnTo>
                      <a:pt x="771" y="120"/>
                    </a:lnTo>
                    <a:lnTo>
                      <a:pt x="775" y="120"/>
                    </a:lnTo>
                    <a:lnTo>
                      <a:pt x="775" y="112"/>
                    </a:lnTo>
                    <a:lnTo>
                      <a:pt x="775" y="110"/>
                    </a:lnTo>
                    <a:lnTo>
                      <a:pt x="775" y="108"/>
                    </a:lnTo>
                    <a:lnTo>
                      <a:pt x="777" y="108"/>
                    </a:lnTo>
                    <a:lnTo>
                      <a:pt x="783" y="104"/>
                    </a:lnTo>
                    <a:lnTo>
                      <a:pt x="787" y="106"/>
                    </a:lnTo>
                    <a:lnTo>
                      <a:pt x="793" y="100"/>
                    </a:lnTo>
                    <a:lnTo>
                      <a:pt x="791" y="84"/>
                    </a:lnTo>
                    <a:lnTo>
                      <a:pt x="793" y="84"/>
                    </a:lnTo>
                    <a:lnTo>
                      <a:pt x="795" y="82"/>
                    </a:lnTo>
                    <a:lnTo>
                      <a:pt x="797" y="84"/>
                    </a:lnTo>
                    <a:lnTo>
                      <a:pt x="797" y="78"/>
                    </a:lnTo>
                    <a:lnTo>
                      <a:pt x="755" y="58"/>
                    </a:lnTo>
                    <a:lnTo>
                      <a:pt x="759" y="58"/>
                    </a:lnTo>
                    <a:lnTo>
                      <a:pt x="801" y="78"/>
                    </a:lnTo>
                    <a:lnTo>
                      <a:pt x="761" y="54"/>
                    </a:lnTo>
                    <a:lnTo>
                      <a:pt x="753" y="52"/>
                    </a:lnTo>
                    <a:lnTo>
                      <a:pt x="793" y="80"/>
                    </a:lnTo>
                    <a:lnTo>
                      <a:pt x="753" y="44"/>
                    </a:lnTo>
                    <a:lnTo>
                      <a:pt x="751" y="42"/>
                    </a:lnTo>
                    <a:lnTo>
                      <a:pt x="619" y="40"/>
                    </a:lnTo>
                    <a:lnTo>
                      <a:pt x="617" y="34"/>
                    </a:lnTo>
                    <a:lnTo>
                      <a:pt x="619" y="30"/>
                    </a:lnTo>
                    <a:lnTo>
                      <a:pt x="629" y="28"/>
                    </a:lnTo>
                    <a:lnTo>
                      <a:pt x="633" y="22"/>
                    </a:lnTo>
                    <a:lnTo>
                      <a:pt x="633" y="14"/>
                    </a:lnTo>
                    <a:lnTo>
                      <a:pt x="631" y="10"/>
                    </a:lnTo>
                    <a:lnTo>
                      <a:pt x="631" y="6"/>
                    </a:lnTo>
                    <a:lnTo>
                      <a:pt x="629" y="0"/>
                    </a:lnTo>
                    <a:lnTo>
                      <a:pt x="601" y="16"/>
                    </a:lnTo>
                    <a:lnTo>
                      <a:pt x="601" y="24"/>
                    </a:lnTo>
                    <a:lnTo>
                      <a:pt x="603" y="30"/>
                    </a:lnTo>
                    <a:lnTo>
                      <a:pt x="605" y="34"/>
                    </a:lnTo>
                    <a:lnTo>
                      <a:pt x="609" y="34"/>
                    </a:lnTo>
                    <a:lnTo>
                      <a:pt x="605" y="40"/>
                    </a:lnTo>
                    <a:lnTo>
                      <a:pt x="599" y="34"/>
                    </a:lnTo>
                    <a:lnTo>
                      <a:pt x="597" y="36"/>
                    </a:lnTo>
                    <a:lnTo>
                      <a:pt x="547" y="22"/>
                    </a:lnTo>
                    <a:lnTo>
                      <a:pt x="537" y="22"/>
                    </a:lnTo>
                    <a:lnTo>
                      <a:pt x="507" y="20"/>
                    </a:lnTo>
                    <a:lnTo>
                      <a:pt x="455" y="18"/>
                    </a:lnTo>
                    <a:lnTo>
                      <a:pt x="385" y="20"/>
                    </a:lnTo>
                    <a:lnTo>
                      <a:pt x="417" y="22"/>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3" name="Freeform 582"/>
              <p:cNvSpPr/>
              <p:nvPr/>
            </p:nvSpPr>
            <p:spPr bwMode="auto">
              <a:xfrm>
                <a:off x="5018717" y="3174222"/>
                <a:ext cx="77428" cy="62664"/>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54 w 70"/>
                  <a:gd name="T107" fmla="*/ 56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lnTo>
                      <a:pt x="54"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4" name="Freeform 583"/>
              <p:cNvSpPr/>
              <p:nvPr/>
            </p:nvSpPr>
            <p:spPr bwMode="auto">
              <a:xfrm>
                <a:off x="5018717" y="3174222"/>
                <a:ext cx="77428" cy="62664"/>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5" name="Freeform 584"/>
              <p:cNvSpPr/>
              <p:nvPr/>
            </p:nvSpPr>
            <p:spPr bwMode="auto">
              <a:xfrm>
                <a:off x="4869974" y="3301508"/>
                <a:ext cx="173194" cy="113578"/>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156 w 156"/>
                  <a:gd name="T121" fmla="*/ 38 h 1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lnTo>
                      <a:pt x="156" y="3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6" name="Freeform 585"/>
              <p:cNvSpPr/>
              <p:nvPr/>
            </p:nvSpPr>
            <p:spPr bwMode="auto">
              <a:xfrm>
                <a:off x="4869974" y="3301508"/>
                <a:ext cx="173194" cy="113578"/>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7" name="Freeform 586"/>
              <p:cNvSpPr/>
              <p:nvPr/>
            </p:nvSpPr>
            <p:spPr bwMode="auto">
              <a:xfrm>
                <a:off x="4354463" y="3722530"/>
                <a:ext cx="209872" cy="209533"/>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2 w 190"/>
                  <a:gd name="T95" fmla="*/ 161 h 1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lnTo>
                      <a:pt x="2" y="1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8" name="Freeform 587"/>
              <p:cNvSpPr/>
              <p:nvPr/>
            </p:nvSpPr>
            <p:spPr bwMode="auto">
              <a:xfrm>
                <a:off x="4354463" y="3722530"/>
                <a:ext cx="209872" cy="209533"/>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9" name="Freeform 588"/>
              <p:cNvSpPr/>
              <p:nvPr/>
            </p:nvSpPr>
            <p:spPr bwMode="auto">
              <a:xfrm>
                <a:off x="4360577" y="3699031"/>
                <a:ext cx="18338" cy="23499"/>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16 w 16"/>
                  <a:gd name="T27" fmla="*/ 4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lnTo>
                      <a:pt x="1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0" name="Freeform 589"/>
              <p:cNvSpPr/>
              <p:nvPr/>
            </p:nvSpPr>
            <p:spPr bwMode="auto">
              <a:xfrm>
                <a:off x="4360577" y="3699031"/>
                <a:ext cx="18338" cy="23499"/>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1" name="Freeform 590"/>
              <p:cNvSpPr/>
              <p:nvPr/>
            </p:nvSpPr>
            <p:spPr bwMode="auto">
              <a:xfrm>
                <a:off x="4435967" y="4002559"/>
                <a:ext cx="273037" cy="242822"/>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50 w 246"/>
                  <a:gd name="T113" fmla="*/ 43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lnTo>
                      <a:pt x="50" y="4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2" name="Freeform 591"/>
              <p:cNvSpPr/>
              <p:nvPr/>
            </p:nvSpPr>
            <p:spPr bwMode="auto">
              <a:xfrm>
                <a:off x="4435967" y="4002559"/>
                <a:ext cx="273037" cy="242822"/>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3" name="Freeform 592"/>
              <p:cNvSpPr/>
              <p:nvPr/>
            </p:nvSpPr>
            <p:spPr bwMode="auto">
              <a:xfrm>
                <a:off x="3329558" y="3616785"/>
                <a:ext cx="10187" cy="9792"/>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2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2" y="0"/>
                    </a:moveTo>
                    <a:lnTo>
                      <a:pt x="0" y="2"/>
                    </a:lnTo>
                    <a:lnTo>
                      <a:pt x="0" y="4"/>
                    </a:lnTo>
                    <a:lnTo>
                      <a:pt x="2" y="6"/>
                    </a:lnTo>
                    <a:lnTo>
                      <a:pt x="6" y="8"/>
                    </a:lnTo>
                    <a:lnTo>
                      <a:pt x="8" y="8"/>
                    </a:lnTo>
                    <a:lnTo>
                      <a:pt x="8" y="6"/>
                    </a:lnTo>
                    <a:lnTo>
                      <a:pt x="6" y="4"/>
                    </a:lnTo>
                    <a:lnTo>
                      <a:pt x="4"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4" name="Freeform 593"/>
              <p:cNvSpPr/>
              <p:nvPr/>
            </p:nvSpPr>
            <p:spPr bwMode="auto">
              <a:xfrm>
                <a:off x="3329558" y="3616785"/>
                <a:ext cx="10187" cy="9792"/>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8">
                    <a:moveTo>
                      <a:pt x="2" y="0"/>
                    </a:moveTo>
                    <a:lnTo>
                      <a:pt x="0" y="2"/>
                    </a:lnTo>
                    <a:lnTo>
                      <a:pt x="0" y="4"/>
                    </a:lnTo>
                    <a:lnTo>
                      <a:pt x="2" y="6"/>
                    </a:lnTo>
                    <a:lnTo>
                      <a:pt x="6" y="8"/>
                    </a:lnTo>
                    <a:lnTo>
                      <a:pt x="8" y="8"/>
                    </a:lnTo>
                    <a:lnTo>
                      <a:pt x="8" y="6"/>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5" name="Freeform 594"/>
              <p:cNvSpPr/>
              <p:nvPr/>
            </p:nvSpPr>
            <p:spPr bwMode="auto">
              <a:xfrm>
                <a:off x="3341783" y="3624618"/>
                <a:ext cx="4075" cy="3916"/>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4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4"/>
                    </a:moveTo>
                    <a:lnTo>
                      <a:pt x="2" y="4"/>
                    </a:lnTo>
                    <a:lnTo>
                      <a:pt x="0" y="4"/>
                    </a:lnTo>
                    <a:lnTo>
                      <a:pt x="0" y="2"/>
                    </a:lnTo>
                    <a:lnTo>
                      <a:pt x="2" y="0"/>
                    </a:lnTo>
                    <a:lnTo>
                      <a:pt x="4" y="0"/>
                    </a:lnTo>
                    <a:lnTo>
                      <a:pt x="4" y="2"/>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6" name="Freeform 595"/>
              <p:cNvSpPr/>
              <p:nvPr/>
            </p:nvSpPr>
            <p:spPr bwMode="auto">
              <a:xfrm>
                <a:off x="3341783" y="3624618"/>
                <a:ext cx="4075" cy="3916"/>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4"/>
                    </a:moveTo>
                    <a:lnTo>
                      <a:pt x="2" y="4"/>
                    </a:lnTo>
                    <a:lnTo>
                      <a:pt x="0" y="4"/>
                    </a:lnTo>
                    <a:lnTo>
                      <a:pt x="0" y="2"/>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7" name="Freeform 596"/>
              <p:cNvSpPr/>
              <p:nvPr/>
            </p:nvSpPr>
            <p:spPr bwMode="auto">
              <a:xfrm>
                <a:off x="3325483" y="3628534"/>
                <a:ext cx="34638" cy="27415"/>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32 w 32"/>
                  <a:gd name="T37" fmla="*/ 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8" name="Freeform 597"/>
              <p:cNvSpPr/>
              <p:nvPr/>
            </p:nvSpPr>
            <p:spPr bwMode="auto">
              <a:xfrm>
                <a:off x="3325483" y="3628534"/>
                <a:ext cx="34638" cy="27415"/>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9" name="Freeform 598"/>
              <p:cNvSpPr/>
              <p:nvPr/>
            </p:nvSpPr>
            <p:spPr bwMode="auto">
              <a:xfrm>
                <a:off x="3317332" y="3626577"/>
                <a:ext cx="8150" cy="11749"/>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8 w 8"/>
                  <a:gd name="T37" fmla="*/ 4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lnTo>
                      <a:pt x="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0" name="Freeform 599"/>
              <p:cNvSpPr/>
              <p:nvPr/>
            </p:nvSpPr>
            <p:spPr bwMode="auto">
              <a:xfrm>
                <a:off x="3317332" y="3626577"/>
                <a:ext cx="8150" cy="11749"/>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1" name="Freeform 600"/>
              <p:cNvSpPr/>
              <p:nvPr/>
            </p:nvSpPr>
            <p:spPr bwMode="auto">
              <a:xfrm>
                <a:off x="3333633" y="3616785"/>
                <a:ext cx="4075" cy="3916"/>
              </a:xfrm>
              <a:custGeom>
                <a:avLst/>
                <a:gdLst>
                  <a:gd name="T0" fmla="*/ 2 w 2"/>
                  <a:gd name="T1" fmla="*/ 0 h 2"/>
                  <a:gd name="T2" fmla="*/ 2 w 2"/>
                  <a:gd name="T3" fmla="*/ 2 h 2"/>
                  <a:gd name="T4" fmla="*/ 0 w 2"/>
                  <a:gd name="T5" fmla="*/ 2 h 2"/>
                  <a:gd name="T6" fmla="*/ 0 w 2"/>
                  <a:gd name="T7" fmla="*/ 0 h 2"/>
                  <a:gd name="T8" fmla="*/ 0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2" y="2"/>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2" name="Freeform 601"/>
              <p:cNvSpPr/>
              <p:nvPr/>
            </p:nvSpPr>
            <p:spPr bwMode="auto">
              <a:xfrm>
                <a:off x="3333633" y="3616785"/>
                <a:ext cx="4075" cy="3916"/>
              </a:xfrm>
              <a:custGeom>
                <a:avLst/>
                <a:gdLst>
                  <a:gd name="T0" fmla="*/ 2 w 2"/>
                  <a:gd name="T1" fmla="*/ 0 h 2"/>
                  <a:gd name="T2" fmla="*/ 2 w 2"/>
                  <a:gd name="T3" fmla="*/ 2 h 2"/>
                  <a:gd name="T4" fmla="*/ 0 w 2"/>
                  <a:gd name="T5" fmla="*/ 2 h 2"/>
                  <a:gd name="T6" fmla="*/ 0 w 2"/>
                  <a:gd name="T7" fmla="*/ 0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2" y="2"/>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3" name="Rectangle 602"/>
              <p:cNvSpPr>
                <a:spLocks noChangeArrowheads="1"/>
              </p:cNvSpPr>
              <p:nvPr/>
            </p:nvSpPr>
            <p:spPr bwMode="auto">
              <a:xfrm>
                <a:off x="3327519" y="3624618"/>
                <a:ext cx="2038" cy="1959"/>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4" name="Freeform 603"/>
              <p:cNvSpPr/>
              <p:nvPr/>
            </p:nvSpPr>
            <p:spPr bwMode="auto">
              <a:xfrm>
                <a:off x="4138479" y="2341969"/>
                <a:ext cx="8150" cy="27415"/>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6 w 8"/>
                  <a:gd name="T37" fmla="*/ 0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5" name="Freeform 604"/>
              <p:cNvSpPr/>
              <p:nvPr/>
            </p:nvSpPr>
            <p:spPr bwMode="auto">
              <a:xfrm>
                <a:off x="4138479" y="2341969"/>
                <a:ext cx="8150" cy="27415"/>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6" name="Freeform 605"/>
              <p:cNvSpPr/>
              <p:nvPr/>
            </p:nvSpPr>
            <p:spPr bwMode="auto">
              <a:xfrm>
                <a:off x="4050864" y="2416382"/>
                <a:ext cx="12226" cy="19582"/>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12 w 12"/>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7" name="Freeform 606"/>
              <p:cNvSpPr/>
              <p:nvPr/>
            </p:nvSpPr>
            <p:spPr bwMode="auto">
              <a:xfrm>
                <a:off x="4050864" y="2416382"/>
                <a:ext cx="12226" cy="19582"/>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8" name="Freeform 607"/>
              <p:cNvSpPr/>
              <p:nvPr/>
            </p:nvSpPr>
            <p:spPr bwMode="auto">
              <a:xfrm>
                <a:off x="4040675" y="2441839"/>
                <a:ext cx="6113" cy="3916"/>
              </a:xfrm>
              <a:custGeom>
                <a:avLst/>
                <a:gdLst>
                  <a:gd name="T0" fmla="*/ 6 w 6"/>
                  <a:gd name="T1" fmla="*/ 0 h 4"/>
                  <a:gd name="T2" fmla="*/ 0 w 6"/>
                  <a:gd name="T3" fmla="*/ 0 h 4"/>
                  <a:gd name="T4" fmla="*/ 0 w 6"/>
                  <a:gd name="T5" fmla="*/ 2 h 4"/>
                  <a:gd name="T6" fmla="*/ 4 w 6"/>
                  <a:gd name="T7" fmla="*/ 4 h 4"/>
                  <a:gd name="T8" fmla="*/ 6 w 6"/>
                  <a:gd name="T9" fmla="*/ 4 h 4"/>
                  <a:gd name="T10" fmla="*/ 6 w 6"/>
                  <a:gd name="T11" fmla="*/ 2 h 4"/>
                  <a:gd name="T12" fmla="*/ 6 w 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0"/>
                    </a:moveTo>
                    <a:lnTo>
                      <a:pt x="0" y="0"/>
                    </a:lnTo>
                    <a:lnTo>
                      <a:pt x="0" y="2"/>
                    </a:lnTo>
                    <a:lnTo>
                      <a:pt x="4" y="4"/>
                    </a:lnTo>
                    <a:lnTo>
                      <a:pt x="6" y="4"/>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9" name="Freeform 608"/>
              <p:cNvSpPr/>
              <p:nvPr/>
            </p:nvSpPr>
            <p:spPr bwMode="auto">
              <a:xfrm>
                <a:off x="4040675" y="2441839"/>
                <a:ext cx="10189" cy="3916"/>
              </a:xfrm>
              <a:custGeom>
                <a:avLst/>
                <a:gdLst>
                  <a:gd name="T0" fmla="*/ 6 w 8"/>
                  <a:gd name="T1" fmla="*/ 0 h 4"/>
                  <a:gd name="T2" fmla="*/ 8 w 8"/>
                  <a:gd name="T3" fmla="*/ 0 h 4"/>
                  <a:gd name="T4" fmla="*/ 8 w 8"/>
                  <a:gd name="T5" fmla="*/ 0 h 4"/>
                  <a:gd name="T6" fmla="*/ 0 w 8"/>
                  <a:gd name="T7" fmla="*/ 0 h 4"/>
                  <a:gd name="T8" fmla="*/ 0 w 8"/>
                  <a:gd name="T9" fmla="*/ 2 h 4"/>
                  <a:gd name="T10" fmla="*/ 4 w 8"/>
                  <a:gd name="T11" fmla="*/ 4 h 4"/>
                  <a:gd name="T12" fmla="*/ 6 w 8"/>
                  <a:gd name="T13" fmla="*/ 4 h 4"/>
                  <a:gd name="T14" fmla="*/ 6 w 8"/>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6" y="0"/>
                    </a:moveTo>
                    <a:lnTo>
                      <a:pt x="8" y="0"/>
                    </a:lnTo>
                    <a:lnTo>
                      <a:pt x="0" y="0"/>
                    </a:lnTo>
                    <a:lnTo>
                      <a:pt x="0" y="2"/>
                    </a:lnTo>
                    <a:lnTo>
                      <a:pt x="4" y="4"/>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0" name="Freeform 609"/>
              <p:cNvSpPr/>
              <p:nvPr/>
            </p:nvSpPr>
            <p:spPr bwMode="auto">
              <a:xfrm>
                <a:off x="4111991" y="2392883"/>
                <a:ext cx="8150" cy="7833"/>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8 w 8"/>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8" y="6"/>
                    </a:moveTo>
                    <a:lnTo>
                      <a:pt x="4" y="6"/>
                    </a:lnTo>
                    <a:lnTo>
                      <a:pt x="2" y="2"/>
                    </a:lnTo>
                    <a:lnTo>
                      <a:pt x="0" y="0"/>
                    </a:lnTo>
                    <a:lnTo>
                      <a:pt x="0" y="6"/>
                    </a:lnTo>
                    <a:lnTo>
                      <a:pt x="4" y="6"/>
                    </a:lnTo>
                    <a:lnTo>
                      <a:pt x="8" y="8"/>
                    </a:lnTo>
                    <a:lnTo>
                      <a:pt x="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1" name="Freeform 610"/>
              <p:cNvSpPr/>
              <p:nvPr/>
            </p:nvSpPr>
            <p:spPr bwMode="auto">
              <a:xfrm>
                <a:off x="4111991" y="2392883"/>
                <a:ext cx="8150" cy="7833"/>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8" y="6"/>
                    </a:moveTo>
                    <a:lnTo>
                      <a:pt x="4" y="6"/>
                    </a:lnTo>
                    <a:lnTo>
                      <a:pt x="2" y="2"/>
                    </a:lnTo>
                    <a:lnTo>
                      <a:pt x="0" y="0"/>
                    </a:lnTo>
                    <a:lnTo>
                      <a:pt x="0" y="6"/>
                    </a:lnTo>
                    <a:lnTo>
                      <a:pt x="4" y="6"/>
                    </a:lnTo>
                    <a:lnTo>
                      <a:pt x="8"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2" name="Freeform 611"/>
              <p:cNvSpPr/>
              <p:nvPr/>
            </p:nvSpPr>
            <p:spPr bwMode="auto">
              <a:xfrm>
                <a:off x="4109953" y="2400716"/>
                <a:ext cx="4075" cy="1958"/>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2"/>
                    </a:moveTo>
                    <a:lnTo>
                      <a:pt x="2" y="0"/>
                    </a:lnTo>
                    <a:lnTo>
                      <a:pt x="0" y="0"/>
                    </a:lnTo>
                    <a:lnTo>
                      <a:pt x="0" y="2"/>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3" name="Freeform 612"/>
              <p:cNvSpPr/>
              <p:nvPr/>
            </p:nvSpPr>
            <p:spPr bwMode="auto">
              <a:xfrm>
                <a:off x="4109953" y="2400716"/>
                <a:ext cx="4075" cy="1958"/>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2"/>
                    </a:moveTo>
                    <a:lnTo>
                      <a:pt x="2" y="0"/>
                    </a:lnTo>
                    <a:lnTo>
                      <a:pt x="0" y="0"/>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4" name="Freeform 613"/>
              <p:cNvSpPr/>
              <p:nvPr/>
            </p:nvSpPr>
            <p:spPr bwMode="auto">
              <a:xfrm>
                <a:off x="4065126" y="2410507"/>
                <a:ext cx="128369" cy="248698"/>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lnTo>
                      <a:pt x="54" y="20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5" name="Freeform 614"/>
              <p:cNvSpPr/>
              <p:nvPr/>
            </p:nvSpPr>
            <p:spPr bwMode="auto">
              <a:xfrm>
                <a:off x="4065126" y="2410507"/>
                <a:ext cx="128369" cy="248698"/>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6" name="Freeform 615"/>
              <p:cNvSpPr/>
              <p:nvPr/>
            </p:nvSpPr>
            <p:spPr bwMode="auto">
              <a:xfrm>
                <a:off x="4142554" y="2639622"/>
                <a:ext cx="4075" cy="3916"/>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4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4" y="0"/>
                    </a:moveTo>
                    <a:lnTo>
                      <a:pt x="2" y="0"/>
                    </a:lnTo>
                    <a:lnTo>
                      <a:pt x="0" y="0"/>
                    </a:lnTo>
                    <a:lnTo>
                      <a:pt x="0" y="2"/>
                    </a:lnTo>
                    <a:lnTo>
                      <a:pt x="2"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7" name="Freeform 616"/>
              <p:cNvSpPr/>
              <p:nvPr/>
            </p:nvSpPr>
            <p:spPr bwMode="auto">
              <a:xfrm>
                <a:off x="4142554" y="2639622"/>
                <a:ext cx="4075" cy="3916"/>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2" y="0"/>
                    </a:lnTo>
                    <a:lnTo>
                      <a:pt x="0" y="0"/>
                    </a:lnTo>
                    <a:lnTo>
                      <a:pt x="0" y="2"/>
                    </a:lnTo>
                    <a:lnTo>
                      <a:pt x="2"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8" name="Freeform 617"/>
              <p:cNvSpPr/>
              <p:nvPr/>
            </p:nvSpPr>
            <p:spPr bwMode="auto">
              <a:xfrm>
                <a:off x="4093652" y="2567166"/>
                <a:ext cx="4075" cy="3916"/>
              </a:xfrm>
              <a:custGeom>
                <a:avLst/>
                <a:gdLst>
                  <a:gd name="T0" fmla="*/ 2 w 4"/>
                  <a:gd name="T1" fmla="*/ 4 h 4"/>
                  <a:gd name="T2" fmla="*/ 4 w 4"/>
                  <a:gd name="T3" fmla="*/ 4 h 4"/>
                  <a:gd name="T4" fmla="*/ 0 w 4"/>
                  <a:gd name="T5" fmla="*/ 0 h 4"/>
                  <a:gd name="T6" fmla="*/ 0 w 4"/>
                  <a:gd name="T7" fmla="*/ 4 h 4"/>
                  <a:gd name="T8" fmla="*/ 2 w 4"/>
                  <a:gd name="T9" fmla="*/ 4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2" y="4"/>
                    </a:moveTo>
                    <a:lnTo>
                      <a:pt x="4" y="4"/>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9" name="Freeform 618"/>
              <p:cNvSpPr/>
              <p:nvPr/>
            </p:nvSpPr>
            <p:spPr bwMode="auto">
              <a:xfrm>
                <a:off x="4093652" y="2567166"/>
                <a:ext cx="4075" cy="3916"/>
              </a:xfrm>
              <a:custGeom>
                <a:avLst/>
                <a:gdLst>
                  <a:gd name="T0" fmla="*/ 2 w 4"/>
                  <a:gd name="T1" fmla="*/ 4 h 4"/>
                  <a:gd name="T2" fmla="*/ 4 w 4"/>
                  <a:gd name="T3" fmla="*/ 4 h 4"/>
                  <a:gd name="T4" fmla="*/ 0 w 4"/>
                  <a:gd name="T5" fmla="*/ 0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2" y="4"/>
                    </a:moveTo>
                    <a:lnTo>
                      <a:pt x="4" y="4"/>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0" name="Freeform 619"/>
              <p:cNvSpPr/>
              <p:nvPr/>
            </p:nvSpPr>
            <p:spPr bwMode="auto">
              <a:xfrm>
                <a:off x="4087540" y="2539751"/>
                <a:ext cx="6112" cy="9792"/>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6 w 6"/>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6" y="0"/>
                    </a:moveTo>
                    <a:lnTo>
                      <a:pt x="0" y="8"/>
                    </a:lnTo>
                    <a:lnTo>
                      <a:pt x="2" y="8"/>
                    </a:lnTo>
                    <a:lnTo>
                      <a:pt x="4" y="6"/>
                    </a:lnTo>
                    <a:lnTo>
                      <a:pt x="6" y="4"/>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1" name="Freeform 620"/>
              <p:cNvSpPr/>
              <p:nvPr/>
            </p:nvSpPr>
            <p:spPr bwMode="auto">
              <a:xfrm>
                <a:off x="4087540" y="2539751"/>
                <a:ext cx="6112" cy="9792"/>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0" y="8"/>
                    </a:lnTo>
                    <a:lnTo>
                      <a:pt x="2" y="8"/>
                    </a:lnTo>
                    <a:lnTo>
                      <a:pt x="4" y="6"/>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2" name="Freeform 621"/>
              <p:cNvSpPr/>
              <p:nvPr/>
            </p:nvSpPr>
            <p:spPr bwMode="auto">
              <a:xfrm>
                <a:off x="4079390" y="2502545"/>
                <a:ext cx="2037" cy="5874"/>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0" y="4"/>
                    </a:lnTo>
                    <a:lnTo>
                      <a:pt x="0" y="6"/>
                    </a:lnTo>
                    <a:lnTo>
                      <a:pt x="2" y="6"/>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3" name="Freeform 622"/>
              <p:cNvSpPr/>
              <p:nvPr/>
            </p:nvSpPr>
            <p:spPr bwMode="auto">
              <a:xfrm>
                <a:off x="4079390" y="2502545"/>
                <a:ext cx="2037" cy="5874"/>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4"/>
                    </a:lnTo>
                    <a:lnTo>
                      <a:pt x="0" y="6"/>
                    </a:lnTo>
                    <a:lnTo>
                      <a:pt x="2" y="6"/>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4" name="Freeform 623"/>
              <p:cNvSpPr/>
              <p:nvPr/>
            </p:nvSpPr>
            <p:spPr bwMode="auto">
              <a:xfrm>
                <a:off x="4059014" y="2494712"/>
                <a:ext cx="6112" cy="9791"/>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4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4" y="0"/>
                    </a:moveTo>
                    <a:lnTo>
                      <a:pt x="4" y="2"/>
                    </a:lnTo>
                    <a:lnTo>
                      <a:pt x="0" y="2"/>
                    </a:lnTo>
                    <a:lnTo>
                      <a:pt x="0" y="4"/>
                    </a:lnTo>
                    <a:lnTo>
                      <a:pt x="0" y="6"/>
                    </a:lnTo>
                    <a:lnTo>
                      <a:pt x="2" y="4"/>
                    </a:lnTo>
                    <a:lnTo>
                      <a:pt x="4" y="8"/>
                    </a:lnTo>
                    <a:lnTo>
                      <a:pt x="6" y="6"/>
                    </a:lnTo>
                    <a:lnTo>
                      <a:pt x="6" y="4"/>
                    </a:lnTo>
                    <a:lnTo>
                      <a:pt x="6"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5" name="Freeform 624"/>
              <p:cNvSpPr/>
              <p:nvPr/>
            </p:nvSpPr>
            <p:spPr bwMode="auto">
              <a:xfrm>
                <a:off x="4059014" y="2494712"/>
                <a:ext cx="6112" cy="9791"/>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4" y="0"/>
                    </a:moveTo>
                    <a:lnTo>
                      <a:pt x="4" y="2"/>
                    </a:lnTo>
                    <a:lnTo>
                      <a:pt x="0" y="2"/>
                    </a:lnTo>
                    <a:lnTo>
                      <a:pt x="0" y="4"/>
                    </a:lnTo>
                    <a:lnTo>
                      <a:pt x="0" y="6"/>
                    </a:lnTo>
                    <a:lnTo>
                      <a:pt x="2" y="4"/>
                    </a:lnTo>
                    <a:lnTo>
                      <a:pt x="4" y="8"/>
                    </a:lnTo>
                    <a:lnTo>
                      <a:pt x="6" y="6"/>
                    </a:lnTo>
                    <a:lnTo>
                      <a:pt x="6"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6" name="Freeform 625"/>
              <p:cNvSpPr/>
              <p:nvPr/>
            </p:nvSpPr>
            <p:spPr bwMode="auto">
              <a:xfrm>
                <a:off x="4065126" y="2488837"/>
                <a:ext cx="4075" cy="9792"/>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2" y="2"/>
                    </a:lnTo>
                    <a:lnTo>
                      <a:pt x="2" y="4"/>
                    </a:lnTo>
                    <a:lnTo>
                      <a:pt x="2" y="6"/>
                    </a:lnTo>
                    <a:lnTo>
                      <a:pt x="0" y="6"/>
                    </a:lnTo>
                    <a:lnTo>
                      <a:pt x="0" y="8"/>
                    </a:lnTo>
                    <a:lnTo>
                      <a:pt x="2" y="8"/>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7" name="Freeform 626"/>
              <p:cNvSpPr/>
              <p:nvPr/>
            </p:nvSpPr>
            <p:spPr bwMode="auto">
              <a:xfrm>
                <a:off x="4065126" y="2488837"/>
                <a:ext cx="4075" cy="9792"/>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2" y="2"/>
                    </a:lnTo>
                    <a:lnTo>
                      <a:pt x="2" y="4"/>
                    </a:lnTo>
                    <a:lnTo>
                      <a:pt x="2" y="6"/>
                    </a:lnTo>
                    <a:lnTo>
                      <a:pt x="0" y="6"/>
                    </a:lnTo>
                    <a:lnTo>
                      <a:pt x="0" y="8"/>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8" name="Freeform 627"/>
              <p:cNvSpPr/>
              <p:nvPr/>
            </p:nvSpPr>
            <p:spPr bwMode="auto">
              <a:xfrm>
                <a:off x="4061051" y="2473171"/>
                <a:ext cx="8150" cy="11749"/>
              </a:xfrm>
              <a:custGeom>
                <a:avLst/>
                <a:gdLst>
                  <a:gd name="T0" fmla="*/ 0 w 8"/>
                  <a:gd name="T1" fmla="*/ 10 h 10"/>
                  <a:gd name="T2" fmla="*/ 2 w 8"/>
                  <a:gd name="T3" fmla="*/ 10 h 10"/>
                  <a:gd name="T4" fmla="*/ 4 w 8"/>
                  <a:gd name="T5" fmla="*/ 10 h 10"/>
                  <a:gd name="T6" fmla="*/ 6 w 8"/>
                  <a:gd name="T7" fmla="*/ 8 h 10"/>
                  <a:gd name="T8" fmla="*/ 8 w 8"/>
                  <a:gd name="T9" fmla="*/ 8 h 10"/>
                  <a:gd name="T10" fmla="*/ 8 w 8"/>
                  <a:gd name="T11" fmla="*/ 6 h 10"/>
                  <a:gd name="T12" fmla="*/ 4 w 8"/>
                  <a:gd name="T13" fmla="*/ 2 h 10"/>
                  <a:gd name="T14" fmla="*/ 4 w 8"/>
                  <a:gd name="T15" fmla="*/ 0 h 10"/>
                  <a:gd name="T16" fmla="*/ 2 w 8"/>
                  <a:gd name="T17" fmla="*/ 0 h 10"/>
                  <a:gd name="T18" fmla="*/ 0 w 8"/>
                  <a:gd name="T19" fmla="*/ 2 h 10"/>
                  <a:gd name="T20" fmla="*/ 2 w 8"/>
                  <a:gd name="T21" fmla="*/ 4 h 10"/>
                  <a:gd name="T22" fmla="*/ 4 w 8"/>
                  <a:gd name="T23" fmla="*/ 4 h 10"/>
                  <a:gd name="T24" fmla="*/ 4 w 8"/>
                  <a:gd name="T25" fmla="*/ 8 h 10"/>
                  <a:gd name="T26" fmla="*/ 2 w 8"/>
                  <a:gd name="T27" fmla="*/ 10 h 10"/>
                  <a:gd name="T28" fmla="*/ 2 w 8"/>
                  <a:gd name="T29" fmla="*/ 10 h 10"/>
                  <a:gd name="T30" fmla="*/ 0 w 8"/>
                  <a:gd name="T31" fmla="*/ 1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10">
                    <a:moveTo>
                      <a:pt x="0" y="10"/>
                    </a:move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9" name="Freeform 628"/>
              <p:cNvSpPr/>
              <p:nvPr/>
            </p:nvSpPr>
            <p:spPr bwMode="auto">
              <a:xfrm>
                <a:off x="4061051" y="2473171"/>
                <a:ext cx="8150" cy="11749"/>
              </a:xfrm>
              <a:custGeom>
                <a:avLst/>
                <a:gdLst>
                  <a:gd name="T0" fmla="*/ 0 w 8"/>
                  <a:gd name="T1" fmla="*/ 10 h 10"/>
                  <a:gd name="T2" fmla="*/ 0 w 8"/>
                  <a:gd name="T3" fmla="*/ 8 h 10"/>
                  <a:gd name="T4" fmla="*/ 0 w 8"/>
                  <a:gd name="T5" fmla="*/ 8 h 10"/>
                  <a:gd name="T6" fmla="*/ 2 w 8"/>
                  <a:gd name="T7" fmla="*/ 10 h 10"/>
                  <a:gd name="T8" fmla="*/ 4 w 8"/>
                  <a:gd name="T9" fmla="*/ 10 h 10"/>
                  <a:gd name="T10" fmla="*/ 6 w 8"/>
                  <a:gd name="T11" fmla="*/ 8 h 10"/>
                  <a:gd name="T12" fmla="*/ 8 w 8"/>
                  <a:gd name="T13" fmla="*/ 8 h 10"/>
                  <a:gd name="T14" fmla="*/ 8 w 8"/>
                  <a:gd name="T15" fmla="*/ 6 h 10"/>
                  <a:gd name="T16" fmla="*/ 4 w 8"/>
                  <a:gd name="T17" fmla="*/ 2 h 10"/>
                  <a:gd name="T18" fmla="*/ 4 w 8"/>
                  <a:gd name="T19" fmla="*/ 0 h 10"/>
                  <a:gd name="T20" fmla="*/ 2 w 8"/>
                  <a:gd name="T21" fmla="*/ 0 h 10"/>
                  <a:gd name="T22" fmla="*/ 0 w 8"/>
                  <a:gd name="T23" fmla="*/ 2 h 10"/>
                  <a:gd name="T24" fmla="*/ 2 w 8"/>
                  <a:gd name="T25" fmla="*/ 4 h 10"/>
                  <a:gd name="T26" fmla="*/ 4 w 8"/>
                  <a:gd name="T27" fmla="*/ 4 h 10"/>
                  <a:gd name="T28" fmla="*/ 4 w 8"/>
                  <a:gd name="T29" fmla="*/ 8 h 10"/>
                  <a:gd name="T30" fmla="*/ 2 w 8"/>
                  <a:gd name="T31" fmla="*/ 10 h 10"/>
                  <a:gd name="T32" fmla="*/ 2 w 8"/>
                  <a:gd name="T33" fmla="*/ 1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10">
                    <a:moveTo>
                      <a:pt x="0" y="10"/>
                    </a:moveTo>
                    <a:lnTo>
                      <a:pt x="0" y="8"/>
                    </a:ln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0" name="Freeform 629"/>
              <p:cNvSpPr/>
              <p:nvPr/>
            </p:nvSpPr>
            <p:spPr bwMode="auto">
              <a:xfrm>
                <a:off x="4054939" y="2439881"/>
                <a:ext cx="14262" cy="19582"/>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6 w 14"/>
                  <a:gd name="T43" fmla="*/ 2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1" name="Freeform 630"/>
              <p:cNvSpPr/>
              <p:nvPr/>
            </p:nvSpPr>
            <p:spPr bwMode="auto">
              <a:xfrm>
                <a:off x="4054939" y="2439881"/>
                <a:ext cx="14262" cy="19582"/>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2" name="Freeform 631"/>
              <p:cNvSpPr/>
              <p:nvPr/>
            </p:nvSpPr>
            <p:spPr bwMode="auto">
              <a:xfrm>
                <a:off x="4401329" y="2012984"/>
                <a:ext cx="36677" cy="35248"/>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20 w 34"/>
                  <a:gd name="T93" fmla="*/ 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3" name="Freeform 632"/>
              <p:cNvSpPr/>
              <p:nvPr/>
            </p:nvSpPr>
            <p:spPr bwMode="auto">
              <a:xfrm>
                <a:off x="4401329" y="2012984"/>
                <a:ext cx="36677" cy="35248"/>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4" name="Freeform 633"/>
              <p:cNvSpPr/>
              <p:nvPr/>
            </p:nvSpPr>
            <p:spPr bwMode="auto">
              <a:xfrm>
                <a:off x="4403366" y="2012984"/>
                <a:ext cx="12226" cy="17624"/>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w 12"/>
                  <a:gd name="T41" fmla="*/ 1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5" name="Freeform 634"/>
              <p:cNvSpPr/>
              <p:nvPr/>
            </p:nvSpPr>
            <p:spPr bwMode="auto">
              <a:xfrm>
                <a:off x="4403366" y="2012984"/>
                <a:ext cx="12226" cy="17624"/>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6" name="Freeform 635"/>
              <p:cNvSpPr/>
              <p:nvPr/>
            </p:nvSpPr>
            <p:spPr bwMode="auto">
              <a:xfrm>
                <a:off x="4421704" y="1995359"/>
                <a:ext cx="10187" cy="15666"/>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4 w 10"/>
                  <a:gd name="T23" fmla="*/ 5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3">
                    <a:moveTo>
                      <a:pt x="4" y="5"/>
                    </a:moveTo>
                    <a:lnTo>
                      <a:pt x="6" y="0"/>
                    </a:lnTo>
                    <a:lnTo>
                      <a:pt x="8" y="0"/>
                    </a:lnTo>
                    <a:lnTo>
                      <a:pt x="10" y="2"/>
                    </a:lnTo>
                    <a:lnTo>
                      <a:pt x="6" y="11"/>
                    </a:lnTo>
                    <a:lnTo>
                      <a:pt x="2" y="13"/>
                    </a:lnTo>
                    <a:lnTo>
                      <a:pt x="0" y="13"/>
                    </a:lnTo>
                    <a:lnTo>
                      <a:pt x="0" y="11"/>
                    </a:lnTo>
                    <a:lnTo>
                      <a:pt x="0" y="9"/>
                    </a:lnTo>
                    <a:lnTo>
                      <a:pt x="4" y="7"/>
                    </a:lnTo>
                    <a:lnTo>
                      <a:pt x="4" y="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7" name="Freeform 636"/>
              <p:cNvSpPr/>
              <p:nvPr/>
            </p:nvSpPr>
            <p:spPr bwMode="auto">
              <a:xfrm>
                <a:off x="4421704" y="1995359"/>
                <a:ext cx="10187" cy="15666"/>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3">
                    <a:moveTo>
                      <a:pt x="4" y="5"/>
                    </a:moveTo>
                    <a:lnTo>
                      <a:pt x="6" y="0"/>
                    </a:lnTo>
                    <a:lnTo>
                      <a:pt x="8" y="0"/>
                    </a:lnTo>
                    <a:lnTo>
                      <a:pt x="10" y="2"/>
                    </a:lnTo>
                    <a:lnTo>
                      <a:pt x="6" y="11"/>
                    </a:lnTo>
                    <a:lnTo>
                      <a:pt x="2" y="13"/>
                    </a:lnTo>
                    <a:lnTo>
                      <a:pt x="0" y="13"/>
                    </a:lnTo>
                    <a:lnTo>
                      <a:pt x="0" y="11"/>
                    </a:lnTo>
                    <a:lnTo>
                      <a:pt x="0" y="9"/>
                    </a:lnTo>
                    <a:lnTo>
                      <a:pt x="4" y="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8" name="Freeform 637"/>
              <p:cNvSpPr/>
              <p:nvPr/>
            </p:nvSpPr>
            <p:spPr bwMode="auto">
              <a:xfrm>
                <a:off x="4407441" y="2059982"/>
                <a:ext cx="12226" cy="11749"/>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4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9" name="Freeform 638"/>
              <p:cNvSpPr/>
              <p:nvPr/>
            </p:nvSpPr>
            <p:spPr bwMode="auto">
              <a:xfrm>
                <a:off x="4407441" y="2059982"/>
                <a:ext cx="12226" cy="11749"/>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0" name="Freeform 639"/>
              <p:cNvSpPr/>
              <p:nvPr/>
            </p:nvSpPr>
            <p:spPr bwMode="auto">
              <a:xfrm>
                <a:off x="4442080" y="1985569"/>
                <a:ext cx="18338" cy="23499"/>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2 w 16"/>
                  <a:gd name="T61" fmla="*/ 15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lnTo>
                      <a:pt x="2" y="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1" name="Freeform 640"/>
              <p:cNvSpPr/>
              <p:nvPr/>
            </p:nvSpPr>
            <p:spPr bwMode="auto">
              <a:xfrm>
                <a:off x="4442080" y="1985569"/>
                <a:ext cx="18338" cy="23499"/>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2" name="Freeform 641"/>
              <p:cNvSpPr/>
              <p:nvPr/>
            </p:nvSpPr>
            <p:spPr bwMode="auto">
              <a:xfrm>
                <a:off x="4462456" y="1971860"/>
                <a:ext cx="16301" cy="13708"/>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2 w 14"/>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3" name="Freeform 642"/>
              <p:cNvSpPr/>
              <p:nvPr/>
            </p:nvSpPr>
            <p:spPr bwMode="auto">
              <a:xfrm>
                <a:off x="4462456" y="1971860"/>
                <a:ext cx="16301" cy="13708"/>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4" name="Freeform 643"/>
              <p:cNvSpPr/>
              <p:nvPr/>
            </p:nvSpPr>
            <p:spPr bwMode="auto">
              <a:xfrm>
                <a:off x="4474682" y="1960111"/>
                <a:ext cx="12226" cy="13708"/>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2 w 12"/>
                  <a:gd name="T37" fmla="*/ 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5" name="Freeform 644"/>
              <p:cNvSpPr/>
              <p:nvPr/>
            </p:nvSpPr>
            <p:spPr bwMode="auto">
              <a:xfrm>
                <a:off x="4474682" y="1960111"/>
                <a:ext cx="12226" cy="13708"/>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6" name="Freeform 645"/>
              <p:cNvSpPr/>
              <p:nvPr/>
            </p:nvSpPr>
            <p:spPr bwMode="auto">
              <a:xfrm>
                <a:off x="4486907" y="1950320"/>
                <a:ext cx="10187" cy="11749"/>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4 w 8"/>
                  <a:gd name="T19" fmla="*/ 4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0">
                    <a:moveTo>
                      <a:pt x="4" y="4"/>
                    </a:moveTo>
                    <a:lnTo>
                      <a:pt x="6" y="4"/>
                    </a:lnTo>
                    <a:lnTo>
                      <a:pt x="8" y="8"/>
                    </a:lnTo>
                    <a:lnTo>
                      <a:pt x="6" y="10"/>
                    </a:lnTo>
                    <a:lnTo>
                      <a:pt x="2" y="8"/>
                    </a:lnTo>
                    <a:lnTo>
                      <a:pt x="0" y="0"/>
                    </a:lnTo>
                    <a:lnTo>
                      <a:pt x="2" y="0"/>
                    </a:lnTo>
                    <a:lnTo>
                      <a:pt x="2" y="2"/>
                    </a:lnTo>
                    <a:lnTo>
                      <a:pt x="2"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7" name="Freeform 646"/>
              <p:cNvSpPr/>
              <p:nvPr/>
            </p:nvSpPr>
            <p:spPr bwMode="auto">
              <a:xfrm>
                <a:off x="4486907" y="1950320"/>
                <a:ext cx="10187" cy="11749"/>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0">
                    <a:moveTo>
                      <a:pt x="4" y="4"/>
                    </a:moveTo>
                    <a:lnTo>
                      <a:pt x="6" y="4"/>
                    </a:lnTo>
                    <a:lnTo>
                      <a:pt x="8" y="8"/>
                    </a:lnTo>
                    <a:lnTo>
                      <a:pt x="6" y="10"/>
                    </a:lnTo>
                    <a:lnTo>
                      <a:pt x="2" y="8"/>
                    </a:lnTo>
                    <a:lnTo>
                      <a:pt x="0" y="0"/>
                    </a:lnTo>
                    <a:lnTo>
                      <a:pt x="2" y="0"/>
                    </a:lnTo>
                    <a:lnTo>
                      <a:pt x="2" y="2"/>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8" name="Freeform 647"/>
              <p:cNvSpPr/>
              <p:nvPr/>
            </p:nvSpPr>
            <p:spPr bwMode="auto">
              <a:xfrm>
                <a:off x="4503208" y="1954237"/>
                <a:ext cx="6112" cy="7833"/>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4 w 6"/>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8">
                    <a:moveTo>
                      <a:pt x="4" y="0"/>
                    </a:moveTo>
                    <a:lnTo>
                      <a:pt x="6" y="2"/>
                    </a:lnTo>
                    <a:lnTo>
                      <a:pt x="4" y="6"/>
                    </a:lnTo>
                    <a:lnTo>
                      <a:pt x="4" y="8"/>
                    </a:lnTo>
                    <a:lnTo>
                      <a:pt x="2" y="8"/>
                    </a:lnTo>
                    <a:lnTo>
                      <a:pt x="2" y="4"/>
                    </a:lnTo>
                    <a:lnTo>
                      <a:pt x="2" y="6"/>
                    </a:lnTo>
                    <a:lnTo>
                      <a:pt x="0" y="6"/>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9" name="Freeform 648"/>
              <p:cNvSpPr/>
              <p:nvPr/>
            </p:nvSpPr>
            <p:spPr bwMode="auto">
              <a:xfrm>
                <a:off x="4503208" y="1954237"/>
                <a:ext cx="6112" cy="7833"/>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4" y="0"/>
                    </a:moveTo>
                    <a:lnTo>
                      <a:pt x="6" y="2"/>
                    </a:lnTo>
                    <a:lnTo>
                      <a:pt x="4" y="6"/>
                    </a:lnTo>
                    <a:lnTo>
                      <a:pt x="4" y="8"/>
                    </a:lnTo>
                    <a:lnTo>
                      <a:pt x="2" y="8"/>
                    </a:lnTo>
                    <a:lnTo>
                      <a:pt x="2" y="4"/>
                    </a:lnTo>
                    <a:lnTo>
                      <a:pt x="2" y="6"/>
                    </a:lnTo>
                    <a:lnTo>
                      <a:pt x="0" y="6"/>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0" name="Freeform 649"/>
              <p:cNvSpPr/>
              <p:nvPr/>
            </p:nvSpPr>
            <p:spPr bwMode="auto">
              <a:xfrm>
                <a:off x="4535809" y="1946404"/>
                <a:ext cx="6112" cy="3916"/>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4"/>
                    </a:moveTo>
                    <a:lnTo>
                      <a:pt x="0" y="2"/>
                    </a:lnTo>
                    <a:lnTo>
                      <a:pt x="0" y="0"/>
                    </a:lnTo>
                    <a:lnTo>
                      <a:pt x="6" y="0"/>
                    </a:lnTo>
                    <a:lnTo>
                      <a:pt x="6" y="2"/>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1" name="Freeform 650"/>
              <p:cNvSpPr/>
              <p:nvPr/>
            </p:nvSpPr>
            <p:spPr bwMode="auto">
              <a:xfrm>
                <a:off x="4535809" y="1946404"/>
                <a:ext cx="6112" cy="3916"/>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4"/>
                    </a:moveTo>
                    <a:lnTo>
                      <a:pt x="0" y="2"/>
                    </a:lnTo>
                    <a:lnTo>
                      <a:pt x="0" y="0"/>
                    </a:lnTo>
                    <a:lnTo>
                      <a:pt x="6" y="0"/>
                    </a:lnTo>
                    <a:lnTo>
                      <a:pt x="6" y="2"/>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2" name="Freeform 651"/>
              <p:cNvSpPr/>
              <p:nvPr/>
            </p:nvSpPr>
            <p:spPr bwMode="auto">
              <a:xfrm>
                <a:off x="4529696" y="1928779"/>
                <a:ext cx="18339" cy="11749"/>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4 w 16"/>
                  <a:gd name="T55" fmla="*/ 2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3" name="Freeform 652"/>
              <p:cNvSpPr/>
              <p:nvPr/>
            </p:nvSpPr>
            <p:spPr bwMode="auto">
              <a:xfrm>
                <a:off x="4529696" y="1928779"/>
                <a:ext cx="18339" cy="11749"/>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4" name="Freeform 653"/>
              <p:cNvSpPr/>
              <p:nvPr/>
            </p:nvSpPr>
            <p:spPr bwMode="auto">
              <a:xfrm>
                <a:off x="4541921" y="1934654"/>
                <a:ext cx="12226" cy="13707"/>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8 w 10"/>
                  <a:gd name="T31" fmla="*/ 1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5" name="Freeform 654"/>
              <p:cNvSpPr/>
              <p:nvPr/>
            </p:nvSpPr>
            <p:spPr bwMode="auto">
              <a:xfrm>
                <a:off x="4541921" y="1934654"/>
                <a:ext cx="12226" cy="13707"/>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6" name="Freeform 655"/>
              <p:cNvSpPr/>
              <p:nvPr/>
            </p:nvSpPr>
            <p:spPr bwMode="auto">
              <a:xfrm>
                <a:off x="4556185" y="1926821"/>
                <a:ext cx="6112" cy="13707"/>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4 w 6"/>
                  <a:gd name="T21" fmla="*/ 1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12">
                    <a:moveTo>
                      <a:pt x="4" y="10"/>
                    </a:moveTo>
                    <a:lnTo>
                      <a:pt x="2" y="12"/>
                    </a:lnTo>
                    <a:lnTo>
                      <a:pt x="0" y="2"/>
                    </a:lnTo>
                    <a:lnTo>
                      <a:pt x="2" y="0"/>
                    </a:lnTo>
                    <a:lnTo>
                      <a:pt x="2" y="2"/>
                    </a:lnTo>
                    <a:lnTo>
                      <a:pt x="4" y="2"/>
                    </a:lnTo>
                    <a:lnTo>
                      <a:pt x="6" y="4"/>
                    </a:lnTo>
                    <a:lnTo>
                      <a:pt x="6" y="8"/>
                    </a:lnTo>
                    <a:lnTo>
                      <a:pt x="6" y="10"/>
                    </a:lnTo>
                    <a:lnTo>
                      <a:pt x="4"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7" name="Freeform 656"/>
              <p:cNvSpPr/>
              <p:nvPr/>
            </p:nvSpPr>
            <p:spPr bwMode="auto">
              <a:xfrm>
                <a:off x="4556185" y="1926821"/>
                <a:ext cx="6112" cy="13707"/>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2">
                    <a:moveTo>
                      <a:pt x="4" y="10"/>
                    </a:moveTo>
                    <a:lnTo>
                      <a:pt x="2" y="12"/>
                    </a:lnTo>
                    <a:lnTo>
                      <a:pt x="0" y="2"/>
                    </a:lnTo>
                    <a:lnTo>
                      <a:pt x="2" y="0"/>
                    </a:lnTo>
                    <a:lnTo>
                      <a:pt x="2" y="2"/>
                    </a:lnTo>
                    <a:lnTo>
                      <a:pt x="4" y="2"/>
                    </a:lnTo>
                    <a:lnTo>
                      <a:pt x="6" y="4"/>
                    </a:lnTo>
                    <a:lnTo>
                      <a:pt x="6" y="8"/>
                    </a:lnTo>
                    <a:lnTo>
                      <a:pt x="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8" name="Freeform 657"/>
              <p:cNvSpPr/>
              <p:nvPr/>
            </p:nvSpPr>
            <p:spPr bwMode="auto">
              <a:xfrm>
                <a:off x="4582673" y="1905280"/>
                <a:ext cx="10189" cy="11749"/>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8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lnTo>
                      <a:pt x="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9" name="Freeform 658"/>
              <p:cNvSpPr/>
              <p:nvPr/>
            </p:nvSpPr>
            <p:spPr bwMode="auto">
              <a:xfrm>
                <a:off x="4582673" y="1905280"/>
                <a:ext cx="10189" cy="11749"/>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0" name="Freeform 659"/>
              <p:cNvSpPr/>
              <p:nvPr/>
            </p:nvSpPr>
            <p:spPr bwMode="auto">
              <a:xfrm>
                <a:off x="4303524" y="2234265"/>
                <a:ext cx="14262" cy="7833"/>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w 12"/>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8">
                    <a:moveTo>
                      <a:pt x="0" y="4"/>
                    </a:moveTo>
                    <a:lnTo>
                      <a:pt x="2" y="4"/>
                    </a:lnTo>
                    <a:lnTo>
                      <a:pt x="4" y="4"/>
                    </a:lnTo>
                    <a:lnTo>
                      <a:pt x="4" y="2"/>
                    </a:lnTo>
                    <a:lnTo>
                      <a:pt x="8" y="0"/>
                    </a:lnTo>
                    <a:lnTo>
                      <a:pt x="10" y="0"/>
                    </a:lnTo>
                    <a:lnTo>
                      <a:pt x="10" y="2"/>
                    </a:lnTo>
                    <a:lnTo>
                      <a:pt x="12" y="4"/>
                    </a:lnTo>
                    <a:lnTo>
                      <a:pt x="6" y="6"/>
                    </a:lnTo>
                    <a:lnTo>
                      <a:pt x="2" y="8"/>
                    </a:lnTo>
                    <a:lnTo>
                      <a:pt x="0" y="6"/>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1" name="Freeform 660"/>
              <p:cNvSpPr/>
              <p:nvPr/>
            </p:nvSpPr>
            <p:spPr bwMode="auto">
              <a:xfrm>
                <a:off x="4303524" y="2234265"/>
                <a:ext cx="14262" cy="7833"/>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8">
                    <a:moveTo>
                      <a:pt x="0" y="4"/>
                    </a:moveTo>
                    <a:lnTo>
                      <a:pt x="2" y="4"/>
                    </a:lnTo>
                    <a:lnTo>
                      <a:pt x="4" y="4"/>
                    </a:lnTo>
                    <a:lnTo>
                      <a:pt x="4" y="2"/>
                    </a:lnTo>
                    <a:lnTo>
                      <a:pt x="8" y="0"/>
                    </a:lnTo>
                    <a:lnTo>
                      <a:pt x="10" y="0"/>
                    </a:lnTo>
                    <a:lnTo>
                      <a:pt x="10" y="2"/>
                    </a:lnTo>
                    <a:lnTo>
                      <a:pt x="12" y="4"/>
                    </a:lnTo>
                    <a:lnTo>
                      <a:pt x="6" y="6"/>
                    </a:lnTo>
                    <a:lnTo>
                      <a:pt x="2" y="8"/>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2" name="Freeform 661"/>
              <p:cNvSpPr/>
              <p:nvPr/>
            </p:nvSpPr>
            <p:spPr bwMode="auto">
              <a:xfrm>
                <a:off x="4242397" y="2324344"/>
                <a:ext cx="4075" cy="7833"/>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4 w 4"/>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2"/>
                    </a:moveTo>
                    <a:lnTo>
                      <a:pt x="4" y="0"/>
                    </a:lnTo>
                    <a:lnTo>
                      <a:pt x="2" y="4"/>
                    </a:lnTo>
                    <a:lnTo>
                      <a:pt x="0" y="6"/>
                    </a:lnTo>
                    <a:lnTo>
                      <a:pt x="2" y="6"/>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3" name="Freeform 662"/>
              <p:cNvSpPr/>
              <p:nvPr/>
            </p:nvSpPr>
            <p:spPr bwMode="auto">
              <a:xfrm>
                <a:off x="4242397" y="2324344"/>
                <a:ext cx="4075" cy="7833"/>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2"/>
                    </a:moveTo>
                    <a:lnTo>
                      <a:pt x="4" y="0"/>
                    </a:lnTo>
                    <a:lnTo>
                      <a:pt x="2" y="4"/>
                    </a:lnTo>
                    <a:lnTo>
                      <a:pt x="0" y="6"/>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4" name="Freeform 663"/>
              <p:cNvSpPr/>
              <p:nvPr/>
            </p:nvSpPr>
            <p:spPr bwMode="auto">
              <a:xfrm>
                <a:off x="4260734" y="2283222"/>
                <a:ext cx="4075" cy="3916"/>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4"/>
                    </a:moveTo>
                    <a:lnTo>
                      <a:pt x="4" y="0"/>
                    </a:lnTo>
                    <a:lnTo>
                      <a:pt x="2" y="0"/>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5" name="Freeform 664"/>
              <p:cNvSpPr/>
              <p:nvPr/>
            </p:nvSpPr>
            <p:spPr bwMode="auto">
              <a:xfrm>
                <a:off x="4260734" y="2283222"/>
                <a:ext cx="4075" cy="3916"/>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4"/>
                    </a:moveTo>
                    <a:lnTo>
                      <a:pt x="4" y="0"/>
                    </a:lnTo>
                    <a:lnTo>
                      <a:pt x="2" y="0"/>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6" name="Freeform 665"/>
              <p:cNvSpPr/>
              <p:nvPr/>
            </p:nvSpPr>
            <p:spPr bwMode="auto">
              <a:xfrm>
                <a:off x="4246472" y="2298888"/>
                <a:ext cx="2037" cy="587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w 2"/>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4"/>
                    </a:moveTo>
                    <a:lnTo>
                      <a:pt x="0" y="2"/>
                    </a:lnTo>
                    <a:lnTo>
                      <a:pt x="2" y="2"/>
                    </a:lnTo>
                    <a:lnTo>
                      <a:pt x="2" y="0"/>
                    </a:lnTo>
                    <a:lnTo>
                      <a:pt x="0" y="0"/>
                    </a:lnTo>
                    <a:lnTo>
                      <a:pt x="0" y="2"/>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7" name="Freeform 666"/>
              <p:cNvSpPr/>
              <p:nvPr/>
            </p:nvSpPr>
            <p:spPr bwMode="auto">
              <a:xfrm>
                <a:off x="4246472" y="2298888"/>
                <a:ext cx="2037" cy="587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4"/>
                    </a:moveTo>
                    <a:lnTo>
                      <a:pt x="0" y="2"/>
                    </a:lnTo>
                    <a:lnTo>
                      <a:pt x="2" y="2"/>
                    </a:ln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8" name="Freeform 667"/>
              <p:cNvSpPr/>
              <p:nvPr/>
            </p:nvSpPr>
            <p:spPr bwMode="auto">
              <a:xfrm>
                <a:off x="4250547" y="2367425"/>
                <a:ext cx="6112" cy="5875"/>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6"/>
                    </a:moveTo>
                    <a:lnTo>
                      <a:pt x="4" y="0"/>
                    </a:lnTo>
                    <a:lnTo>
                      <a:pt x="2" y="0"/>
                    </a:lnTo>
                    <a:lnTo>
                      <a:pt x="0" y="0"/>
                    </a:lnTo>
                    <a:lnTo>
                      <a:pt x="0" y="4"/>
                    </a:lnTo>
                    <a:lnTo>
                      <a:pt x="2"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9" name="Freeform 668"/>
              <p:cNvSpPr/>
              <p:nvPr/>
            </p:nvSpPr>
            <p:spPr bwMode="auto">
              <a:xfrm>
                <a:off x="4250547" y="2367425"/>
                <a:ext cx="6112" cy="5875"/>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6"/>
                    </a:moveTo>
                    <a:lnTo>
                      <a:pt x="4" y="0"/>
                    </a:lnTo>
                    <a:lnTo>
                      <a:pt x="2" y="0"/>
                    </a:lnTo>
                    <a:lnTo>
                      <a:pt x="0" y="0"/>
                    </a:lnTo>
                    <a:lnTo>
                      <a:pt x="0" y="4"/>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0" name="Freeform 669"/>
              <p:cNvSpPr/>
              <p:nvPr/>
            </p:nvSpPr>
            <p:spPr bwMode="auto">
              <a:xfrm>
                <a:off x="4248509" y="2385050"/>
                <a:ext cx="2038" cy="7833"/>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2" y="6"/>
                    </a:moveTo>
                    <a:lnTo>
                      <a:pt x="2" y="2"/>
                    </a:lnTo>
                    <a:lnTo>
                      <a:pt x="2" y="0"/>
                    </a:lnTo>
                    <a:lnTo>
                      <a:pt x="2" y="2"/>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1" name="Freeform 670"/>
              <p:cNvSpPr/>
              <p:nvPr/>
            </p:nvSpPr>
            <p:spPr bwMode="auto">
              <a:xfrm>
                <a:off x="4248509" y="2385050"/>
                <a:ext cx="2038" cy="7833"/>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2" y="6"/>
                    </a:moveTo>
                    <a:lnTo>
                      <a:pt x="2" y="2"/>
                    </a:lnTo>
                    <a:lnTo>
                      <a:pt x="2" y="0"/>
                    </a:lnTo>
                    <a:lnTo>
                      <a:pt x="2" y="2"/>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2" name="Freeform 671"/>
              <p:cNvSpPr/>
              <p:nvPr/>
            </p:nvSpPr>
            <p:spPr bwMode="auto">
              <a:xfrm>
                <a:off x="5884692" y="3599161"/>
                <a:ext cx="4075" cy="587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2"/>
                    </a:moveTo>
                    <a:lnTo>
                      <a:pt x="4" y="0"/>
                    </a:lnTo>
                    <a:lnTo>
                      <a:pt x="2" y="0"/>
                    </a:lnTo>
                    <a:lnTo>
                      <a:pt x="0" y="0"/>
                    </a:lnTo>
                    <a:lnTo>
                      <a:pt x="0" y="2"/>
                    </a:lnTo>
                    <a:lnTo>
                      <a:pt x="0" y="4"/>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3" name="Freeform 672"/>
              <p:cNvSpPr/>
              <p:nvPr/>
            </p:nvSpPr>
            <p:spPr bwMode="auto">
              <a:xfrm>
                <a:off x="5884692" y="3599161"/>
                <a:ext cx="4075" cy="587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2"/>
                    </a:moveTo>
                    <a:lnTo>
                      <a:pt x="4" y="0"/>
                    </a:lnTo>
                    <a:lnTo>
                      <a:pt x="2" y="0"/>
                    </a:lnTo>
                    <a:lnTo>
                      <a:pt x="0" y="0"/>
                    </a:lnTo>
                    <a:lnTo>
                      <a:pt x="0" y="2"/>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4" name="Freeform 673"/>
              <p:cNvSpPr/>
              <p:nvPr/>
            </p:nvSpPr>
            <p:spPr bwMode="auto">
              <a:xfrm>
                <a:off x="6593772" y="3657909"/>
                <a:ext cx="10187" cy="3916"/>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0"/>
                    </a:moveTo>
                    <a:lnTo>
                      <a:pt x="2" y="0"/>
                    </a:lnTo>
                    <a:lnTo>
                      <a:pt x="4" y="2"/>
                    </a:lnTo>
                    <a:lnTo>
                      <a:pt x="8" y="2"/>
                    </a:lnTo>
                    <a:lnTo>
                      <a:pt x="8" y="4"/>
                    </a:lnTo>
                    <a:lnTo>
                      <a:pt x="6" y="4"/>
                    </a:lnTo>
                    <a:lnTo>
                      <a:pt x="4" y="4"/>
                    </a:lnTo>
                    <a:lnTo>
                      <a:pt x="2" y="4"/>
                    </a:lnTo>
                    <a:lnTo>
                      <a:pt x="0"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5" name="Freeform 674"/>
              <p:cNvSpPr/>
              <p:nvPr/>
            </p:nvSpPr>
            <p:spPr bwMode="auto">
              <a:xfrm>
                <a:off x="6593772" y="3657909"/>
                <a:ext cx="10187" cy="3916"/>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0" y="0"/>
                    </a:moveTo>
                    <a:lnTo>
                      <a:pt x="2" y="0"/>
                    </a:lnTo>
                    <a:lnTo>
                      <a:pt x="4" y="2"/>
                    </a:lnTo>
                    <a:lnTo>
                      <a:pt x="8" y="2"/>
                    </a:lnTo>
                    <a:lnTo>
                      <a:pt x="8" y="4"/>
                    </a:lnTo>
                    <a:lnTo>
                      <a:pt x="6" y="4"/>
                    </a:lnTo>
                    <a:lnTo>
                      <a:pt x="4" y="4"/>
                    </a:lnTo>
                    <a:lnTo>
                      <a:pt x="2" y="4"/>
                    </a:lnTo>
                    <a:lnTo>
                      <a:pt x="0"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6" name="Freeform 675"/>
              <p:cNvSpPr/>
              <p:nvPr/>
            </p:nvSpPr>
            <p:spPr bwMode="auto">
              <a:xfrm>
                <a:off x="6642675" y="3646159"/>
                <a:ext cx="6112" cy="5874"/>
              </a:xfrm>
              <a:custGeom>
                <a:avLst/>
                <a:gdLst>
                  <a:gd name="T0" fmla="*/ 2 w 4"/>
                  <a:gd name="T1" fmla="*/ 0 h 4"/>
                  <a:gd name="T2" fmla="*/ 4 w 4"/>
                  <a:gd name="T3" fmla="*/ 4 h 4"/>
                  <a:gd name="T4" fmla="*/ 2 w 4"/>
                  <a:gd name="T5" fmla="*/ 4 h 4"/>
                  <a:gd name="T6" fmla="*/ 0 w 4"/>
                  <a:gd name="T7" fmla="*/ 2 h 4"/>
                  <a:gd name="T8" fmla="*/ 0 w 4"/>
                  <a:gd name="T9" fmla="*/ 0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7" name="Freeform 676"/>
              <p:cNvSpPr/>
              <p:nvPr/>
            </p:nvSpPr>
            <p:spPr bwMode="auto">
              <a:xfrm>
                <a:off x="6642675" y="3646159"/>
                <a:ext cx="6112" cy="5874"/>
              </a:xfrm>
              <a:custGeom>
                <a:avLst/>
                <a:gdLst>
                  <a:gd name="T0" fmla="*/ 2 w 4"/>
                  <a:gd name="T1" fmla="*/ 0 h 4"/>
                  <a:gd name="T2" fmla="*/ 4 w 4"/>
                  <a:gd name="T3" fmla="*/ 4 h 4"/>
                  <a:gd name="T4" fmla="*/ 2 w 4"/>
                  <a:gd name="T5" fmla="*/ 4 h 4"/>
                  <a:gd name="T6" fmla="*/ 0 w 4"/>
                  <a:gd name="T7" fmla="*/ 2 h 4"/>
                  <a:gd name="T8" fmla="*/ 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2" y="0"/>
                    </a:move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8" name="Freeform 677"/>
              <p:cNvSpPr/>
              <p:nvPr/>
            </p:nvSpPr>
            <p:spPr bwMode="auto">
              <a:xfrm>
                <a:off x="6652862" y="3667699"/>
                <a:ext cx="6113" cy="3916"/>
              </a:xfrm>
              <a:custGeom>
                <a:avLst/>
                <a:gdLst>
                  <a:gd name="T0" fmla="*/ 0 w 6"/>
                  <a:gd name="T1" fmla="*/ 0 h 4"/>
                  <a:gd name="T2" fmla="*/ 6 w 6"/>
                  <a:gd name="T3" fmla="*/ 0 h 4"/>
                  <a:gd name="T4" fmla="*/ 6 w 6"/>
                  <a:gd name="T5" fmla="*/ 2 h 4"/>
                  <a:gd name="T6" fmla="*/ 4 w 6"/>
                  <a:gd name="T7" fmla="*/ 4 h 4"/>
                  <a:gd name="T8" fmla="*/ 2 w 6"/>
                  <a:gd name="T9" fmla="*/ 0 h 4"/>
                  <a:gd name="T10" fmla="*/ 0 w 6"/>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0" y="0"/>
                    </a:moveTo>
                    <a:lnTo>
                      <a:pt x="6" y="0"/>
                    </a:lnTo>
                    <a:lnTo>
                      <a:pt x="6" y="2"/>
                    </a:lnTo>
                    <a:lnTo>
                      <a:pt x="4"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9" name="Freeform 678"/>
              <p:cNvSpPr/>
              <p:nvPr/>
            </p:nvSpPr>
            <p:spPr bwMode="auto">
              <a:xfrm>
                <a:off x="6652862" y="3667699"/>
                <a:ext cx="6113" cy="3916"/>
              </a:xfrm>
              <a:custGeom>
                <a:avLst/>
                <a:gdLst>
                  <a:gd name="T0" fmla="*/ 0 w 6"/>
                  <a:gd name="T1" fmla="*/ 0 h 4"/>
                  <a:gd name="T2" fmla="*/ 6 w 6"/>
                  <a:gd name="T3" fmla="*/ 0 h 4"/>
                  <a:gd name="T4" fmla="*/ 6 w 6"/>
                  <a:gd name="T5" fmla="*/ 2 h 4"/>
                  <a:gd name="T6" fmla="*/ 4 w 6"/>
                  <a:gd name="T7" fmla="*/ 4 h 4"/>
                  <a:gd name="T8" fmla="*/ 2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6" y="0"/>
                    </a:lnTo>
                    <a:lnTo>
                      <a:pt x="6" y="2"/>
                    </a:lnTo>
                    <a:lnTo>
                      <a:pt x="4"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0" name="Freeform 679"/>
              <p:cNvSpPr/>
              <p:nvPr/>
            </p:nvSpPr>
            <p:spPr bwMode="auto">
              <a:xfrm>
                <a:off x="6665087" y="3669658"/>
                <a:ext cx="40752" cy="35248"/>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w 36"/>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1" name="Freeform 680"/>
              <p:cNvSpPr/>
              <p:nvPr/>
            </p:nvSpPr>
            <p:spPr bwMode="auto">
              <a:xfrm>
                <a:off x="6665087" y="3669658"/>
                <a:ext cx="40752" cy="35248"/>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2" name="Freeform 681"/>
              <p:cNvSpPr/>
              <p:nvPr/>
            </p:nvSpPr>
            <p:spPr bwMode="auto">
              <a:xfrm>
                <a:off x="6603960" y="3714697"/>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3" name="Freeform 682"/>
              <p:cNvSpPr/>
              <p:nvPr/>
            </p:nvSpPr>
            <p:spPr bwMode="auto">
              <a:xfrm>
                <a:off x="6603960" y="3714697"/>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4" name="Freeform 683"/>
              <p:cNvSpPr/>
              <p:nvPr/>
            </p:nvSpPr>
            <p:spPr bwMode="auto">
              <a:xfrm>
                <a:off x="6616185" y="3718613"/>
                <a:ext cx="6113" cy="3916"/>
              </a:xfrm>
              <a:custGeom>
                <a:avLst/>
                <a:gdLst>
                  <a:gd name="T0" fmla="*/ 0 w 4"/>
                  <a:gd name="T1" fmla="*/ 0 h 4"/>
                  <a:gd name="T2" fmla="*/ 4 w 4"/>
                  <a:gd name="T3" fmla="*/ 0 h 4"/>
                  <a:gd name="T4" fmla="*/ 4 w 4"/>
                  <a:gd name="T5" fmla="*/ 4 h 4"/>
                  <a:gd name="T6" fmla="*/ 2 w 4"/>
                  <a:gd name="T7" fmla="*/ 4 h 4"/>
                  <a:gd name="T8" fmla="*/ 2 w 4"/>
                  <a:gd name="T9" fmla="*/ 0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4" y="0"/>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5" name="Freeform 684"/>
              <p:cNvSpPr/>
              <p:nvPr/>
            </p:nvSpPr>
            <p:spPr bwMode="auto">
              <a:xfrm>
                <a:off x="6616185" y="3718613"/>
                <a:ext cx="6113" cy="3916"/>
              </a:xfrm>
              <a:custGeom>
                <a:avLst/>
                <a:gdLst>
                  <a:gd name="T0" fmla="*/ 0 w 4"/>
                  <a:gd name="T1" fmla="*/ 0 h 4"/>
                  <a:gd name="T2" fmla="*/ 4 w 4"/>
                  <a:gd name="T3" fmla="*/ 0 h 4"/>
                  <a:gd name="T4" fmla="*/ 4 w 4"/>
                  <a:gd name="T5" fmla="*/ 4 h 4"/>
                  <a:gd name="T6" fmla="*/ 2 w 4"/>
                  <a:gd name="T7" fmla="*/ 4 h 4"/>
                  <a:gd name="T8" fmla="*/ 2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0" y="0"/>
                    </a:moveTo>
                    <a:lnTo>
                      <a:pt x="4" y="0"/>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6" name="Freeform 685"/>
              <p:cNvSpPr/>
              <p:nvPr/>
            </p:nvSpPr>
            <p:spPr bwMode="auto">
              <a:xfrm>
                <a:off x="6626374" y="3697073"/>
                <a:ext cx="65203" cy="35248"/>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w 60"/>
                  <a:gd name="T93" fmla="*/ 2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lnTo>
                      <a:pt x="0"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7" name="Freeform 686"/>
              <p:cNvSpPr/>
              <p:nvPr/>
            </p:nvSpPr>
            <p:spPr bwMode="auto">
              <a:xfrm>
                <a:off x="6626374" y="3697073"/>
                <a:ext cx="65203" cy="35248"/>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8" name="Freeform 687"/>
              <p:cNvSpPr/>
              <p:nvPr/>
            </p:nvSpPr>
            <p:spPr bwMode="auto">
              <a:xfrm>
                <a:off x="6695652" y="3773444"/>
                <a:ext cx="6112" cy="7833"/>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4" y="4"/>
                    </a:lnTo>
                    <a:lnTo>
                      <a:pt x="4" y="6"/>
                    </a:lnTo>
                    <a:lnTo>
                      <a:pt x="2"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9" name="Freeform 688"/>
              <p:cNvSpPr/>
              <p:nvPr/>
            </p:nvSpPr>
            <p:spPr bwMode="auto">
              <a:xfrm>
                <a:off x="6695652" y="3773444"/>
                <a:ext cx="6112" cy="7833"/>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4" y="4"/>
                    </a:lnTo>
                    <a:lnTo>
                      <a:pt x="4" y="6"/>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0" name="Freeform 689"/>
              <p:cNvSpPr/>
              <p:nvPr/>
            </p:nvSpPr>
            <p:spPr bwMode="auto">
              <a:xfrm>
                <a:off x="6661012" y="3781277"/>
                <a:ext cx="6113" cy="5875"/>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4" y="2"/>
                    </a:lnTo>
                    <a:lnTo>
                      <a:pt x="6" y="4"/>
                    </a:lnTo>
                    <a:lnTo>
                      <a:pt x="6" y="6"/>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1" name="Freeform 690"/>
              <p:cNvSpPr/>
              <p:nvPr/>
            </p:nvSpPr>
            <p:spPr bwMode="auto">
              <a:xfrm>
                <a:off x="6661012" y="3781277"/>
                <a:ext cx="6113" cy="5875"/>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6">
                    <a:moveTo>
                      <a:pt x="0" y="0"/>
                    </a:moveTo>
                    <a:lnTo>
                      <a:pt x="4" y="2"/>
                    </a:lnTo>
                    <a:lnTo>
                      <a:pt x="6" y="4"/>
                    </a:lnTo>
                    <a:lnTo>
                      <a:pt x="6" y="6"/>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2" name="Freeform 691"/>
              <p:cNvSpPr/>
              <p:nvPr/>
            </p:nvSpPr>
            <p:spPr bwMode="auto">
              <a:xfrm>
                <a:off x="6665087" y="3789110"/>
                <a:ext cx="10189" cy="5875"/>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w 8"/>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0" y="0"/>
                    </a:moveTo>
                    <a:lnTo>
                      <a:pt x="4" y="2"/>
                    </a:lnTo>
                    <a:lnTo>
                      <a:pt x="6" y="2"/>
                    </a:lnTo>
                    <a:lnTo>
                      <a:pt x="8" y="4"/>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3" name="Freeform 692"/>
              <p:cNvSpPr/>
              <p:nvPr/>
            </p:nvSpPr>
            <p:spPr bwMode="auto">
              <a:xfrm>
                <a:off x="6665087" y="3789110"/>
                <a:ext cx="10189" cy="5875"/>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4">
                    <a:moveTo>
                      <a:pt x="0" y="0"/>
                    </a:moveTo>
                    <a:lnTo>
                      <a:pt x="4" y="2"/>
                    </a:lnTo>
                    <a:lnTo>
                      <a:pt x="6" y="2"/>
                    </a:lnTo>
                    <a:lnTo>
                      <a:pt x="8" y="4"/>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4" name="Freeform 693"/>
              <p:cNvSpPr/>
              <p:nvPr/>
            </p:nvSpPr>
            <p:spPr bwMode="auto">
              <a:xfrm>
                <a:off x="7099094" y="3920313"/>
                <a:ext cx="22413" cy="15666"/>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10 w 20"/>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5" name="Freeform 694"/>
              <p:cNvSpPr/>
              <p:nvPr/>
            </p:nvSpPr>
            <p:spPr bwMode="auto">
              <a:xfrm>
                <a:off x="7099094" y="3920313"/>
                <a:ext cx="22413" cy="15666"/>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6" name="Freeform 695"/>
              <p:cNvSpPr/>
              <p:nvPr/>
            </p:nvSpPr>
            <p:spPr bwMode="auto">
              <a:xfrm>
                <a:off x="7119470" y="3900731"/>
                <a:ext cx="26488" cy="13707"/>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6 w 24"/>
                  <a:gd name="T43" fmla="*/ 4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7" name="Freeform 696"/>
              <p:cNvSpPr/>
              <p:nvPr/>
            </p:nvSpPr>
            <p:spPr bwMode="auto">
              <a:xfrm>
                <a:off x="7119470" y="3900731"/>
                <a:ext cx="26488" cy="13707"/>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8" name="Freeform 697"/>
              <p:cNvSpPr/>
              <p:nvPr/>
            </p:nvSpPr>
            <p:spPr bwMode="auto">
              <a:xfrm>
                <a:off x="4880161" y="3830234"/>
                <a:ext cx="116143" cy="236947"/>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lnTo>
                      <a:pt x="18" y="6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9" name="Freeform 698"/>
              <p:cNvSpPr/>
              <p:nvPr/>
            </p:nvSpPr>
            <p:spPr bwMode="auto">
              <a:xfrm>
                <a:off x="4880161" y="3830234"/>
                <a:ext cx="116143" cy="236947"/>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0" name="Freeform 699"/>
              <p:cNvSpPr/>
              <p:nvPr/>
            </p:nvSpPr>
            <p:spPr bwMode="auto">
              <a:xfrm>
                <a:off x="4338163" y="3023438"/>
                <a:ext cx="6113" cy="587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1" name="Freeform 700"/>
              <p:cNvSpPr/>
              <p:nvPr/>
            </p:nvSpPr>
            <p:spPr bwMode="auto">
              <a:xfrm>
                <a:off x="4338163" y="3023438"/>
                <a:ext cx="6113" cy="587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2"/>
                    </a:lnTo>
                    <a:lnTo>
                      <a:pt x="4"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2" name="Freeform 701"/>
              <p:cNvSpPr/>
              <p:nvPr/>
            </p:nvSpPr>
            <p:spPr bwMode="auto">
              <a:xfrm>
                <a:off x="2683642" y="3313258"/>
                <a:ext cx="20376" cy="43081"/>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14 w 18"/>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3" name="Freeform 702"/>
              <p:cNvSpPr/>
              <p:nvPr/>
            </p:nvSpPr>
            <p:spPr bwMode="auto">
              <a:xfrm>
                <a:off x="2683642" y="3313258"/>
                <a:ext cx="20376" cy="43081"/>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4" name="Freeform 703"/>
              <p:cNvSpPr/>
              <p:nvPr/>
            </p:nvSpPr>
            <p:spPr bwMode="auto">
              <a:xfrm>
                <a:off x="2671416" y="3381796"/>
                <a:ext cx="36677" cy="23499"/>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10 w 34"/>
                  <a:gd name="T55" fmla="*/ 0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5" name="Freeform 704"/>
              <p:cNvSpPr/>
              <p:nvPr/>
            </p:nvSpPr>
            <p:spPr bwMode="auto">
              <a:xfrm>
                <a:off x="2671416" y="3381796"/>
                <a:ext cx="36677" cy="23499"/>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6" name="Freeform 705"/>
              <p:cNvSpPr/>
              <p:nvPr/>
            </p:nvSpPr>
            <p:spPr bwMode="auto">
              <a:xfrm>
                <a:off x="2742733" y="3438585"/>
                <a:ext cx="52977" cy="46998"/>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32 w 48"/>
                  <a:gd name="T95" fmla="*/ 4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lnTo>
                      <a:pt x="3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7" name="Freeform 706"/>
              <p:cNvSpPr/>
              <p:nvPr/>
            </p:nvSpPr>
            <p:spPr bwMode="auto">
              <a:xfrm>
                <a:off x="2742733" y="3438585"/>
                <a:ext cx="52977" cy="46998"/>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8" name="Freeform 707"/>
              <p:cNvSpPr/>
              <p:nvPr/>
            </p:nvSpPr>
            <p:spPr bwMode="auto">
              <a:xfrm>
                <a:off x="2940378" y="3538455"/>
                <a:ext cx="645916" cy="687344"/>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lnTo>
                      <a:pt x="197"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9" name="Freeform 708"/>
              <p:cNvSpPr/>
              <p:nvPr/>
            </p:nvSpPr>
            <p:spPr bwMode="auto">
              <a:xfrm>
                <a:off x="2940378" y="3538455"/>
                <a:ext cx="645916" cy="687344"/>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0" name="Freeform 710"/>
              <p:cNvSpPr/>
              <p:nvPr/>
            </p:nvSpPr>
            <p:spPr bwMode="auto">
              <a:xfrm>
                <a:off x="4032525" y="2510378"/>
                <a:ext cx="40752" cy="41122"/>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8 w 38"/>
                  <a:gd name="T83" fmla="*/ 10 h 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1" name="Freeform 711"/>
              <p:cNvSpPr/>
              <p:nvPr/>
            </p:nvSpPr>
            <p:spPr bwMode="auto">
              <a:xfrm>
                <a:off x="4032525" y="2510378"/>
                <a:ext cx="40752" cy="41122"/>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2" name="Freeform 712"/>
              <p:cNvSpPr/>
              <p:nvPr/>
            </p:nvSpPr>
            <p:spPr bwMode="auto">
              <a:xfrm>
                <a:off x="4246472" y="1909196"/>
                <a:ext cx="431968" cy="520893"/>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387 w 389"/>
                  <a:gd name="T119" fmla="*/ 60 h 4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lnTo>
                      <a:pt x="387" y="6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3" name="Freeform 713"/>
              <p:cNvSpPr/>
              <p:nvPr/>
            </p:nvSpPr>
            <p:spPr bwMode="auto">
              <a:xfrm>
                <a:off x="4246472" y="1909196"/>
                <a:ext cx="431968" cy="520893"/>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4" name="Freeform 714"/>
              <p:cNvSpPr/>
              <p:nvPr/>
            </p:nvSpPr>
            <p:spPr bwMode="auto">
              <a:xfrm>
                <a:off x="4529696" y="2592624"/>
                <a:ext cx="301563" cy="203657"/>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lnTo>
                      <a:pt x="68" y="9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5" name="Freeform 715"/>
              <p:cNvSpPr/>
              <p:nvPr/>
            </p:nvSpPr>
            <p:spPr bwMode="auto">
              <a:xfrm>
                <a:off x="4529696" y="2592624"/>
                <a:ext cx="301563" cy="203657"/>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6" name="Freeform 716"/>
              <p:cNvSpPr/>
              <p:nvPr/>
            </p:nvSpPr>
            <p:spPr bwMode="auto">
              <a:xfrm>
                <a:off x="4360577" y="2629830"/>
                <a:ext cx="116142" cy="6658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104 w 104"/>
                  <a:gd name="T125" fmla="*/ 36 h 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lnTo>
                      <a:pt x="104" y="3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7" name="Freeform 717"/>
              <p:cNvSpPr/>
              <p:nvPr/>
            </p:nvSpPr>
            <p:spPr bwMode="auto">
              <a:xfrm>
                <a:off x="4360577" y="2629830"/>
                <a:ext cx="116142" cy="6658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8" name="Freeform 718"/>
              <p:cNvSpPr/>
              <p:nvPr/>
            </p:nvSpPr>
            <p:spPr bwMode="auto">
              <a:xfrm>
                <a:off x="4264810" y="2715993"/>
                <a:ext cx="71316" cy="450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13 w 65"/>
                  <a:gd name="T99" fmla="*/ 40 h 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lnTo>
                      <a:pt x="13"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9" name="Freeform 719"/>
              <p:cNvSpPr/>
              <p:nvPr/>
            </p:nvSpPr>
            <p:spPr bwMode="auto">
              <a:xfrm>
                <a:off x="4264810" y="2715993"/>
                <a:ext cx="71316" cy="450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0" name="Freeform 720"/>
              <p:cNvSpPr/>
              <p:nvPr/>
            </p:nvSpPr>
            <p:spPr bwMode="auto">
              <a:xfrm>
                <a:off x="4211832" y="2620039"/>
                <a:ext cx="55015" cy="48955"/>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44 w 50"/>
                  <a:gd name="T85" fmla="*/ 44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lnTo>
                      <a:pt x="44" y="4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1" name="Freeform 721"/>
              <p:cNvSpPr/>
              <p:nvPr/>
            </p:nvSpPr>
            <p:spPr bwMode="auto">
              <a:xfrm>
                <a:off x="4211832" y="2620039"/>
                <a:ext cx="55015" cy="48955"/>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2" name="Freeform 722"/>
              <p:cNvSpPr/>
              <p:nvPr/>
            </p:nvSpPr>
            <p:spPr bwMode="auto">
              <a:xfrm>
                <a:off x="4187381" y="2839363"/>
                <a:ext cx="6113" cy="3916"/>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6" y="2"/>
                    </a:moveTo>
                    <a:lnTo>
                      <a:pt x="6" y="4"/>
                    </a:lnTo>
                    <a:lnTo>
                      <a:pt x="4" y="4"/>
                    </a:lnTo>
                    <a:lnTo>
                      <a:pt x="2" y="2"/>
                    </a:lnTo>
                    <a:lnTo>
                      <a:pt x="0" y="0"/>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3" name="Freeform 723"/>
              <p:cNvSpPr/>
              <p:nvPr/>
            </p:nvSpPr>
            <p:spPr bwMode="auto">
              <a:xfrm>
                <a:off x="4187381" y="2839363"/>
                <a:ext cx="6113" cy="3916"/>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2"/>
                    </a:moveTo>
                    <a:lnTo>
                      <a:pt x="6" y="4"/>
                    </a:lnTo>
                    <a:lnTo>
                      <a:pt x="4" y="4"/>
                    </a:lnTo>
                    <a:lnTo>
                      <a:pt x="2" y="2"/>
                    </a:lnTo>
                    <a:lnTo>
                      <a:pt x="0"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4" name="Freeform 724"/>
              <p:cNvSpPr/>
              <p:nvPr/>
            </p:nvSpPr>
            <p:spPr bwMode="auto">
              <a:xfrm>
                <a:off x="4012149" y="2813905"/>
                <a:ext cx="207834" cy="164492"/>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lnTo>
                      <a:pt x="30"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5" name="Freeform 725"/>
              <p:cNvSpPr/>
              <p:nvPr/>
            </p:nvSpPr>
            <p:spPr bwMode="auto">
              <a:xfrm>
                <a:off x="4012149" y="2813905"/>
                <a:ext cx="207834" cy="164492"/>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6" name="Freeform 726"/>
              <p:cNvSpPr/>
              <p:nvPr/>
            </p:nvSpPr>
            <p:spPr bwMode="auto">
              <a:xfrm>
                <a:off x="4729380" y="3035187"/>
                <a:ext cx="24451" cy="7833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12 w 22"/>
                  <a:gd name="T93" fmla="*/ 68 h 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lnTo>
                      <a:pt x="12" y="6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7" name="Freeform 727"/>
              <p:cNvSpPr/>
              <p:nvPr/>
            </p:nvSpPr>
            <p:spPr bwMode="auto">
              <a:xfrm>
                <a:off x="4729380" y="3035187"/>
                <a:ext cx="24451" cy="7833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8" name="Freeform 728"/>
              <p:cNvSpPr/>
              <p:nvPr/>
            </p:nvSpPr>
            <p:spPr bwMode="auto">
              <a:xfrm>
                <a:off x="4806808" y="2949024"/>
                <a:ext cx="160970" cy="170367"/>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146 w 146"/>
                  <a:gd name="T113" fmla="*/ 134 h 1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lnTo>
                      <a:pt x="146" y="13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9" name="Freeform 729"/>
              <p:cNvSpPr/>
              <p:nvPr/>
            </p:nvSpPr>
            <p:spPr bwMode="auto">
              <a:xfrm>
                <a:off x="4806808" y="2949024"/>
                <a:ext cx="160970" cy="170367"/>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0" name="Freeform 730"/>
              <p:cNvSpPr/>
              <p:nvPr/>
            </p:nvSpPr>
            <p:spPr bwMode="auto">
              <a:xfrm>
                <a:off x="5006491" y="3174222"/>
                <a:ext cx="12226" cy="29374"/>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4 w 12"/>
                  <a:gd name="T53" fmla="*/ 26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lnTo>
                      <a:pt x="4"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1" name="Freeform 731"/>
              <p:cNvSpPr/>
              <p:nvPr/>
            </p:nvSpPr>
            <p:spPr bwMode="auto">
              <a:xfrm>
                <a:off x="5006491" y="3174222"/>
                <a:ext cx="12226" cy="29374"/>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2" name="Freeform 732"/>
              <p:cNvSpPr/>
              <p:nvPr/>
            </p:nvSpPr>
            <p:spPr bwMode="auto">
              <a:xfrm>
                <a:off x="6502080" y="3669658"/>
                <a:ext cx="165045" cy="135118"/>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2 w 150"/>
                  <a:gd name="T91" fmla="*/ 0 h 1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3" name="Freeform 733"/>
              <p:cNvSpPr/>
              <p:nvPr/>
            </p:nvSpPr>
            <p:spPr bwMode="auto">
              <a:xfrm>
                <a:off x="6502080" y="3669658"/>
                <a:ext cx="165045" cy="135118"/>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4" name="Freeform 734"/>
              <p:cNvSpPr/>
              <p:nvPr/>
            </p:nvSpPr>
            <p:spPr bwMode="auto">
              <a:xfrm>
                <a:off x="4079390" y="3373963"/>
                <a:ext cx="126330" cy="90079"/>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lnTo>
                      <a:pt x="8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5" name="Freeform 735"/>
              <p:cNvSpPr/>
              <p:nvPr/>
            </p:nvSpPr>
            <p:spPr bwMode="auto">
              <a:xfrm>
                <a:off x="4079390" y="3373963"/>
                <a:ext cx="126330" cy="90079"/>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6" name="Freeform 736"/>
              <p:cNvSpPr/>
              <p:nvPr/>
            </p:nvSpPr>
            <p:spPr bwMode="auto">
              <a:xfrm>
                <a:off x="3914345" y="3411170"/>
                <a:ext cx="122255" cy="93996"/>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56 w 110"/>
                  <a:gd name="T123" fmla="*/ 4 h 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lnTo>
                      <a:pt x="5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7" name="Freeform 737"/>
              <p:cNvSpPr/>
              <p:nvPr/>
            </p:nvSpPr>
            <p:spPr bwMode="auto">
              <a:xfrm>
                <a:off x="3914345" y="3411170"/>
                <a:ext cx="122255" cy="93996"/>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8" name="Freeform 738"/>
              <p:cNvSpPr/>
              <p:nvPr/>
            </p:nvSpPr>
            <p:spPr bwMode="auto">
              <a:xfrm>
                <a:off x="4285185" y="2952941"/>
                <a:ext cx="67241" cy="140994"/>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30 w 60"/>
                  <a:gd name="T77" fmla="*/ 126 h 1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lnTo>
                      <a:pt x="30" y="1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9" name="Freeform 739"/>
              <p:cNvSpPr/>
              <p:nvPr/>
            </p:nvSpPr>
            <p:spPr bwMode="auto">
              <a:xfrm>
                <a:off x="4285185" y="2952941"/>
                <a:ext cx="67241" cy="140994"/>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0" name="Freeform 740"/>
              <p:cNvSpPr/>
              <p:nvPr/>
            </p:nvSpPr>
            <p:spPr bwMode="auto">
              <a:xfrm>
                <a:off x="4403366" y="3440543"/>
                <a:ext cx="215984" cy="137077"/>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lnTo>
                      <a:pt x="12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1" name="Freeform 741"/>
              <p:cNvSpPr/>
              <p:nvPr/>
            </p:nvSpPr>
            <p:spPr bwMode="auto">
              <a:xfrm>
                <a:off x="4403366" y="3440543"/>
                <a:ext cx="215984" cy="137077"/>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2" name="Freeform 742"/>
              <p:cNvSpPr/>
              <p:nvPr/>
            </p:nvSpPr>
            <p:spPr bwMode="auto">
              <a:xfrm>
                <a:off x="4857748" y="3411170"/>
                <a:ext cx="26488" cy="31332"/>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18 w 24"/>
                  <a:gd name="T67" fmla="*/ 0 h 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3" name="Freeform 743"/>
              <p:cNvSpPr/>
              <p:nvPr/>
            </p:nvSpPr>
            <p:spPr bwMode="auto">
              <a:xfrm>
                <a:off x="4857748" y="3411170"/>
                <a:ext cx="26488" cy="31332"/>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4" name="Freeform 744"/>
              <p:cNvSpPr/>
              <p:nvPr/>
            </p:nvSpPr>
            <p:spPr bwMode="auto">
              <a:xfrm>
                <a:off x="4643801" y="3642243"/>
                <a:ext cx="32601" cy="29373"/>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2 w 28"/>
                  <a:gd name="T53" fmla="*/ 24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lnTo>
                      <a:pt x="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5" name="Freeform 745"/>
              <p:cNvSpPr/>
              <p:nvPr/>
            </p:nvSpPr>
            <p:spPr bwMode="auto">
              <a:xfrm>
                <a:off x="4643801" y="3642243"/>
                <a:ext cx="32601" cy="29373"/>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6" name="Freeform 746"/>
              <p:cNvSpPr/>
              <p:nvPr/>
            </p:nvSpPr>
            <p:spPr bwMode="auto">
              <a:xfrm>
                <a:off x="4884236" y="2864819"/>
                <a:ext cx="50940" cy="52873"/>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20 w 46"/>
                  <a:gd name="T97" fmla="*/ 33 h 4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lnTo>
                      <a:pt x="20" y="3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7" name="Freeform 747"/>
              <p:cNvSpPr/>
              <p:nvPr/>
            </p:nvSpPr>
            <p:spPr bwMode="auto">
              <a:xfrm>
                <a:off x="4884236" y="2864819"/>
                <a:ext cx="50940" cy="52873"/>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8" name="Freeform 748"/>
              <p:cNvSpPr/>
              <p:nvPr/>
            </p:nvSpPr>
            <p:spPr bwMode="auto">
              <a:xfrm>
                <a:off x="5332505" y="2898110"/>
                <a:ext cx="4075" cy="1958"/>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2"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9" name="Freeform 749"/>
              <p:cNvSpPr/>
              <p:nvPr/>
            </p:nvSpPr>
            <p:spPr bwMode="auto">
              <a:xfrm>
                <a:off x="5332505" y="2898110"/>
                <a:ext cx="4075" cy="1958"/>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0" name="Freeform 750"/>
              <p:cNvSpPr/>
              <p:nvPr/>
            </p:nvSpPr>
            <p:spPr bwMode="auto">
              <a:xfrm>
                <a:off x="3883781" y="3154639"/>
                <a:ext cx="199684" cy="221282"/>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54 w 180"/>
                  <a:gd name="T73" fmla="*/ 93 h 1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lnTo>
                      <a:pt x="54" y="9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1" name="Freeform 751"/>
              <p:cNvSpPr/>
              <p:nvPr/>
            </p:nvSpPr>
            <p:spPr bwMode="auto">
              <a:xfrm>
                <a:off x="3883781" y="3154639"/>
                <a:ext cx="199684" cy="221282"/>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2" name="Freeform 752"/>
              <p:cNvSpPr/>
              <p:nvPr/>
            </p:nvSpPr>
            <p:spPr bwMode="auto">
              <a:xfrm>
                <a:off x="4529696" y="3763654"/>
                <a:ext cx="191533" cy="168409"/>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lnTo>
                      <a:pt x="0" y="1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3" name="Freeform 753"/>
              <p:cNvSpPr/>
              <p:nvPr/>
            </p:nvSpPr>
            <p:spPr bwMode="auto">
              <a:xfrm>
                <a:off x="4529696" y="3763654"/>
                <a:ext cx="191533" cy="168409"/>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4" name="Freeform 754"/>
              <p:cNvSpPr/>
              <p:nvPr/>
            </p:nvSpPr>
            <p:spPr bwMode="auto">
              <a:xfrm>
                <a:off x="3048371" y="3311299"/>
                <a:ext cx="24451" cy="9792"/>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22 w 22"/>
                  <a:gd name="T23" fmla="*/ 2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0">
                    <a:moveTo>
                      <a:pt x="22" y="2"/>
                    </a:moveTo>
                    <a:lnTo>
                      <a:pt x="22" y="4"/>
                    </a:lnTo>
                    <a:lnTo>
                      <a:pt x="22" y="6"/>
                    </a:lnTo>
                    <a:lnTo>
                      <a:pt x="20" y="8"/>
                    </a:lnTo>
                    <a:lnTo>
                      <a:pt x="2" y="10"/>
                    </a:lnTo>
                    <a:lnTo>
                      <a:pt x="2" y="6"/>
                    </a:lnTo>
                    <a:lnTo>
                      <a:pt x="0" y="4"/>
                    </a:lnTo>
                    <a:lnTo>
                      <a:pt x="0" y="2"/>
                    </a:lnTo>
                    <a:lnTo>
                      <a:pt x="2" y="0"/>
                    </a:lnTo>
                    <a:lnTo>
                      <a:pt x="20" y="0"/>
                    </a:lnTo>
                    <a:lnTo>
                      <a:pt x="20" y="2"/>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5" name="Freeform 755"/>
              <p:cNvSpPr/>
              <p:nvPr/>
            </p:nvSpPr>
            <p:spPr bwMode="auto">
              <a:xfrm>
                <a:off x="3048371" y="3311299"/>
                <a:ext cx="24451" cy="9792"/>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10">
                    <a:moveTo>
                      <a:pt x="22" y="2"/>
                    </a:moveTo>
                    <a:lnTo>
                      <a:pt x="22" y="4"/>
                    </a:lnTo>
                    <a:lnTo>
                      <a:pt x="22" y="6"/>
                    </a:lnTo>
                    <a:lnTo>
                      <a:pt x="20" y="8"/>
                    </a:lnTo>
                    <a:lnTo>
                      <a:pt x="2" y="10"/>
                    </a:lnTo>
                    <a:lnTo>
                      <a:pt x="2" y="6"/>
                    </a:lnTo>
                    <a:lnTo>
                      <a:pt x="0" y="4"/>
                    </a:lnTo>
                    <a:lnTo>
                      <a:pt x="0" y="2"/>
                    </a:lnTo>
                    <a:lnTo>
                      <a:pt x="2" y="0"/>
                    </a:lnTo>
                    <a:lnTo>
                      <a:pt x="20" y="0"/>
                    </a:lnTo>
                    <a:lnTo>
                      <a:pt x="2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6" name="Freeform 756"/>
              <p:cNvSpPr/>
              <p:nvPr/>
            </p:nvSpPr>
            <p:spPr bwMode="auto">
              <a:xfrm>
                <a:off x="3150250" y="3403337"/>
                <a:ext cx="2037" cy="1958"/>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7" name="Freeform 757"/>
              <p:cNvSpPr/>
              <p:nvPr/>
            </p:nvSpPr>
            <p:spPr bwMode="auto">
              <a:xfrm>
                <a:off x="3150250" y="3403337"/>
                <a:ext cx="2037" cy="1958"/>
              </a:xfrm>
              <a:custGeom>
                <a:avLst/>
                <a:gdLst>
                  <a:gd name="T0" fmla="*/ 2 w 2"/>
                  <a:gd name="T1" fmla="*/ 0 h 2"/>
                  <a:gd name="T2" fmla="*/ 0 w 2"/>
                  <a:gd name="T3" fmla="*/ 0 h 2"/>
                  <a:gd name="T4" fmla="*/ 0 w 2"/>
                  <a:gd name="T5" fmla="*/ 2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8" name="Freeform 758"/>
              <p:cNvSpPr/>
              <p:nvPr/>
            </p:nvSpPr>
            <p:spPr bwMode="auto">
              <a:xfrm>
                <a:off x="3140061" y="3346547"/>
                <a:ext cx="8150" cy="9792"/>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6 w 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9" name="Freeform 759"/>
              <p:cNvSpPr/>
              <p:nvPr/>
            </p:nvSpPr>
            <p:spPr bwMode="auto">
              <a:xfrm>
                <a:off x="3140061" y="3346547"/>
                <a:ext cx="8150" cy="9792"/>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0" name="Freeform 760"/>
              <p:cNvSpPr/>
              <p:nvPr/>
            </p:nvSpPr>
            <p:spPr bwMode="auto">
              <a:xfrm>
                <a:off x="6481705" y="2770824"/>
                <a:ext cx="101879" cy="93996"/>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lnTo>
                      <a:pt x="78"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1" name="Freeform 761"/>
              <p:cNvSpPr/>
              <p:nvPr/>
            </p:nvSpPr>
            <p:spPr bwMode="auto">
              <a:xfrm>
                <a:off x="6481705" y="2770824"/>
                <a:ext cx="101879" cy="93996"/>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2" name="Freeform 762"/>
              <p:cNvSpPr/>
              <p:nvPr/>
            </p:nvSpPr>
            <p:spPr bwMode="auto">
              <a:xfrm>
                <a:off x="6504119" y="2776699"/>
                <a:ext cx="4075" cy="3916"/>
              </a:xfrm>
              <a:custGeom>
                <a:avLst/>
                <a:gdLst>
                  <a:gd name="T0" fmla="*/ 2 w 4"/>
                  <a:gd name="T1" fmla="*/ 0 h 2"/>
                  <a:gd name="T2" fmla="*/ 0 w 4"/>
                  <a:gd name="T3" fmla="*/ 2 h 2"/>
                  <a:gd name="T4" fmla="*/ 2 w 4"/>
                  <a:gd name="T5" fmla="*/ 2 h 2"/>
                  <a:gd name="T6" fmla="*/ 4 w 4"/>
                  <a:gd name="T7" fmla="*/ 0 h 2"/>
                  <a:gd name="T8" fmla="*/ 4 w 4"/>
                  <a:gd name="T9" fmla="*/ 0 h 2"/>
                  <a:gd name="T10" fmla="*/ 2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2"/>
                    </a:lnTo>
                    <a:lnTo>
                      <a:pt x="2"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3" name="Freeform 763"/>
              <p:cNvSpPr/>
              <p:nvPr/>
            </p:nvSpPr>
            <p:spPr bwMode="auto">
              <a:xfrm>
                <a:off x="6504119" y="2776699"/>
                <a:ext cx="4075" cy="3916"/>
              </a:xfrm>
              <a:custGeom>
                <a:avLst/>
                <a:gdLst>
                  <a:gd name="T0" fmla="*/ 2 w 4"/>
                  <a:gd name="T1" fmla="*/ 0 h 2"/>
                  <a:gd name="T2" fmla="*/ 0 w 4"/>
                  <a:gd name="T3" fmla="*/ 2 h 2"/>
                  <a:gd name="T4" fmla="*/ 2 w 4"/>
                  <a:gd name="T5" fmla="*/ 2 h 2"/>
                  <a:gd name="T6" fmla="*/ 4 w 4"/>
                  <a:gd name="T7" fmla="*/ 0 h 2"/>
                  <a:gd name="T8" fmla="*/ 4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2" y="0"/>
                    </a:moveTo>
                    <a:lnTo>
                      <a:pt x="0" y="2"/>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4" name="Freeform 764"/>
              <p:cNvSpPr/>
              <p:nvPr/>
            </p:nvSpPr>
            <p:spPr bwMode="auto">
              <a:xfrm>
                <a:off x="6334998" y="2864819"/>
                <a:ext cx="185421" cy="16840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lnTo>
                      <a:pt x="15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5" name="Freeform 765"/>
              <p:cNvSpPr/>
              <p:nvPr/>
            </p:nvSpPr>
            <p:spPr bwMode="auto">
              <a:xfrm>
                <a:off x="6334998" y="2864819"/>
                <a:ext cx="185421" cy="16840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6" name="Freeform 766"/>
              <p:cNvSpPr/>
              <p:nvPr/>
            </p:nvSpPr>
            <p:spPr bwMode="auto">
              <a:xfrm>
                <a:off x="6457253" y="2933358"/>
                <a:ext cx="4075" cy="9791"/>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4" y="2"/>
                    </a:lnTo>
                    <a:lnTo>
                      <a:pt x="4" y="4"/>
                    </a:lnTo>
                    <a:lnTo>
                      <a:pt x="2" y="8"/>
                    </a:lnTo>
                    <a:lnTo>
                      <a:pt x="0" y="8"/>
                    </a:lnTo>
                    <a:lnTo>
                      <a:pt x="0" y="6"/>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7" name="Freeform 767"/>
              <p:cNvSpPr/>
              <p:nvPr/>
            </p:nvSpPr>
            <p:spPr bwMode="auto">
              <a:xfrm>
                <a:off x="6457253" y="2933358"/>
                <a:ext cx="4075" cy="9791"/>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4" y="2"/>
                    </a:lnTo>
                    <a:lnTo>
                      <a:pt x="4" y="4"/>
                    </a:lnTo>
                    <a:lnTo>
                      <a:pt x="2" y="8"/>
                    </a:lnTo>
                    <a:lnTo>
                      <a:pt x="0" y="8"/>
                    </a:lnTo>
                    <a:lnTo>
                      <a:pt x="0"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8" name="Freeform 768"/>
              <p:cNvSpPr/>
              <p:nvPr/>
            </p:nvSpPr>
            <p:spPr bwMode="auto">
              <a:xfrm>
                <a:off x="6355374" y="3015605"/>
                <a:ext cx="42790" cy="3329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30 w 38"/>
                  <a:gd name="T53" fmla="*/ 20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lnTo>
                      <a:pt x="30"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9" name="Freeform 769"/>
              <p:cNvSpPr/>
              <p:nvPr/>
            </p:nvSpPr>
            <p:spPr bwMode="auto">
              <a:xfrm>
                <a:off x="6355374" y="3015605"/>
                <a:ext cx="42790" cy="3329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0" name="Freeform 770"/>
              <p:cNvSpPr/>
              <p:nvPr/>
            </p:nvSpPr>
            <p:spPr bwMode="auto">
              <a:xfrm>
                <a:off x="6398164" y="3009729"/>
                <a:ext cx="4075" cy="7833"/>
              </a:xfrm>
              <a:custGeom>
                <a:avLst/>
                <a:gdLst>
                  <a:gd name="T0" fmla="*/ 4 w 4"/>
                  <a:gd name="T1" fmla="*/ 0 h 6"/>
                  <a:gd name="T2" fmla="*/ 0 w 4"/>
                  <a:gd name="T3" fmla="*/ 6 h 6"/>
                  <a:gd name="T4" fmla="*/ 2 w 4"/>
                  <a:gd name="T5" fmla="*/ 6 h 6"/>
                  <a:gd name="T6" fmla="*/ 4 w 4"/>
                  <a:gd name="T7" fmla="*/ 6 h 6"/>
                  <a:gd name="T8" fmla="*/ 4 w 4"/>
                  <a:gd name="T9" fmla="*/ 2 h 6"/>
                  <a:gd name="T10" fmla="*/ 4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0"/>
                    </a:moveTo>
                    <a:lnTo>
                      <a:pt x="0" y="6"/>
                    </a:lnTo>
                    <a:lnTo>
                      <a:pt x="2" y="6"/>
                    </a:lnTo>
                    <a:lnTo>
                      <a:pt x="4" y="6"/>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1" name="Freeform 771"/>
              <p:cNvSpPr/>
              <p:nvPr/>
            </p:nvSpPr>
            <p:spPr bwMode="auto">
              <a:xfrm>
                <a:off x="6398164" y="3009729"/>
                <a:ext cx="4075" cy="7833"/>
              </a:xfrm>
              <a:custGeom>
                <a:avLst/>
                <a:gdLst>
                  <a:gd name="T0" fmla="*/ 4 w 4"/>
                  <a:gd name="T1" fmla="*/ 0 h 6"/>
                  <a:gd name="T2" fmla="*/ 0 w 4"/>
                  <a:gd name="T3" fmla="*/ 6 h 6"/>
                  <a:gd name="T4" fmla="*/ 2 w 4"/>
                  <a:gd name="T5" fmla="*/ 6 h 6"/>
                  <a:gd name="T6" fmla="*/ 4 w 4"/>
                  <a:gd name="T7" fmla="*/ 6 h 6"/>
                  <a:gd name="T8" fmla="*/ 4 w 4"/>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4" y="0"/>
                    </a:moveTo>
                    <a:lnTo>
                      <a:pt x="0" y="6"/>
                    </a:lnTo>
                    <a:lnTo>
                      <a:pt x="2" y="6"/>
                    </a:lnTo>
                    <a:lnTo>
                      <a:pt x="4" y="6"/>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2" name="Freeform 772"/>
              <p:cNvSpPr/>
              <p:nvPr/>
            </p:nvSpPr>
            <p:spPr bwMode="auto">
              <a:xfrm>
                <a:off x="6312585" y="3023438"/>
                <a:ext cx="40752" cy="58747"/>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18 w 36"/>
                  <a:gd name="T111" fmla="*/ 0 h 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3" name="Freeform 773"/>
              <p:cNvSpPr/>
              <p:nvPr/>
            </p:nvSpPr>
            <p:spPr bwMode="auto">
              <a:xfrm>
                <a:off x="6312585" y="3023438"/>
                <a:ext cx="40752" cy="58747"/>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4" name="Freeform 774"/>
              <p:cNvSpPr/>
              <p:nvPr/>
            </p:nvSpPr>
            <p:spPr bwMode="auto">
              <a:xfrm>
                <a:off x="6320736" y="3052811"/>
                <a:ext cx="2037" cy="7833"/>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2"/>
                    </a:lnTo>
                    <a:lnTo>
                      <a:pt x="0" y="4"/>
                    </a:lnTo>
                    <a:lnTo>
                      <a:pt x="0"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5" name="Freeform 775"/>
              <p:cNvSpPr/>
              <p:nvPr/>
            </p:nvSpPr>
            <p:spPr bwMode="auto">
              <a:xfrm>
                <a:off x="6320736" y="3052811"/>
                <a:ext cx="2037" cy="7833"/>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0"/>
                    </a:moveTo>
                    <a:lnTo>
                      <a:pt x="0" y="2"/>
                    </a:lnTo>
                    <a:lnTo>
                      <a:pt x="0" y="4"/>
                    </a:lnTo>
                    <a:lnTo>
                      <a:pt x="0"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6" name="Freeform 776"/>
              <p:cNvSpPr/>
              <p:nvPr/>
            </p:nvSpPr>
            <p:spPr bwMode="auto">
              <a:xfrm>
                <a:off x="6334998" y="3086101"/>
                <a:ext cx="2038" cy="7833"/>
              </a:xfrm>
              <a:custGeom>
                <a:avLst/>
                <a:gdLst>
                  <a:gd name="T0" fmla="*/ 2 w 2"/>
                  <a:gd name="T1" fmla="*/ 2 h 6"/>
                  <a:gd name="T2" fmla="*/ 0 w 2"/>
                  <a:gd name="T3" fmla="*/ 0 h 6"/>
                  <a:gd name="T4" fmla="*/ 0 w 2"/>
                  <a:gd name="T5" fmla="*/ 6 h 6"/>
                  <a:gd name="T6" fmla="*/ 0 w 2"/>
                  <a:gd name="T7" fmla="*/ 2 h 6"/>
                  <a:gd name="T8" fmla="*/ 2 w 2"/>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2"/>
                    </a:moveTo>
                    <a:lnTo>
                      <a:pt x="0" y="0"/>
                    </a:lnTo>
                    <a:lnTo>
                      <a:pt x="0" y="6"/>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7" name="Freeform 777"/>
              <p:cNvSpPr/>
              <p:nvPr/>
            </p:nvSpPr>
            <p:spPr bwMode="auto">
              <a:xfrm>
                <a:off x="6334998" y="3086101"/>
                <a:ext cx="2038" cy="7833"/>
              </a:xfrm>
              <a:custGeom>
                <a:avLst/>
                <a:gdLst>
                  <a:gd name="T0" fmla="*/ 2 w 2"/>
                  <a:gd name="T1" fmla="*/ 2 h 6"/>
                  <a:gd name="T2" fmla="*/ 0 w 2"/>
                  <a:gd name="T3" fmla="*/ 0 h 6"/>
                  <a:gd name="T4" fmla="*/ 0 w 2"/>
                  <a:gd name="T5" fmla="*/ 6 h 6"/>
                  <a:gd name="T6" fmla="*/ 0 w 2"/>
                  <a:gd name="T7" fmla="*/ 2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6">
                    <a:moveTo>
                      <a:pt x="2" y="2"/>
                    </a:moveTo>
                    <a:lnTo>
                      <a:pt x="0" y="0"/>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8" name="Freeform 778"/>
              <p:cNvSpPr/>
              <p:nvPr/>
            </p:nvSpPr>
            <p:spPr bwMode="auto">
              <a:xfrm>
                <a:off x="6326848" y="3093934"/>
                <a:ext cx="2038" cy="3916"/>
              </a:xfrm>
              <a:custGeom>
                <a:avLst/>
                <a:gdLst>
                  <a:gd name="T0" fmla="*/ 0 w 2"/>
                  <a:gd name="T1" fmla="*/ 0 h 4"/>
                  <a:gd name="T2" fmla="*/ 0 w 2"/>
                  <a:gd name="T3" fmla="*/ 2 h 4"/>
                  <a:gd name="T4" fmla="*/ 2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9" name="Freeform 779"/>
              <p:cNvSpPr/>
              <p:nvPr/>
            </p:nvSpPr>
            <p:spPr bwMode="auto">
              <a:xfrm>
                <a:off x="6326848" y="3093934"/>
                <a:ext cx="2038" cy="3916"/>
              </a:xfrm>
              <a:custGeom>
                <a:avLst/>
                <a:gdLst>
                  <a:gd name="T0" fmla="*/ 0 w 2"/>
                  <a:gd name="T1" fmla="*/ 0 h 4"/>
                  <a:gd name="T2" fmla="*/ 0 w 2"/>
                  <a:gd name="T3" fmla="*/ 2 h 4"/>
                  <a:gd name="T4" fmla="*/ 2 w 2"/>
                  <a:gd name="T5" fmla="*/ 4 h 4"/>
                  <a:gd name="T6" fmla="*/ 2 w 2"/>
                  <a:gd name="T7" fmla="*/ 0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0" y="2"/>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0" name="Freeform 780"/>
              <p:cNvSpPr/>
              <p:nvPr/>
            </p:nvSpPr>
            <p:spPr bwMode="auto">
              <a:xfrm>
                <a:off x="6298322" y="3046937"/>
                <a:ext cx="2038" cy="3916"/>
              </a:xfrm>
              <a:custGeom>
                <a:avLst/>
                <a:gdLst>
                  <a:gd name="T0" fmla="*/ 2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2"/>
                    </a:ln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1" name="Freeform 781"/>
              <p:cNvSpPr/>
              <p:nvPr/>
            </p:nvSpPr>
            <p:spPr bwMode="auto">
              <a:xfrm>
                <a:off x="6298322" y="3046937"/>
                <a:ext cx="2038" cy="3916"/>
              </a:xfrm>
              <a:custGeom>
                <a:avLst/>
                <a:gdLst>
                  <a:gd name="T0" fmla="*/ 2 w 2"/>
                  <a:gd name="T1" fmla="*/ 0 h 4"/>
                  <a:gd name="T2" fmla="*/ 0 w 2"/>
                  <a:gd name="T3" fmla="*/ 2 h 4"/>
                  <a:gd name="T4" fmla="*/ 0 w 2"/>
                  <a:gd name="T5" fmla="*/ 4 h 4"/>
                  <a:gd name="T6" fmla="*/ 2 w 2"/>
                  <a:gd name="T7" fmla="*/ 4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2"/>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2" name="Freeform 782"/>
              <p:cNvSpPr/>
              <p:nvPr/>
            </p:nvSpPr>
            <p:spPr bwMode="auto">
              <a:xfrm>
                <a:off x="6302397" y="3041061"/>
                <a:ext cx="4075" cy="5875"/>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2" y="4"/>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3" name="Freeform 783"/>
              <p:cNvSpPr/>
              <p:nvPr/>
            </p:nvSpPr>
            <p:spPr bwMode="auto">
              <a:xfrm>
                <a:off x="6302397" y="3041061"/>
                <a:ext cx="4075" cy="5875"/>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2"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4" name="Freeform 784"/>
              <p:cNvSpPr/>
              <p:nvPr/>
            </p:nvSpPr>
            <p:spPr bwMode="auto">
              <a:xfrm>
                <a:off x="6312585" y="3025395"/>
                <a:ext cx="4075" cy="3916"/>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5" name="Freeform 785"/>
              <p:cNvSpPr/>
              <p:nvPr/>
            </p:nvSpPr>
            <p:spPr bwMode="auto">
              <a:xfrm>
                <a:off x="6312585" y="3025395"/>
                <a:ext cx="4075" cy="3916"/>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6" name="Freeform 786"/>
              <p:cNvSpPr/>
              <p:nvPr/>
            </p:nvSpPr>
            <p:spPr bwMode="auto">
              <a:xfrm>
                <a:off x="6153654" y="3189888"/>
                <a:ext cx="28526" cy="60706"/>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20 w 26"/>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7" name="Freeform 787"/>
              <p:cNvSpPr/>
              <p:nvPr/>
            </p:nvSpPr>
            <p:spPr bwMode="auto">
              <a:xfrm>
                <a:off x="6153654" y="3189888"/>
                <a:ext cx="28526" cy="60706"/>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8" name="Freeform 788"/>
              <p:cNvSpPr/>
              <p:nvPr/>
            </p:nvSpPr>
            <p:spPr bwMode="auto">
              <a:xfrm>
                <a:off x="6214781" y="320555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9" name="Freeform 789"/>
              <p:cNvSpPr/>
              <p:nvPr/>
            </p:nvSpPr>
            <p:spPr bwMode="auto">
              <a:xfrm>
                <a:off x="6214781" y="320555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0" name="Freeform 790"/>
              <p:cNvSpPr/>
              <p:nvPr/>
            </p:nvSpPr>
            <p:spPr bwMode="auto">
              <a:xfrm>
                <a:off x="6220893" y="3203596"/>
                <a:ext cx="2038" cy="3916"/>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2"/>
                    </a:lnTo>
                    <a:lnTo>
                      <a:pt x="2" y="0"/>
                    </a:lnTo>
                    <a:lnTo>
                      <a:pt x="2" y="2"/>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1" name="Freeform 791"/>
              <p:cNvSpPr/>
              <p:nvPr/>
            </p:nvSpPr>
            <p:spPr bwMode="auto">
              <a:xfrm>
                <a:off x="6220893" y="3203596"/>
                <a:ext cx="2038" cy="3916"/>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2"/>
                    </a:lnTo>
                    <a:lnTo>
                      <a:pt x="2" y="0"/>
                    </a:lnTo>
                    <a:lnTo>
                      <a:pt x="2"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2" name="Freeform 792"/>
              <p:cNvSpPr/>
              <p:nvPr/>
            </p:nvSpPr>
            <p:spPr bwMode="auto">
              <a:xfrm>
                <a:off x="6279984" y="3160515"/>
                <a:ext cx="8150" cy="13707"/>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2 w 8"/>
                  <a:gd name="T29" fmla="*/ 6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3" name="Freeform 793"/>
              <p:cNvSpPr/>
              <p:nvPr/>
            </p:nvSpPr>
            <p:spPr bwMode="auto">
              <a:xfrm>
                <a:off x="6279984" y="3160515"/>
                <a:ext cx="8150" cy="13707"/>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4" name="Freeform 794"/>
              <p:cNvSpPr/>
              <p:nvPr/>
            </p:nvSpPr>
            <p:spPr bwMode="auto">
              <a:xfrm>
                <a:off x="6300360" y="3140932"/>
                <a:ext cx="2037" cy="3916"/>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4"/>
                    </a:lnTo>
                    <a:lnTo>
                      <a:pt x="0" y="4"/>
                    </a:lnTo>
                    <a:lnTo>
                      <a:pt x="0" y="0"/>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5" name="Freeform 795"/>
              <p:cNvSpPr/>
              <p:nvPr/>
            </p:nvSpPr>
            <p:spPr bwMode="auto">
              <a:xfrm>
                <a:off x="6300360" y="3140932"/>
                <a:ext cx="2037" cy="3916"/>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4"/>
                    </a:lnTo>
                    <a:lnTo>
                      <a:pt x="0" y="4"/>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6" name="Freeform 796"/>
              <p:cNvSpPr/>
              <p:nvPr/>
            </p:nvSpPr>
            <p:spPr bwMode="auto">
              <a:xfrm>
                <a:off x="6306472" y="3129183"/>
                <a:ext cx="6113" cy="7833"/>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2 w 6"/>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2" y="2"/>
                    </a:moveTo>
                    <a:lnTo>
                      <a:pt x="4" y="0"/>
                    </a:lnTo>
                    <a:lnTo>
                      <a:pt x="6" y="0"/>
                    </a:lnTo>
                    <a:lnTo>
                      <a:pt x="4" y="2"/>
                    </a:lnTo>
                    <a:lnTo>
                      <a:pt x="4" y="4"/>
                    </a:lnTo>
                    <a:lnTo>
                      <a:pt x="2" y="4"/>
                    </a:lnTo>
                    <a:lnTo>
                      <a:pt x="2" y="6"/>
                    </a:lnTo>
                    <a:lnTo>
                      <a:pt x="0"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7" name="Freeform 797"/>
              <p:cNvSpPr/>
              <p:nvPr/>
            </p:nvSpPr>
            <p:spPr bwMode="auto">
              <a:xfrm>
                <a:off x="6306472" y="3129183"/>
                <a:ext cx="6113" cy="7833"/>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2" y="2"/>
                    </a:moveTo>
                    <a:lnTo>
                      <a:pt x="4" y="0"/>
                    </a:lnTo>
                    <a:lnTo>
                      <a:pt x="6" y="0"/>
                    </a:lnTo>
                    <a:lnTo>
                      <a:pt x="4" y="2"/>
                    </a:lnTo>
                    <a:lnTo>
                      <a:pt x="4" y="4"/>
                    </a:lnTo>
                    <a:lnTo>
                      <a:pt x="2" y="4"/>
                    </a:lnTo>
                    <a:lnTo>
                      <a:pt x="2" y="6"/>
                    </a:lnTo>
                    <a:lnTo>
                      <a:pt x="0"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8" name="Freeform 798"/>
              <p:cNvSpPr/>
              <p:nvPr/>
            </p:nvSpPr>
            <p:spPr bwMode="auto">
              <a:xfrm>
                <a:off x="6241269" y="3197721"/>
                <a:ext cx="2038" cy="1959"/>
              </a:xfrm>
              <a:custGeom>
                <a:avLst/>
                <a:gdLst>
                  <a:gd name="T0" fmla="*/ 0 w 2"/>
                  <a:gd name="T1" fmla="*/ 0 h 2"/>
                  <a:gd name="T2" fmla="*/ 2 w 2"/>
                  <a:gd name="T3" fmla="*/ 0 h 2"/>
                  <a:gd name="T4" fmla="*/ 2 w 2"/>
                  <a:gd name="T5" fmla="*/ 2 h 2"/>
                  <a:gd name="T6" fmla="*/ 2 w 2"/>
                  <a:gd name="T7" fmla="*/ 0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9" name="Freeform 799"/>
              <p:cNvSpPr/>
              <p:nvPr/>
            </p:nvSpPr>
            <p:spPr bwMode="auto">
              <a:xfrm>
                <a:off x="6241269" y="3195763"/>
                <a:ext cx="2038" cy="3916"/>
              </a:xfrm>
              <a:custGeom>
                <a:avLst/>
                <a:gdLst>
                  <a:gd name="T0" fmla="*/ 0 w 2"/>
                  <a:gd name="T1" fmla="*/ 2 h 4"/>
                  <a:gd name="T2" fmla="*/ 0 w 2"/>
                  <a:gd name="T3" fmla="*/ 0 h 4"/>
                  <a:gd name="T4" fmla="*/ 0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0"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0" name="Freeform 800"/>
              <p:cNvSpPr/>
              <p:nvPr/>
            </p:nvSpPr>
            <p:spPr bwMode="auto">
              <a:xfrm>
                <a:off x="6921823" y="3873315"/>
                <a:ext cx="10189" cy="15666"/>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w 10"/>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1" name="Freeform 801"/>
              <p:cNvSpPr/>
              <p:nvPr/>
            </p:nvSpPr>
            <p:spPr bwMode="auto">
              <a:xfrm>
                <a:off x="6921823" y="3873315"/>
                <a:ext cx="10189" cy="15666"/>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2" name="Freeform 802"/>
              <p:cNvSpPr/>
              <p:nvPr/>
            </p:nvSpPr>
            <p:spPr bwMode="auto">
              <a:xfrm>
                <a:off x="6932012" y="3892898"/>
                <a:ext cx="10187" cy="11749"/>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0"/>
                    </a:moveTo>
                    <a:lnTo>
                      <a:pt x="2" y="0"/>
                    </a:lnTo>
                    <a:lnTo>
                      <a:pt x="2" y="2"/>
                    </a:lnTo>
                    <a:lnTo>
                      <a:pt x="4" y="4"/>
                    </a:lnTo>
                    <a:lnTo>
                      <a:pt x="6" y="6"/>
                    </a:lnTo>
                    <a:lnTo>
                      <a:pt x="8" y="8"/>
                    </a:lnTo>
                    <a:lnTo>
                      <a:pt x="8" y="10"/>
                    </a:lnTo>
                    <a:lnTo>
                      <a:pt x="4" y="10"/>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3" name="Freeform 803"/>
              <p:cNvSpPr/>
              <p:nvPr/>
            </p:nvSpPr>
            <p:spPr bwMode="auto">
              <a:xfrm>
                <a:off x="6932012" y="3892898"/>
                <a:ext cx="10187" cy="11749"/>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0" y="0"/>
                    </a:moveTo>
                    <a:lnTo>
                      <a:pt x="2" y="0"/>
                    </a:lnTo>
                    <a:lnTo>
                      <a:pt x="2" y="2"/>
                    </a:lnTo>
                    <a:lnTo>
                      <a:pt x="4" y="4"/>
                    </a:lnTo>
                    <a:lnTo>
                      <a:pt x="6" y="6"/>
                    </a:lnTo>
                    <a:lnTo>
                      <a:pt x="8" y="8"/>
                    </a:lnTo>
                    <a:lnTo>
                      <a:pt x="8" y="10"/>
                    </a:lnTo>
                    <a:lnTo>
                      <a:pt x="4" y="10"/>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4" name="Freeform 804"/>
              <p:cNvSpPr/>
              <p:nvPr/>
            </p:nvSpPr>
            <p:spPr bwMode="auto">
              <a:xfrm>
                <a:off x="6948313" y="3887022"/>
                <a:ext cx="2037" cy="7833"/>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2" y="4"/>
                    </a:lnTo>
                    <a:lnTo>
                      <a:pt x="2" y="6"/>
                    </a:lnTo>
                    <a:lnTo>
                      <a:pt x="2" y="8"/>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5" name="Freeform 805"/>
              <p:cNvSpPr/>
              <p:nvPr/>
            </p:nvSpPr>
            <p:spPr bwMode="auto">
              <a:xfrm>
                <a:off x="6948313" y="3887022"/>
                <a:ext cx="2037" cy="7833"/>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2" y="4"/>
                    </a:lnTo>
                    <a:lnTo>
                      <a:pt x="2" y="6"/>
                    </a:lnTo>
                    <a:lnTo>
                      <a:pt x="2" y="8"/>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6" name="Freeform 806"/>
              <p:cNvSpPr/>
              <p:nvPr/>
            </p:nvSpPr>
            <p:spPr bwMode="auto">
              <a:xfrm>
                <a:off x="6946274" y="3896814"/>
                <a:ext cx="4075" cy="587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2" y="2"/>
                    </a:lnTo>
                    <a:lnTo>
                      <a:pt x="4" y="4"/>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7" name="Freeform 807"/>
              <p:cNvSpPr/>
              <p:nvPr/>
            </p:nvSpPr>
            <p:spPr bwMode="auto">
              <a:xfrm>
                <a:off x="6946274" y="3896814"/>
                <a:ext cx="4075" cy="587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2" y="2"/>
                    </a:lnTo>
                    <a:lnTo>
                      <a:pt x="4" y="4"/>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8" name="Freeform 808"/>
              <p:cNvSpPr/>
              <p:nvPr/>
            </p:nvSpPr>
            <p:spPr bwMode="auto">
              <a:xfrm>
                <a:off x="6950350" y="3922271"/>
                <a:ext cx="4075" cy="3916"/>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4" y="2"/>
                    </a:lnTo>
                    <a:lnTo>
                      <a:pt x="4" y="4"/>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9" name="Freeform 809"/>
              <p:cNvSpPr/>
              <p:nvPr/>
            </p:nvSpPr>
            <p:spPr bwMode="auto">
              <a:xfrm>
                <a:off x="6950350" y="3922271"/>
                <a:ext cx="4075" cy="3916"/>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0" name="Freeform 810"/>
              <p:cNvSpPr/>
              <p:nvPr/>
            </p:nvSpPr>
            <p:spPr bwMode="auto">
              <a:xfrm>
                <a:off x="6960538" y="3941853"/>
                <a:ext cx="6112" cy="5875"/>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0" y="0"/>
                    </a:moveTo>
                    <a:lnTo>
                      <a:pt x="2" y="0"/>
                    </a:lnTo>
                    <a:lnTo>
                      <a:pt x="2" y="2"/>
                    </a:lnTo>
                    <a:lnTo>
                      <a:pt x="4" y="4"/>
                    </a:lnTo>
                    <a:lnTo>
                      <a:pt x="2" y="4"/>
                    </a:lnTo>
                    <a:lnTo>
                      <a:pt x="2" y="2"/>
                    </a:lnTo>
                    <a:lnTo>
                      <a:pt x="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1" name="Freeform 811"/>
              <p:cNvSpPr/>
              <p:nvPr/>
            </p:nvSpPr>
            <p:spPr bwMode="auto">
              <a:xfrm>
                <a:off x="6960538" y="3941853"/>
                <a:ext cx="6112" cy="5875"/>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4"/>
                    </a:lnTo>
                    <a:lnTo>
                      <a:pt x="2" y="4"/>
                    </a:lnTo>
                    <a:lnTo>
                      <a:pt x="2" y="2"/>
                    </a:lnTo>
                    <a:lnTo>
                      <a:pt x="2"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2" name="Freeform 812"/>
              <p:cNvSpPr/>
              <p:nvPr/>
            </p:nvSpPr>
            <p:spPr bwMode="auto">
              <a:xfrm>
                <a:off x="6966650" y="3953603"/>
                <a:ext cx="2038" cy="3916"/>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0"/>
                    </a:lnTo>
                    <a:lnTo>
                      <a:pt x="2" y="2"/>
                    </a:lnTo>
                    <a:lnTo>
                      <a:pt x="2" y="4"/>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3" name="Freeform 813"/>
              <p:cNvSpPr/>
              <p:nvPr/>
            </p:nvSpPr>
            <p:spPr bwMode="auto">
              <a:xfrm>
                <a:off x="6966650" y="3953603"/>
                <a:ext cx="2038" cy="3916"/>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0"/>
                    </a:lnTo>
                    <a:lnTo>
                      <a:pt x="2" y="2"/>
                    </a:lnTo>
                    <a:lnTo>
                      <a:pt x="2" y="4"/>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4" name="Freeform 814"/>
              <p:cNvSpPr/>
              <p:nvPr/>
            </p:nvSpPr>
            <p:spPr bwMode="auto">
              <a:xfrm>
                <a:off x="6049736" y="3242761"/>
                <a:ext cx="4075" cy="1958"/>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2" y="0"/>
                    </a:lnTo>
                    <a:lnTo>
                      <a:pt x="0" y="2"/>
                    </a:lnTo>
                    <a:lnTo>
                      <a:pt x="2"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5" name="Freeform 815"/>
              <p:cNvSpPr/>
              <p:nvPr/>
            </p:nvSpPr>
            <p:spPr bwMode="auto">
              <a:xfrm>
                <a:off x="6049736" y="3242761"/>
                <a:ext cx="4075" cy="1958"/>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2" y="0"/>
                    </a:lnTo>
                    <a:lnTo>
                      <a:pt x="0" y="2"/>
                    </a:lnTo>
                    <a:lnTo>
                      <a:pt x="2"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6" name="Freeform 816"/>
              <p:cNvSpPr/>
              <p:nvPr/>
            </p:nvSpPr>
            <p:spPr bwMode="auto">
              <a:xfrm>
                <a:off x="6055849" y="3242761"/>
                <a:ext cx="2037" cy="1958"/>
              </a:xfrm>
              <a:custGeom>
                <a:avLst/>
                <a:gdLst>
                  <a:gd name="T0" fmla="*/ 0 w 1"/>
                  <a:gd name="T1" fmla="*/ 0 h 2"/>
                  <a:gd name="T2" fmla="*/ 0 w 1"/>
                  <a:gd name="T3" fmla="*/ 2 h 2"/>
                  <a:gd name="T4" fmla="*/ 0 w 1"/>
                  <a:gd name="T5" fmla="*/ 2 h 2"/>
                  <a:gd name="T6" fmla="*/ 0 60000 65536"/>
                  <a:gd name="T7" fmla="*/ 0 60000 65536"/>
                  <a:gd name="T8" fmla="*/ 0 60000 65536"/>
                </a:gdLst>
                <a:ahLst/>
                <a:cxnLst>
                  <a:cxn ang="T6">
                    <a:pos x="T0" y="T1"/>
                  </a:cxn>
                  <a:cxn ang="T7">
                    <a:pos x="T2" y="T3"/>
                  </a:cxn>
                  <a:cxn ang="T8">
                    <a:pos x="T4" y="T5"/>
                  </a:cxn>
                </a:cxnLst>
                <a:rect l="0" t="0" r="r" b="b"/>
                <a:pathLst>
                  <a:path w="1" h="2">
                    <a:moveTo>
                      <a:pt x="0" y="0"/>
                    </a:move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7" name="Freeform 817"/>
              <p:cNvSpPr/>
              <p:nvPr/>
            </p:nvSpPr>
            <p:spPr bwMode="auto">
              <a:xfrm>
                <a:off x="5966196" y="3281926"/>
                <a:ext cx="36677" cy="35248"/>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26 w 34"/>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lnTo>
                      <a:pt x="2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8" name="Freeform 818"/>
              <p:cNvSpPr/>
              <p:nvPr/>
            </p:nvSpPr>
            <p:spPr bwMode="auto">
              <a:xfrm>
                <a:off x="5966196" y="3281926"/>
                <a:ext cx="36677" cy="35248"/>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9" name="Freeform 819"/>
              <p:cNvSpPr/>
              <p:nvPr/>
            </p:nvSpPr>
            <p:spPr bwMode="auto">
              <a:xfrm>
                <a:off x="3885818" y="3129183"/>
                <a:ext cx="12226" cy="9791"/>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1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8">
                    <a:moveTo>
                      <a:pt x="10" y="0"/>
                    </a:moveTo>
                    <a:lnTo>
                      <a:pt x="8" y="0"/>
                    </a:lnTo>
                    <a:lnTo>
                      <a:pt x="2" y="2"/>
                    </a:lnTo>
                    <a:lnTo>
                      <a:pt x="0" y="4"/>
                    </a:lnTo>
                    <a:lnTo>
                      <a:pt x="0" y="6"/>
                    </a:lnTo>
                    <a:lnTo>
                      <a:pt x="2" y="8"/>
                    </a:lnTo>
                    <a:lnTo>
                      <a:pt x="6" y="8"/>
                    </a:lnTo>
                    <a:lnTo>
                      <a:pt x="6" y="4"/>
                    </a:lnTo>
                    <a:lnTo>
                      <a:pt x="10" y="2"/>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0" name="Freeform 820"/>
              <p:cNvSpPr/>
              <p:nvPr/>
            </p:nvSpPr>
            <p:spPr bwMode="auto">
              <a:xfrm>
                <a:off x="3885818" y="3129183"/>
                <a:ext cx="12226" cy="9791"/>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8">
                    <a:moveTo>
                      <a:pt x="10" y="0"/>
                    </a:moveTo>
                    <a:lnTo>
                      <a:pt x="8" y="0"/>
                    </a:lnTo>
                    <a:lnTo>
                      <a:pt x="2" y="2"/>
                    </a:lnTo>
                    <a:lnTo>
                      <a:pt x="0" y="4"/>
                    </a:lnTo>
                    <a:lnTo>
                      <a:pt x="0" y="6"/>
                    </a:lnTo>
                    <a:lnTo>
                      <a:pt x="2" y="8"/>
                    </a:lnTo>
                    <a:lnTo>
                      <a:pt x="6" y="8"/>
                    </a:lnTo>
                    <a:lnTo>
                      <a:pt x="6" y="4"/>
                    </a:lnTo>
                    <a:lnTo>
                      <a:pt x="1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1" name="Freeform 821"/>
              <p:cNvSpPr/>
              <p:nvPr/>
            </p:nvSpPr>
            <p:spPr bwMode="auto">
              <a:xfrm>
                <a:off x="3904157" y="3137016"/>
                <a:ext cx="6112" cy="7833"/>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2" y="0"/>
                    </a:moveTo>
                    <a:lnTo>
                      <a:pt x="0" y="4"/>
                    </a:lnTo>
                    <a:lnTo>
                      <a:pt x="0" y="6"/>
                    </a:lnTo>
                    <a:lnTo>
                      <a:pt x="2" y="8"/>
                    </a:lnTo>
                    <a:lnTo>
                      <a:pt x="4" y="8"/>
                    </a:lnTo>
                    <a:lnTo>
                      <a:pt x="6" y="6"/>
                    </a:lnTo>
                    <a:lnTo>
                      <a:pt x="6" y="4"/>
                    </a:lnTo>
                    <a:lnTo>
                      <a:pt x="6"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2" name="Freeform 822"/>
              <p:cNvSpPr/>
              <p:nvPr/>
            </p:nvSpPr>
            <p:spPr bwMode="auto">
              <a:xfrm>
                <a:off x="3904157" y="3137016"/>
                <a:ext cx="6112" cy="7833"/>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2" y="0"/>
                    </a:moveTo>
                    <a:lnTo>
                      <a:pt x="0" y="4"/>
                    </a:lnTo>
                    <a:lnTo>
                      <a:pt x="0" y="6"/>
                    </a:lnTo>
                    <a:lnTo>
                      <a:pt x="2" y="8"/>
                    </a:lnTo>
                    <a:lnTo>
                      <a:pt x="4" y="8"/>
                    </a:lnTo>
                    <a:lnTo>
                      <a:pt x="6" y="6"/>
                    </a:lnTo>
                    <a:lnTo>
                      <a:pt x="6" y="4"/>
                    </a:lnTo>
                    <a:lnTo>
                      <a:pt x="6"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3" name="Freeform 823"/>
              <p:cNvSpPr/>
              <p:nvPr/>
            </p:nvSpPr>
            <p:spPr bwMode="auto">
              <a:xfrm>
                <a:off x="3928608" y="3125266"/>
                <a:ext cx="6112" cy="13707"/>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6 w 6"/>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2">
                    <a:moveTo>
                      <a:pt x="6" y="0"/>
                    </a:moveTo>
                    <a:lnTo>
                      <a:pt x="0" y="8"/>
                    </a:lnTo>
                    <a:lnTo>
                      <a:pt x="2" y="10"/>
                    </a:lnTo>
                    <a:lnTo>
                      <a:pt x="0" y="12"/>
                    </a:lnTo>
                    <a:lnTo>
                      <a:pt x="4" y="10"/>
                    </a:lnTo>
                    <a:lnTo>
                      <a:pt x="6"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4" name="Freeform 824"/>
              <p:cNvSpPr/>
              <p:nvPr/>
            </p:nvSpPr>
            <p:spPr bwMode="auto">
              <a:xfrm>
                <a:off x="3928608" y="3125266"/>
                <a:ext cx="6112" cy="13707"/>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6" y="0"/>
                    </a:moveTo>
                    <a:lnTo>
                      <a:pt x="0" y="8"/>
                    </a:lnTo>
                    <a:lnTo>
                      <a:pt x="2" y="10"/>
                    </a:lnTo>
                    <a:lnTo>
                      <a:pt x="0" y="12"/>
                    </a:lnTo>
                    <a:lnTo>
                      <a:pt x="4" y="10"/>
                    </a:lnTo>
                    <a:lnTo>
                      <a:pt x="6"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5" name="Freeform 825"/>
              <p:cNvSpPr/>
              <p:nvPr/>
            </p:nvSpPr>
            <p:spPr bwMode="auto">
              <a:xfrm>
                <a:off x="3936759" y="3115474"/>
                <a:ext cx="6112" cy="7833"/>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6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6" y="0"/>
                    </a:moveTo>
                    <a:lnTo>
                      <a:pt x="4" y="0"/>
                    </a:lnTo>
                    <a:lnTo>
                      <a:pt x="4" y="2"/>
                    </a:lnTo>
                    <a:lnTo>
                      <a:pt x="0" y="4"/>
                    </a:lnTo>
                    <a:lnTo>
                      <a:pt x="0" y="6"/>
                    </a:lnTo>
                    <a:lnTo>
                      <a:pt x="2" y="6"/>
                    </a:lnTo>
                    <a:lnTo>
                      <a:pt x="4" y="4"/>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6" name="Freeform 826"/>
              <p:cNvSpPr/>
              <p:nvPr/>
            </p:nvSpPr>
            <p:spPr bwMode="auto">
              <a:xfrm>
                <a:off x="3936759" y="3115474"/>
                <a:ext cx="6112" cy="7833"/>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6" y="0"/>
                    </a:moveTo>
                    <a:lnTo>
                      <a:pt x="4" y="0"/>
                    </a:lnTo>
                    <a:lnTo>
                      <a:pt x="4" y="2"/>
                    </a:lnTo>
                    <a:lnTo>
                      <a:pt x="0" y="4"/>
                    </a:lnTo>
                    <a:lnTo>
                      <a:pt x="0" y="6"/>
                    </a:lnTo>
                    <a:lnTo>
                      <a:pt x="2" y="6"/>
                    </a:lnTo>
                    <a:lnTo>
                      <a:pt x="4" y="4"/>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7" name="Freeform 827"/>
              <p:cNvSpPr/>
              <p:nvPr/>
            </p:nvSpPr>
            <p:spPr bwMode="auto">
              <a:xfrm>
                <a:off x="5383446" y="2565209"/>
                <a:ext cx="1016755" cy="714758"/>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lnTo>
                      <a:pt x="613" y="59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8" name="Freeform 828"/>
              <p:cNvSpPr/>
              <p:nvPr/>
            </p:nvSpPr>
            <p:spPr bwMode="auto">
              <a:xfrm>
                <a:off x="5383446" y="2565209"/>
                <a:ext cx="1016755" cy="714758"/>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9" name="Freeform 829"/>
              <p:cNvSpPr/>
              <p:nvPr/>
            </p:nvSpPr>
            <p:spPr bwMode="auto">
              <a:xfrm>
                <a:off x="4727343" y="3548247"/>
                <a:ext cx="132443" cy="154701"/>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106 w 120"/>
                  <a:gd name="T115" fmla="*/ 70 h 1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lnTo>
                      <a:pt x="106" y="7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0" name="Freeform 830"/>
              <p:cNvSpPr/>
              <p:nvPr/>
            </p:nvSpPr>
            <p:spPr bwMode="auto">
              <a:xfrm>
                <a:off x="4727343" y="3548247"/>
                <a:ext cx="132443" cy="154701"/>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1" name="Freeform 831"/>
              <p:cNvSpPr/>
              <p:nvPr/>
            </p:nvSpPr>
            <p:spPr bwMode="auto">
              <a:xfrm>
                <a:off x="5092070" y="2766907"/>
                <a:ext cx="285262" cy="187991"/>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lnTo>
                      <a:pt x="0"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2" name="Freeform 832"/>
              <p:cNvSpPr/>
              <p:nvPr/>
            </p:nvSpPr>
            <p:spPr bwMode="auto">
              <a:xfrm>
                <a:off x="5092070" y="2766907"/>
                <a:ext cx="285262" cy="187991"/>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3" name="Freeform 833"/>
              <p:cNvSpPr/>
              <p:nvPr/>
            </p:nvSpPr>
            <p:spPr bwMode="auto">
              <a:xfrm>
                <a:off x="2987243" y="2267556"/>
                <a:ext cx="12226" cy="7833"/>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8">
                    <a:moveTo>
                      <a:pt x="0" y="0"/>
                    </a:moveTo>
                    <a:lnTo>
                      <a:pt x="2" y="2"/>
                    </a:lnTo>
                    <a:lnTo>
                      <a:pt x="6" y="2"/>
                    </a:lnTo>
                    <a:lnTo>
                      <a:pt x="10" y="6"/>
                    </a:lnTo>
                    <a:lnTo>
                      <a:pt x="8" y="6"/>
                    </a:lnTo>
                    <a:lnTo>
                      <a:pt x="6" y="8"/>
                    </a:lnTo>
                    <a:lnTo>
                      <a:pt x="2" y="6"/>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4" name="Freeform 834"/>
              <p:cNvSpPr/>
              <p:nvPr/>
            </p:nvSpPr>
            <p:spPr bwMode="auto">
              <a:xfrm>
                <a:off x="2987243" y="2267556"/>
                <a:ext cx="12226" cy="7833"/>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8">
                    <a:moveTo>
                      <a:pt x="0" y="0"/>
                    </a:moveTo>
                    <a:lnTo>
                      <a:pt x="2" y="2"/>
                    </a:lnTo>
                    <a:lnTo>
                      <a:pt x="6" y="2"/>
                    </a:lnTo>
                    <a:lnTo>
                      <a:pt x="10" y="6"/>
                    </a:lnTo>
                    <a:lnTo>
                      <a:pt x="8" y="6"/>
                    </a:lnTo>
                    <a:lnTo>
                      <a:pt x="6" y="8"/>
                    </a:lnTo>
                    <a:lnTo>
                      <a:pt x="2" y="6"/>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5" name="Freeform 835"/>
              <p:cNvSpPr/>
              <p:nvPr/>
            </p:nvSpPr>
            <p:spPr bwMode="auto">
              <a:xfrm>
                <a:off x="4535809" y="2802155"/>
                <a:ext cx="101879" cy="64623"/>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8 w 92"/>
                  <a:gd name="T85" fmla="*/ 56 h 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lnTo>
                      <a:pt x="8"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6" name="Freeform 836"/>
              <p:cNvSpPr/>
              <p:nvPr/>
            </p:nvSpPr>
            <p:spPr bwMode="auto">
              <a:xfrm>
                <a:off x="4535809" y="2802155"/>
                <a:ext cx="101879" cy="64623"/>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7" name="Freeform 837"/>
              <p:cNvSpPr/>
              <p:nvPr/>
            </p:nvSpPr>
            <p:spPr bwMode="auto">
              <a:xfrm>
                <a:off x="4403366" y="2776699"/>
                <a:ext cx="4075" cy="587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2"/>
                    </a:lnTo>
                    <a:lnTo>
                      <a:pt x="4"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8" name="Freeform 838"/>
              <p:cNvSpPr/>
              <p:nvPr/>
            </p:nvSpPr>
            <p:spPr bwMode="auto">
              <a:xfrm>
                <a:off x="4403366" y="2776699"/>
                <a:ext cx="4075" cy="587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2"/>
                    </a:lnTo>
                    <a:lnTo>
                      <a:pt x="4"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9" name="Freeform 839"/>
              <p:cNvSpPr/>
              <p:nvPr/>
            </p:nvSpPr>
            <p:spPr bwMode="auto">
              <a:xfrm>
                <a:off x="4401329" y="2780615"/>
                <a:ext cx="2037" cy="9791"/>
              </a:xfrm>
              <a:custGeom>
                <a:avLst/>
                <a:gdLst>
                  <a:gd name="T0" fmla="*/ 0 w 2"/>
                  <a:gd name="T1" fmla="*/ 0 h 10"/>
                  <a:gd name="T2" fmla="*/ 2 w 2"/>
                  <a:gd name="T3" fmla="*/ 10 h 10"/>
                  <a:gd name="T4" fmla="*/ 0 w 2"/>
                  <a:gd name="T5" fmla="*/ 6 h 10"/>
                  <a:gd name="T6" fmla="*/ 0 w 2"/>
                  <a:gd name="T7" fmla="*/ 4 h 10"/>
                  <a:gd name="T8" fmla="*/ 0 w 2"/>
                  <a:gd name="T9" fmla="*/ 2 h 10"/>
                  <a:gd name="T10" fmla="*/ 0 w 2"/>
                  <a:gd name="T11" fmla="*/ 2 h 10"/>
                  <a:gd name="T12" fmla="*/ 0 w 2"/>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0" y="0"/>
                    </a:moveTo>
                    <a:lnTo>
                      <a:pt x="2" y="10"/>
                    </a:lnTo>
                    <a:lnTo>
                      <a:pt x="0"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0" name="Freeform 840"/>
              <p:cNvSpPr/>
              <p:nvPr/>
            </p:nvSpPr>
            <p:spPr bwMode="auto">
              <a:xfrm>
                <a:off x="4401329" y="2776699"/>
                <a:ext cx="2037" cy="13707"/>
              </a:xfrm>
              <a:custGeom>
                <a:avLst/>
                <a:gdLst>
                  <a:gd name="T0" fmla="*/ 0 w 2"/>
                  <a:gd name="T1" fmla="*/ 2 h 12"/>
                  <a:gd name="T2" fmla="*/ 0 w 2"/>
                  <a:gd name="T3" fmla="*/ 0 h 12"/>
                  <a:gd name="T4" fmla="*/ 0 w 2"/>
                  <a:gd name="T5" fmla="*/ 0 h 12"/>
                  <a:gd name="T6" fmla="*/ 2 w 2"/>
                  <a:gd name="T7" fmla="*/ 12 h 12"/>
                  <a:gd name="T8" fmla="*/ 0 w 2"/>
                  <a:gd name="T9" fmla="*/ 8 h 12"/>
                  <a:gd name="T10" fmla="*/ 0 w 2"/>
                  <a:gd name="T11" fmla="*/ 6 h 12"/>
                  <a:gd name="T12" fmla="*/ 0 w 2"/>
                  <a:gd name="T13" fmla="*/ 4 h 12"/>
                  <a:gd name="T14" fmla="*/ 0 w 2"/>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12">
                    <a:moveTo>
                      <a:pt x="0" y="2"/>
                    </a:moveTo>
                    <a:lnTo>
                      <a:pt x="0" y="0"/>
                    </a:lnTo>
                    <a:lnTo>
                      <a:pt x="2" y="12"/>
                    </a:lnTo>
                    <a:lnTo>
                      <a:pt x="0"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1" name="Freeform 841"/>
              <p:cNvSpPr/>
              <p:nvPr/>
            </p:nvSpPr>
            <p:spPr bwMode="auto">
              <a:xfrm>
                <a:off x="4435967" y="2819780"/>
                <a:ext cx="6113" cy="1958"/>
              </a:xfrm>
              <a:custGeom>
                <a:avLst/>
                <a:gdLst>
                  <a:gd name="T0" fmla="*/ 0 w 6"/>
                  <a:gd name="T1" fmla="*/ 0 h 2"/>
                  <a:gd name="T2" fmla="*/ 6 w 6"/>
                  <a:gd name="T3" fmla="*/ 0 h 2"/>
                  <a:gd name="T4" fmla="*/ 6 w 6"/>
                  <a:gd name="T5" fmla="*/ 2 h 2"/>
                  <a:gd name="T6" fmla="*/ 0 w 6"/>
                  <a:gd name="T7" fmla="*/ 2 h 2"/>
                  <a:gd name="T8" fmla="*/ 0 w 6"/>
                  <a:gd name="T9" fmla="*/ 2 h 2"/>
                  <a:gd name="T10" fmla="*/ 0 w 6"/>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0" y="0"/>
                    </a:moveTo>
                    <a:lnTo>
                      <a:pt x="6" y="0"/>
                    </a:lnTo>
                    <a:lnTo>
                      <a:pt x="6"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2" name="Freeform 842"/>
              <p:cNvSpPr/>
              <p:nvPr/>
            </p:nvSpPr>
            <p:spPr bwMode="auto">
              <a:xfrm>
                <a:off x="4435967" y="2819780"/>
                <a:ext cx="6113" cy="1958"/>
              </a:xfrm>
              <a:custGeom>
                <a:avLst/>
                <a:gdLst>
                  <a:gd name="T0" fmla="*/ 0 w 6"/>
                  <a:gd name="T1" fmla="*/ 0 h 2"/>
                  <a:gd name="T2" fmla="*/ 6 w 6"/>
                  <a:gd name="T3" fmla="*/ 0 h 2"/>
                  <a:gd name="T4" fmla="*/ 6 w 6"/>
                  <a:gd name="T5" fmla="*/ 2 h 2"/>
                  <a:gd name="T6" fmla="*/ 0 w 6"/>
                  <a:gd name="T7" fmla="*/ 2 h 2"/>
                  <a:gd name="T8" fmla="*/ 0 w 6"/>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0" y="0"/>
                    </a:moveTo>
                    <a:lnTo>
                      <a:pt x="6" y="0"/>
                    </a:lnTo>
                    <a:lnTo>
                      <a:pt x="6"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3" name="Freeform 843"/>
              <p:cNvSpPr/>
              <p:nvPr/>
            </p:nvSpPr>
            <p:spPr bwMode="auto">
              <a:xfrm>
                <a:off x="4438005" y="2829571"/>
                <a:ext cx="10187" cy="1959"/>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w 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2">
                    <a:moveTo>
                      <a:pt x="0" y="0"/>
                    </a:moveTo>
                    <a:lnTo>
                      <a:pt x="2" y="0"/>
                    </a:lnTo>
                    <a:lnTo>
                      <a:pt x="6" y="0"/>
                    </a:lnTo>
                    <a:lnTo>
                      <a:pt x="8" y="0"/>
                    </a:lnTo>
                    <a:lnTo>
                      <a:pt x="8"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4" name="Freeform 844"/>
              <p:cNvSpPr/>
              <p:nvPr/>
            </p:nvSpPr>
            <p:spPr bwMode="auto">
              <a:xfrm>
                <a:off x="4438005" y="2829571"/>
                <a:ext cx="10187" cy="1959"/>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2">
                    <a:moveTo>
                      <a:pt x="0" y="0"/>
                    </a:moveTo>
                    <a:lnTo>
                      <a:pt x="2" y="0"/>
                    </a:lnTo>
                    <a:lnTo>
                      <a:pt x="6" y="0"/>
                    </a:lnTo>
                    <a:lnTo>
                      <a:pt x="8" y="0"/>
                    </a:lnTo>
                    <a:lnTo>
                      <a:pt x="8"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5" name="Freeform 845"/>
              <p:cNvSpPr/>
              <p:nvPr/>
            </p:nvSpPr>
            <p:spPr bwMode="auto">
              <a:xfrm>
                <a:off x="4448192" y="2827613"/>
                <a:ext cx="22414" cy="13707"/>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20 w 20"/>
                  <a:gd name="T37" fmla="*/ 1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lnTo>
                      <a:pt x="20"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6" name="Freeform 846"/>
              <p:cNvSpPr/>
              <p:nvPr/>
            </p:nvSpPr>
            <p:spPr bwMode="auto">
              <a:xfrm>
                <a:off x="4448192" y="2827613"/>
                <a:ext cx="22414" cy="13707"/>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7" name="Freeform 847"/>
              <p:cNvSpPr/>
              <p:nvPr/>
            </p:nvSpPr>
            <p:spPr bwMode="auto">
              <a:xfrm>
                <a:off x="4387065" y="2743408"/>
                <a:ext cx="97804" cy="86163"/>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lnTo>
                      <a:pt x="78"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8" name="Freeform 848"/>
              <p:cNvSpPr/>
              <p:nvPr/>
            </p:nvSpPr>
            <p:spPr bwMode="auto">
              <a:xfrm>
                <a:off x="4387065" y="2743408"/>
                <a:ext cx="97804" cy="86163"/>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path>
                </a:pathLst>
              </a:custGeom>
              <a:solidFill>
                <a:srgbClr val="08C886"/>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9" name="Freeform 849"/>
              <p:cNvSpPr/>
              <p:nvPr/>
            </p:nvSpPr>
            <p:spPr bwMode="auto">
              <a:xfrm>
                <a:off x="4482832" y="2839363"/>
                <a:ext cx="28526" cy="62664"/>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14 w 26"/>
                  <a:gd name="T71" fmla="*/ 57 h 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lnTo>
                      <a:pt x="14" y="5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0" name="Freeform 850"/>
              <p:cNvSpPr/>
              <p:nvPr/>
            </p:nvSpPr>
            <p:spPr bwMode="auto">
              <a:xfrm>
                <a:off x="4482832" y="2839363"/>
                <a:ext cx="28526" cy="62664"/>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1" name="Freeform 851"/>
              <p:cNvSpPr/>
              <p:nvPr/>
            </p:nvSpPr>
            <p:spPr bwMode="auto">
              <a:xfrm>
                <a:off x="5793000" y="3489500"/>
                <a:ext cx="2038" cy="3916"/>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2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0"/>
                    </a:moveTo>
                    <a:lnTo>
                      <a:pt x="0" y="0"/>
                    </a:lnTo>
                    <a:lnTo>
                      <a:pt x="0" y="2"/>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2" name="Freeform 852"/>
              <p:cNvSpPr/>
              <p:nvPr/>
            </p:nvSpPr>
            <p:spPr bwMode="auto">
              <a:xfrm>
                <a:off x="5793000" y="3489500"/>
                <a:ext cx="2038" cy="3916"/>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0"/>
                    </a:lnTo>
                    <a:lnTo>
                      <a:pt x="0"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3" name="Freeform 853"/>
              <p:cNvSpPr/>
              <p:nvPr/>
            </p:nvSpPr>
            <p:spPr bwMode="auto">
              <a:xfrm>
                <a:off x="5782813" y="3272134"/>
                <a:ext cx="130406" cy="258488"/>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40 w 118"/>
                  <a:gd name="T91" fmla="*/ 0 h 2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lnTo>
                      <a:pt x="4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4" name="Freeform 854"/>
              <p:cNvSpPr/>
              <p:nvPr/>
            </p:nvSpPr>
            <p:spPr bwMode="auto">
              <a:xfrm>
                <a:off x="5782813" y="3272134"/>
                <a:ext cx="130406" cy="258488"/>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5" name="Freeform 855"/>
              <p:cNvSpPr/>
              <p:nvPr/>
            </p:nvSpPr>
            <p:spPr bwMode="auto">
              <a:xfrm>
                <a:off x="4511358" y="2475129"/>
                <a:ext cx="95766" cy="76371"/>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w 86"/>
                  <a:gd name="T79" fmla="*/ 10 h 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6" name="Freeform 856"/>
              <p:cNvSpPr/>
              <p:nvPr/>
            </p:nvSpPr>
            <p:spPr bwMode="auto">
              <a:xfrm>
                <a:off x="4511358" y="2475129"/>
                <a:ext cx="95766" cy="76371"/>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7" name="Freeform 857"/>
              <p:cNvSpPr/>
              <p:nvPr/>
            </p:nvSpPr>
            <p:spPr bwMode="auto">
              <a:xfrm>
                <a:off x="1958261" y="2545626"/>
                <a:ext cx="22414" cy="29373"/>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16 w 20"/>
                  <a:gd name="T67" fmla="*/ 4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lnTo>
                      <a:pt x="16"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8" name="Freeform 858"/>
              <p:cNvSpPr/>
              <p:nvPr/>
            </p:nvSpPr>
            <p:spPr bwMode="auto">
              <a:xfrm>
                <a:off x="1958261" y="2545626"/>
                <a:ext cx="22414" cy="29373"/>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9" name="Freeform 859"/>
              <p:cNvSpPr/>
              <p:nvPr/>
            </p:nvSpPr>
            <p:spPr bwMode="auto">
              <a:xfrm>
                <a:off x="1968449" y="2569125"/>
                <a:ext cx="20376" cy="31332"/>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4 w 18"/>
                  <a:gd name="T55" fmla="*/ 13 h 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lnTo>
                      <a:pt x="4" y="1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0" name="Freeform 860"/>
              <p:cNvSpPr/>
              <p:nvPr/>
            </p:nvSpPr>
            <p:spPr bwMode="auto">
              <a:xfrm>
                <a:off x="1968449" y="2569125"/>
                <a:ext cx="20376" cy="31332"/>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1" name="Freeform 861"/>
              <p:cNvSpPr/>
              <p:nvPr/>
            </p:nvSpPr>
            <p:spPr bwMode="auto">
              <a:xfrm>
                <a:off x="1996976" y="2547584"/>
                <a:ext cx="8150" cy="5875"/>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4"/>
                    </a:moveTo>
                    <a:lnTo>
                      <a:pt x="2" y="2"/>
                    </a:lnTo>
                    <a:lnTo>
                      <a:pt x="4" y="0"/>
                    </a:lnTo>
                    <a:lnTo>
                      <a:pt x="6" y="2"/>
                    </a:lnTo>
                    <a:lnTo>
                      <a:pt x="6" y="4"/>
                    </a:lnTo>
                    <a:lnTo>
                      <a:pt x="4" y="6"/>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2" name="Freeform 862"/>
              <p:cNvSpPr/>
              <p:nvPr/>
            </p:nvSpPr>
            <p:spPr bwMode="auto">
              <a:xfrm>
                <a:off x="1996976" y="2547584"/>
                <a:ext cx="8150" cy="5875"/>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4"/>
                    </a:moveTo>
                    <a:lnTo>
                      <a:pt x="2" y="2"/>
                    </a:lnTo>
                    <a:lnTo>
                      <a:pt x="4" y="0"/>
                    </a:lnTo>
                    <a:lnTo>
                      <a:pt x="6" y="2"/>
                    </a:lnTo>
                    <a:lnTo>
                      <a:pt x="6" y="4"/>
                    </a:lnTo>
                    <a:lnTo>
                      <a:pt x="4" y="6"/>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3" name="Freeform 863"/>
              <p:cNvSpPr/>
              <p:nvPr/>
            </p:nvSpPr>
            <p:spPr bwMode="auto">
              <a:xfrm>
                <a:off x="2001051" y="2561292"/>
                <a:ext cx="10187" cy="9791"/>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0">
                    <a:moveTo>
                      <a:pt x="0" y="0"/>
                    </a:moveTo>
                    <a:lnTo>
                      <a:pt x="4" y="0"/>
                    </a:lnTo>
                    <a:lnTo>
                      <a:pt x="8" y="4"/>
                    </a:lnTo>
                    <a:lnTo>
                      <a:pt x="10" y="10"/>
                    </a:lnTo>
                    <a:lnTo>
                      <a:pt x="6" y="6"/>
                    </a:lnTo>
                    <a:lnTo>
                      <a:pt x="4" y="6"/>
                    </a:lnTo>
                    <a:lnTo>
                      <a:pt x="4"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4" name="Freeform 864"/>
              <p:cNvSpPr/>
              <p:nvPr/>
            </p:nvSpPr>
            <p:spPr bwMode="auto">
              <a:xfrm>
                <a:off x="2001051" y="2561292"/>
                <a:ext cx="10187" cy="9791"/>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0" y="0"/>
                    </a:moveTo>
                    <a:lnTo>
                      <a:pt x="4" y="0"/>
                    </a:lnTo>
                    <a:lnTo>
                      <a:pt x="8" y="4"/>
                    </a:lnTo>
                    <a:lnTo>
                      <a:pt x="10" y="10"/>
                    </a:lnTo>
                    <a:lnTo>
                      <a:pt x="6" y="6"/>
                    </a:lnTo>
                    <a:lnTo>
                      <a:pt x="4" y="6"/>
                    </a:lnTo>
                    <a:lnTo>
                      <a:pt x="4"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5" name="Freeform 865"/>
              <p:cNvSpPr/>
              <p:nvPr/>
            </p:nvSpPr>
            <p:spPr bwMode="auto">
              <a:xfrm>
                <a:off x="2005126" y="2553459"/>
                <a:ext cx="12226" cy="17624"/>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8 w 12"/>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6">
                    <a:moveTo>
                      <a:pt x="8" y="6"/>
                    </a:moveTo>
                    <a:lnTo>
                      <a:pt x="12" y="10"/>
                    </a:lnTo>
                    <a:lnTo>
                      <a:pt x="12" y="14"/>
                    </a:lnTo>
                    <a:lnTo>
                      <a:pt x="10" y="16"/>
                    </a:lnTo>
                    <a:lnTo>
                      <a:pt x="4" y="4"/>
                    </a:lnTo>
                    <a:lnTo>
                      <a:pt x="4" y="2"/>
                    </a:lnTo>
                    <a:lnTo>
                      <a:pt x="2" y="2"/>
                    </a:lnTo>
                    <a:lnTo>
                      <a:pt x="0" y="0"/>
                    </a:lnTo>
                    <a:lnTo>
                      <a:pt x="2" y="0"/>
                    </a:lnTo>
                    <a:lnTo>
                      <a:pt x="4" y="2"/>
                    </a:lnTo>
                    <a:lnTo>
                      <a:pt x="6" y="6"/>
                    </a:lnTo>
                    <a:lnTo>
                      <a:pt x="8"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6" name="Freeform 866"/>
              <p:cNvSpPr/>
              <p:nvPr/>
            </p:nvSpPr>
            <p:spPr bwMode="auto">
              <a:xfrm>
                <a:off x="2005126" y="2553459"/>
                <a:ext cx="12226" cy="17624"/>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6">
                    <a:moveTo>
                      <a:pt x="8" y="6"/>
                    </a:moveTo>
                    <a:lnTo>
                      <a:pt x="12" y="10"/>
                    </a:lnTo>
                    <a:lnTo>
                      <a:pt x="12" y="14"/>
                    </a:lnTo>
                    <a:lnTo>
                      <a:pt x="10" y="16"/>
                    </a:lnTo>
                    <a:lnTo>
                      <a:pt x="4" y="4"/>
                    </a:lnTo>
                    <a:lnTo>
                      <a:pt x="4" y="2"/>
                    </a:lnTo>
                    <a:lnTo>
                      <a:pt x="2" y="2"/>
                    </a:lnTo>
                    <a:lnTo>
                      <a:pt x="0" y="0"/>
                    </a:lnTo>
                    <a:lnTo>
                      <a:pt x="2" y="0"/>
                    </a:lnTo>
                    <a:lnTo>
                      <a:pt x="4" y="2"/>
                    </a:lnTo>
                    <a:lnTo>
                      <a:pt x="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7" name="Freeform 867"/>
              <p:cNvSpPr/>
              <p:nvPr/>
            </p:nvSpPr>
            <p:spPr bwMode="auto">
              <a:xfrm>
                <a:off x="2021427" y="2582832"/>
                <a:ext cx="6112" cy="5875"/>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4" y="4"/>
                    </a:lnTo>
                    <a:lnTo>
                      <a:pt x="4" y="6"/>
                    </a:lnTo>
                    <a:lnTo>
                      <a:pt x="2" y="6"/>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8" name="Freeform 868"/>
              <p:cNvSpPr/>
              <p:nvPr/>
            </p:nvSpPr>
            <p:spPr bwMode="auto">
              <a:xfrm>
                <a:off x="2021427" y="2582832"/>
                <a:ext cx="6112" cy="5875"/>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4" y="4"/>
                    </a:lnTo>
                    <a:lnTo>
                      <a:pt x="4" y="6"/>
                    </a:lnTo>
                    <a:lnTo>
                      <a:pt x="2" y="6"/>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9" name="Freeform 869"/>
              <p:cNvSpPr/>
              <p:nvPr/>
            </p:nvSpPr>
            <p:spPr bwMode="auto">
              <a:xfrm>
                <a:off x="2037727" y="2635705"/>
                <a:ext cx="81503" cy="64621"/>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12 w 74"/>
                  <a:gd name="T83" fmla="*/ 10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lnTo>
                      <a:pt x="1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0" name="Freeform 870"/>
              <p:cNvSpPr/>
              <p:nvPr/>
            </p:nvSpPr>
            <p:spPr bwMode="auto">
              <a:xfrm>
                <a:off x="2037727" y="2635705"/>
                <a:ext cx="81503" cy="64621"/>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1" name="Freeform 871"/>
              <p:cNvSpPr/>
              <p:nvPr/>
            </p:nvSpPr>
            <p:spPr bwMode="auto">
              <a:xfrm>
                <a:off x="3095235" y="2659204"/>
                <a:ext cx="46865" cy="2154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10 w 4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2" name="Freeform 872"/>
              <p:cNvSpPr/>
              <p:nvPr/>
            </p:nvSpPr>
            <p:spPr bwMode="auto">
              <a:xfrm>
                <a:off x="3095235" y="2659204"/>
                <a:ext cx="46865" cy="2154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3" name="Freeform 873"/>
              <p:cNvSpPr/>
              <p:nvPr/>
            </p:nvSpPr>
            <p:spPr bwMode="auto">
              <a:xfrm>
                <a:off x="3229715" y="2729701"/>
                <a:ext cx="2038" cy="9791"/>
              </a:xfrm>
              <a:custGeom>
                <a:avLst/>
                <a:gdLst>
                  <a:gd name="T0" fmla="*/ 0 w 2"/>
                  <a:gd name="T1" fmla="*/ 0 h 8"/>
                  <a:gd name="T2" fmla="*/ 0 w 2"/>
                  <a:gd name="T3" fmla="*/ 8 h 8"/>
                  <a:gd name="T4" fmla="*/ 2 w 2"/>
                  <a:gd name="T5" fmla="*/ 6 h 8"/>
                  <a:gd name="T6" fmla="*/ 2 w 2"/>
                  <a:gd name="T7" fmla="*/ 2 h 8"/>
                  <a:gd name="T8" fmla="*/ 2 w 2"/>
                  <a:gd name="T9" fmla="*/ 0 h 8"/>
                  <a:gd name="T10" fmla="*/ 0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0" y="8"/>
                    </a:lnTo>
                    <a:lnTo>
                      <a:pt x="2" y="6"/>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4" name="Freeform 874"/>
              <p:cNvSpPr/>
              <p:nvPr/>
            </p:nvSpPr>
            <p:spPr bwMode="auto">
              <a:xfrm>
                <a:off x="3229715" y="2729701"/>
                <a:ext cx="2038" cy="9791"/>
              </a:xfrm>
              <a:custGeom>
                <a:avLst/>
                <a:gdLst>
                  <a:gd name="T0" fmla="*/ 0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0" y="0"/>
                    </a:moveTo>
                    <a:lnTo>
                      <a:pt x="0" y="8"/>
                    </a:lnTo>
                    <a:lnTo>
                      <a:pt x="2" y="6"/>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5" name="Freeform 875"/>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0" y="4"/>
                    </a:lnTo>
                    <a:lnTo>
                      <a:pt x="2"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6" name="Freeform 876"/>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7" name="Freeform 877"/>
              <p:cNvSpPr/>
              <p:nvPr/>
            </p:nvSpPr>
            <p:spPr bwMode="auto">
              <a:xfrm>
                <a:off x="3180813" y="2616123"/>
                <a:ext cx="110030" cy="127285"/>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lnTo>
                      <a:pt x="4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8" name="Freeform 878"/>
              <p:cNvSpPr/>
              <p:nvPr/>
            </p:nvSpPr>
            <p:spPr bwMode="auto">
              <a:xfrm>
                <a:off x="3180813" y="2616123"/>
                <a:ext cx="110030" cy="127285"/>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9" name="Freeform 879"/>
              <p:cNvSpPr/>
              <p:nvPr/>
            </p:nvSpPr>
            <p:spPr bwMode="auto">
              <a:xfrm>
                <a:off x="1919547" y="1975777"/>
                <a:ext cx="24451" cy="33291"/>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4 w 22"/>
                  <a:gd name="T81" fmla="*/ 16 h 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lnTo>
                      <a:pt x="4"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0" name="Freeform 880"/>
              <p:cNvSpPr/>
              <p:nvPr/>
            </p:nvSpPr>
            <p:spPr bwMode="auto">
              <a:xfrm>
                <a:off x="1919547" y="1975777"/>
                <a:ext cx="24451" cy="33291"/>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1" name="Freeform 881"/>
              <p:cNvSpPr/>
              <p:nvPr/>
            </p:nvSpPr>
            <p:spPr bwMode="auto">
              <a:xfrm>
                <a:off x="1909359" y="1999276"/>
                <a:ext cx="18339" cy="15666"/>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2 w 16"/>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2" name="Freeform 882"/>
              <p:cNvSpPr/>
              <p:nvPr/>
            </p:nvSpPr>
            <p:spPr bwMode="auto">
              <a:xfrm>
                <a:off x="1909359" y="1999276"/>
                <a:ext cx="18339" cy="15666"/>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3" name="Freeform 883"/>
              <p:cNvSpPr/>
              <p:nvPr/>
            </p:nvSpPr>
            <p:spPr bwMode="auto">
              <a:xfrm>
                <a:off x="2516560" y="1969903"/>
                <a:ext cx="71316" cy="64621"/>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lnTo>
                      <a:pt x="38"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4" name="Freeform 884"/>
              <p:cNvSpPr/>
              <p:nvPr/>
            </p:nvSpPr>
            <p:spPr bwMode="auto">
              <a:xfrm>
                <a:off x="2516560" y="1969903"/>
                <a:ext cx="71316" cy="64621"/>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5" name="Freeform 885"/>
              <p:cNvSpPr/>
              <p:nvPr/>
            </p:nvSpPr>
            <p:spPr bwMode="auto">
              <a:xfrm>
                <a:off x="2803860" y="2574999"/>
                <a:ext cx="22413" cy="11749"/>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2 w 20"/>
                  <a:gd name="T29" fmla="*/ 2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6" name="Freeform 886"/>
              <p:cNvSpPr/>
              <p:nvPr/>
            </p:nvSpPr>
            <p:spPr bwMode="auto">
              <a:xfrm>
                <a:off x="2803860" y="2574999"/>
                <a:ext cx="22413" cy="11749"/>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7" name="Freeform 887"/>
              <p:cNvSpPr/>
              <p:nvPr/>
            </p:nvSpPr>
            <p:spPr bwMode="auto">
              <a:xfrm>
                <a:off x="2074404" y="1709456"/>
                <a:ext cx="177269" cy="199741"/>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lnTo>
                      <a:pt x="26" y="31"/>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8" name="Freeform 888"/>
              <p:cNvSpPr/>
              <p:nvPr/>
            </p:nvSpPr>
            <p:spPr bwMode="auto">
              <a:xfrm>
                <a:off x="2074404" y="1709456"/>
                <a:ext cx="177269" cy="199741"/>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9" name="Freeform 889"/>
              <p:cNvSpPr/>
              <p:nvPr/>
            </p:nvSpPr>
            <p:spPr bwMode="auto">
              <a:xfrm>
                <a:off x="2190546" y="1781911"/>
                <a:ext cx="301563" cy="250655"/>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lnTo>
                      <a:pt x="62" y="19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0" name="Freeform 890"/>
              <p:cNvSpPr/>
              <p:nvPr/>
            </p:nvSpPr>
            <p:spPr bwMode="auto">
              <a:xfrm>
                <a:off x="2190546" y="1781911"/>
                <a:ext cx="301563" cy="250655"/>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1" name="Freeform 891"/>
              <p:cNvSpPr/>
              <p:nvPr/>
            </p:nvSpPr>
            <p:spPr bwMode="auto">
              <a:xfrm>
                <a:off x="2390229" y="1760370"/>
                <a:ext cx="40752" cy="48957"/>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32 w 38"/>
                  <a:gd name="T45" fmla="*/ 34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lnTo>
                      <a:pt x="32" y="3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2" name="Freeform 892"/>
              <p:cNvSpPr/>
              <p:nvPr/>
            </p:nvSpPr>
            <p:spPr bwMode="auto">
              <a:xfrm>
                <a:off x="2390229" y="1760370"/>
                <a:ext cx="40752" cy="48957"/>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3" name="Freeform 893"/>
              <p:cNvSpPr/>
              <p:nvPr/>
            </p:nvSpPr>
            <p:spPr bwMode="auto">
              <a:xfrm>
                <a:off x="2467658" y="1750579"/>
                <a:ext cx="99842" cy="148827"/>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36 w 90"/>
                  <a:gd name="T103" fmla="*/ 10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lnTo>
                      <a:pt x="36" y="10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4" name="Freeform 894"/>
              <p:cNvSpPr/>
              <p:nvPr/>
            </p:nvSpPr>
            <p:spPr bwMode="auto">
              <a:xfrm>
                <a:off x="2467658" y="1750579"/>
                <a:ext cx="99842" cy="148827"/>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5" name="Freeform 895"/>
              <p:cNvSpPr/>
              <p:nvPr/>
            </p:nvSpPr>
            <p:spPr bwMode="auto">
              <a:xfrm>
                <a:off x="2553236" y="1793661"/>
                <a:ext cx="10189" cy="17624"/>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8 w 8"/>
                  <a:gd name="T19" fmla="*/ 1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6">
                    <a:moveTo>
                      <a:pt x="8" y="10"/>
                    </a:moveTo>
                    <a:lnTo>
                      <a:pt x="8" y="8"/>
                    </a:lnTo>
                    <a:lnTo>
                      <a:pt x="8" y="4"/>
                    </a:lnTo>
                    <a:lnTo>
                      <a:pt x="4" y="0"/>
                    </a:lnTo>
                    <a:lnTo>
                      <a:pt x="0" y="6"/>
                    </a:lnTo>
                    <a:lnTo>
                      <a:pt x="2" y="16"/>
                    </a:lnTo>
                    <a:lnTo>
                      <a:pt x="6" y="14"/>
                    </a:lnTo>
                    <a:lnTo>
                      <a:pt x="6" y="12"/>
                    </a:lnTo>
                    <a:lnTo>
                      <a:pt x="6" y="10"/>
                    </a:lnTo>
                    <a:lnTo>
                      <a:pt x="8"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6" name="Freeform 896"/>
              <p:cNvSpPr/>
              <p:nvPr/>
            </p:nvSpPr>
            <p:spPr bwMode="auto">
              <a:xfrm>
                <a:off x="2553236" y="1793661"/>
                <a:ext cx="10189" cy="17624"/>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6">
                    <a:moveTo>
                      <a:pt x="8" y="10"/>
                    </a:moveTo>
                    <a:lnTo>
                      <a:pt x="8" y="8"/>
                    </a:lnTo>
                    <a:lnTo>
                      <a:pt x="8" y="4"/>
                    </a:lnTo>
                    <a:lnTo>
                      <a:pt x="4" y="0"/>
                    </a:lnTo>
                    <a:lnTo>
                      <a:pt x="0" y="6"/>
                    </a:lnTo>
                    <a:lnTo>
                      <a:pt x="2" y="16"/>
                    </a:lnTo>
                    <a:lnTo>
                      <a:pt x="6" y="14"/>
                    </a:lnTo>
                    <a:lnTo>
                      <a:pt x="6" y="12"/>
                    </a:lnTo>
                    <a:lnTo>
                      <a:pt x="6"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7" name="Freeform 897"/>
              <p:cNvSpPr/>
              <p:nvPr/>
            </p:nvSpPr>
            <p:spPr bwMode="auto">
              <a:xfrm>
                <a:off x="2516560" y="1738830"/>
                <a:ext cx="26489" cy="19582"/>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12 w 24"/>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lnTo>
                      <a:pt x="12"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8" name="Freeform 898"/>
              <p:cNvSpPr/>
              <p:nvPr/>
            </p:nvSpPr>
            <p:spPr bwMode="auto">
              <a:xfrm>
                <a:off x="2516560" y="1738830"/>
                <a:ext cx="26489" cy="19582"/>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9" name="Freeform 899"/>
              <p:cNvSpPr/>
              <p:nvPr/>
            </p:nvSpPr>
            <p:spPr bwMode="auto">
              <a:xfrm>
                <a:off x="2553236" y="1635042"/>
                <a:ext cx="20376" cy="19582"/>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12 w 18"/>
                  <a:gd name="T43" fmla="*/ 4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lnTo>
                      <a:pt x="1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0" name="Freeform 900"/>
              <p:cNvSpPr/>
              <p:nvPr/>
            </p:nvSpPr>
            <p:spPr bwMode="auto">
              <a:xfrm>
                <a:off x="2553236" y="1635042"/>
                <a:ext cx="20376" cy="19582"/>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1" name="Freeform 901"/>
              <p:cNvSpPr/>
              <p:nvPr/>
            </p:nvSpPr>
            <p:spPr bwMode="auto">
              <a:xfrm>
                <a:off x="2461546" y="1564546"/>
                <a:ext cx="87616" cy="117495"/>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76 w 80"/>
                  <a:gd name="T119" fmla="*/ 44 h 1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lnTo>
                      <a:pt x="76" y="4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2" name="Freeform 902"/>
              <p:cNvSpPr/>
              <p:nvPr/>
            </p:nvSpPr>
            <p:spPr bwMode="auto">
              <a:xfrm>
                <a:off x="2461546" y="1564546"/>
                <a:ext cx="87616" cy="117495"/>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3" name="Freeform 903"/>
              <p:cNvSpPr/>
              <p:nvPr/>
            </p:nvSpPr>
            <p:spPr bwMode="auto">
              <a:xfrm>
                <a:off x="2463583" y="1468592"/>
                <a:ext cx="28526" cy="15666"/>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10 w 26"/>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lnTo>
                      <a:pt x="1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4" name="Freeform 904"/>
              <p:cNvSpPr/>
              <p:nvPr/>
            </p:nvSpPr>
            <p:spPr bwMode="auto">
              <a:xfrm>
                <a:off x="2463583" y="1468592"/>
                <a:ext cx="28526" cy="15666"/>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5" name="Freeform 905"/>
              <p:cNvSpPr/>
              <p:nvPr/>
            </p:nvSpPr>
            <p:spPr bwMode="auto">
              <a:xfrm>
                <a:off x="2408568" y="1484258"/>
                <a:ext cx="28526" cy="48955"/>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14 w 26"/>
                  <a:gd name="T51" fmla="*/ 14 h 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lnTo>
                      <a:pt x="14"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6" name="Freeform 906"/>
              <p:cNvSpPr/>
              <p:nvPr/>
            </p:nvSpPr>
            <p:spPr bwMode="auto">
              <a:xfrm>
                <a:off x="2408568" y="1484258"/>
                <a:ext cx="28526" cy="48955"/>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7" name="Freeform 907"/>
              <p:cNvSpPr/>
              <p:nvPr/>
            </p:nvSpPr>
            <p:spPr bwMode="auto">
              <a:xfrm>
                <a:off x="2428944" y="1568462"/>
                <a:ext cx="26488" cy="23499"/>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10 w 24"/>
                  <a:gd name="T45" fmla="*/ 4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lnTo>
                      <a:pt x="1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8" name="Freeform 908"/>
              <p:cNvSpPr/>
              <p:nvPr/>
            </p:nvSpPr>
            <p:spPr bwMode="auto">
              <a:xfrm>
                <a:off x="2428944" y="1568462"/>
                <a:ext cx="26488" cy="23499"/>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9" name="Freeform 909"/>
              <p:cNvSpPr/>
              <p:nvPr/>
            </p:nvSpPr>
            <p:spPr bwMode="auto">
              <a:xfrm>
                <a:off x="2430981" y="1591961"/>
                <a:ext cx="34640" cy="17625"/>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22 w 30"/>
                  <a:gd name="T37" fmla="*/ 0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lnTo>
                      <a:pt x="2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0" name="Freeform 911"/>
              <p:cNvSpPr/>
              <p:nvPr/>
            </p:nvSpPr>
            <p:spPr bwMode="auto">
              <a:xfrm>
                <a:off x="2430981" y="1591961"/>
                <a:ext cx="34640" cy="17625"/>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1" name="Freeform 912"/>
              <p:cNvSpPr/>
              <p:nvPr/>
            </p:nvSpPr>
            <p:spPr bwMode="auto">
              <a:xfrm>
                <a:off x="2441170" y="1607627"/>
                <a:ext cx="26488" cy="13708"/>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14 w 24"/>
                  <a:gd name="T17" fmla="*/ 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2">
                    <a:moveTo>
                      <a:pt x="14" y="2"/>
                    </a:moveTo>
                    <a:lnTo>
                      <a:pt x="20" y="0"/>
                    </a:lnTo>
                    <a:lnTo>
                      <a:pt x="24" y="2"/>
                    </a:lnTo>
                    <a:lnTo>
                      <a:pt x="24" y="4"/>
                    </a:lnTo>
                    <a:lnTo>
                      <a:pt x="22" y="6"/>
                    </a:lnTo>
                    <a:lnTo>
                      <a:pt x="0" y="12"/>
                    </a:lnTo>
                    <a:lnTo>
                      <a:pt x="0" y="10"/>
                    </a:lnTo>
                    <a:lnTo>
                      <a:pt x="12" y="2"/>
                    </a:lnTo>
                    <a:lnTo>
                      <a:pt x="1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2" name="Freeform 913"/>
              <p:cNvSpPr/>
              <p:nvPr/>
            </p:nvSpPr>
            <p:spPr bwMode="auto">
              <a:xfrm>
                <a:off x="2441170" y="1607627"/>
                <a:ext cx="26488" cy="13708"/>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12">
                    <a:moveTo>
                      <a:pt x="14" y="2"/>
                    </a:moveTo>
                    <a:lnTo>
                      <a:pt x="20" y="0"/>
                    </a:lnTo>
                    <a:lnTo>
                      <a:pt x="24" y="2"/>
                    </a:lnTo>
                    <a:lnTo>
                      <a:pt x="24" y="4"/>
                    </a:lnTo>
                    <a:lnTo>
                      <a:pt x="22" y="6"/>
                    </a:lnTo>
                    <a:lnTo>
                      <a:pt x="0" y="12"/>
                    </a:lnTo>
                    <a:lnTo>
                      <a:pt x="0" y="10"/>
                    </a:lnTo>
                    <a:lnTo>
                      <a:pt x="1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3" name="Freeform 914"/>
              <p:cNvSpPr/>
              <p:nvPr/>
            </p:nvSpPr>
            <p:spPr bwMode="auto">
              <a:xfrm>
                <a:off x="2449320" y="1615460"/>
                <a:ext cx="22413" cy="17625"/>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6 w 20"/>
                  <a:gd name="T27" fmla="*/ 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lnTo>
                      <a:pt x="6"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4" name="Freeform 915"/>
              <p:cNvSpPr/>
              <p:nvPr/>
            </p:nvSpPr>
            <p:spPr bwMode="auto">
              <a:xfrm>
                <a:off x="2449320" y="1615460"/>
                <a:ext cx="22413" cy="17625"/>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5" name="Freeform 916"/>
              <p:cNvSpPr/>
              <p:nvPr/>
            </p:nvSpPr>
            <p:spPr bwMode="auto">
              <a:xfrm>
                <a:off x="2424869" y="1652667"/>
                <a:ext cx="22413" cy="27415"/>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12 w 20"/>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lnTo>
                      <a:pt x="1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6" name="Freeform 917"/>
              <p:cNvSpPr/>
              <p:nvPr/>
            </p:nvSpPr>
            <p:spPr bwMode="auto">
              <a:xfrm>
                <a:off x="2424869" y="1652667"/>
                <a:ext cx="22413" cy="27415"/>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7" name="Freeform 918"/>
              <p:cNvSpPr/>
              <p:nvPr/>
            </p:nvSpPr>
            <p:spPr bwMode="auto">
              <a:xfrm>
                <a:off x="2212960" y="1554755"/>
                <a:ext cx="203759" cy="162534"/>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lnTo>
                      <a:pt x="116" y="2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8" name="Freeform 919"/>
              <p:cNvSpPr/>
              <p:nvPr/>
            </p:nvSpPr>
            <p:spPr bwMode="auto">
              <a:xfrm>
                <a:off x="2212960" y="1554755"/>
                <a:ext cx="203759" cy="162534"/>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9" name="Freeform 920"/>
              <p:cNvSpPr/>
              <p:nvPr/>
            </p:nvSpPr>
            <p:spPr bwMode="auto">
              <a:xfrm>
                <a:off x="2186471" y="1605669"/>
                <a:ext cx="28526" cy="43081"/>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20 w 26"/>
                  <a:gd name="T41" fmla="*/ 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lnTo>
                      <a:pt x="2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0" name="Freeform 921"/>
              <p:cNvSpPr/>
              <p:nvPr/>
            </p:nvSpPr>
            <p:spPr bwMode="auto">
              <a:xfrm>
                <a:off x="2186471" y="1605669"/>
                <a:ext cx="28526" cy="43081"/>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1" name="Freeform 922"/>
              <p:cNvSpPr/>
              <p:nvPr/>
            </p:nvSpPr>
            <p:spPr bwMode="auto">
              <a:xfrm>
                <a:off x="2125343" y="1501882"/>
                <a:ext cx="122255" cy="127286"/>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lnTo>
                      <a:pt x="42" y="3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2" name="Freeform 923"/>
              <p:cNvSpPr/>
              <p:nvPr/>
            </p:nvSpPr>
            <p:spPr bwMode="auto">
              <a:xfrm>
                <a:off x="2125343" y="1501882"/>
                <a:ext cx="122255" cy="127286"/>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3" name="Freeform 924"/>
              <p:cNvSpPr/>
              <p:nvPr/>
            </p:nvSpPr>
            <p:spPr bwMode="auto">
              <a:xfrm>
                <a:off x="2259824" y="1552796"/>
                <a:ext cx="22414" cy="9792"/>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12 w 2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0">
                    <a:moveTo>
                      <a:pt x="12" y="0"/>
                    </a:moveTo>
                    <a:lnTo>
                      <a:pt x="14" y="0"/>
                    </a:lnTo>
                    <a:lnTo>
                      <a:pt x="20" y="4"/>
                    </a:lnTo>
                    <a:lnTo>
                      <a:pt x="18" y="10"/>
                    </a:lnTo>
                    <a:lnTo>
                      <a:pt x="12" y="10"/>
                    </a:lnTo>
                    <a:lnTo>
                      <a:pt x="2" y="8"/>
                    </a:lnTo>
                    <a:lnTo>
                      <a:pt x="0" y="4"/>
                    </a:lnTo>
                    <a:lnTo>
                      <a:pt x="0" y="2"/>
                    </a:lnTo>
                    <a:lnTo>
                      <a:pt x="10" y="0"/>
                    </a:lnTo>
                    <a:lnTo>
                      <a:pt x="1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4" name="Freeform 925"/>
              <p:cNvSpPr/>
              <p:nvPr/>
            </p:nvSpPr>
            <p:spPr bwMode="auto">
              <a:xfrm>
                <a:off x="2259824" y="1552796"/>
                <a:ext cx="22414" cy="9792"/>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0">
                    <a:moveTo>
                      <a:pt x="12" y="0"/>
                    </a:moveTo>
                    <a:lnTo>
                      <a:pt x="14" y="0"/>
                    </a:lnTo>
                    <a:lnTo>
                      <a:pt x="20" y="4"/>
                    </a:lnTo>
                    <a:lnTo>
                      <a:pt x="18" y="10"/>
                    </a:lnTo>
                    <a:lnTo>
                      <a:pt x="12" y="10"/>
                    </a:lnTo>
                    <a:lnTo>
                      <a:pt x="2" y="8"/>
                    </a:lnTo>
                    <a:lnTo>
                      <a:pt x="0" y="4"/>
                    </a:lnTo>
                    <a:lnTo>
                      <a:pt x="0" y="2"/>
                    </a:lnTo>
                    <a:lnTo>
                      <a:pt x="1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5" name="Freeform 926"/>
              <p:cNvSpPr/>
              <p:nvPr/>
            </p:nvSpPr>
            <p:spPr bwMode="auto">
              <a:xfrm>
                <a:off x="2284275" y="1456843"/>
                <a:ext cx="59091" cy="58747"/>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20 w 54"/>
                  <a:gd name="T109" fmla="*/ 4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lnTo>
                      <a:pt x="2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6" name="Freeform 927"/>
              <p:cNvSpPr/>
              <p:nvPr/>
            </p:nvSpPr>
            <p:spPr bwMode="auto">
              <a:xfrm>
                <a:off x="2284275" y="1456843"/>
                <a:ext cx="59091" cy="58747"/>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7" name="Freeform 928"/>
              <p:cNvSpPr/>
              <p:nvPr/>
            </p:nvSpPr>
            <p:spPr bwMode="auto">
              <a:xfrm>
                <a:off x="2255749" y="1462717"/>
                <a:ext cx="22414" cy="25458"/>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2 w 22"/>
                  <a:gd name="T39" fmla="*/ 8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lnTo>
                      <a:pt x="2"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8" name="Freeform 929"/>
              <p:cNvSpPr/>
              <p:nvPr/>
            </p:nvSpPr>
            <p:spPr bwMode="auto">
              <a:xfrm>
                <a:off x="2255749" y="1462717"/>
                <a:ext cx="22414" cy="25458"/>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9" name="Freeform 930"/>
              <p:cNvSpPr/>
              <p:nvPr/>
            </p:nvSpPr>
            <p:spPr bwMode="auto">
              <a:xfrm>
                <a:off x="2284275" y="1403970"/>
                <a:ext cx="63166" cy="3916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50 w 58"/>
                  <a:gd name="T105" fmla="*/ 8 h 3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lnTo>
                      <a:pt x="5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0" name="Freeform 931"/>
              <p:cNvSpPr/>
              <p:nvPr/>
            </p:nvSpPr>
            <p:spPr bwMode="auto">
              <a:xfrm>
                <a:off x="2284275" y="1403970"/>
                <a:ext cx="63166" cy="3916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1" name="Freeform 932"/>
              <p:cNvSpPr/>
              <p:nvPr/>
            </p:nvSpPr>
            <p:spPr bwMode="auto">
              <a:xfrm>
                <a:off x="2569537" y="1482299"/>
                <a:ext cx="50940" cy="31332"/>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18 w 46"/>
                  <a:gd name="T89" fmla="*/ 4 h 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lnTo>
                      <a:pt x="18"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2" name="Freeform 933"/>
              <p:cNvSpPr/>
              <p:nvPr/>
            </p:nvSpPr>
            <p:spPr bwMode="auto">
              <a:xfrm>
                <a:off x="2569537" y="1482299"/>
                <a:ext cx="50940" cy="31332"/>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3" name="Freeform 934"/>
              <p:cNvSpPr/>
              <p:nvPr/>
            </p:nvSpPr>
            <p:spPr bwMode="auto">
              <a:xfrm>
                <a:off x="2555275" y="1537130"/>
                <a:ext cx="289337" cy="180158"/>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lnTo>
                      <a:pt x="3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4" name="Freeform 935"/>
              <p:cNvSpPr/>
              <p:nvPr/>
            </p:nvSpPr>
            <p:spPr bwMode="auto">
              <a:xfrm>
                <a:off x="2555275" y="1537130"/>
                <a:ext cx="289337" cy="180158"/>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5" name="Freeform 936"/>
              <p:cNvSpPr/>
              <p:nvPr/>
            </p:nvSpPr>
            <p:spPr bwMode="auto">
              <a:xfrm>
                <a:off x="2838499" y="1607627"/>
                <a:ext cx="16301" cy="25458"/>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10 w 14"/>
                  <a:gd name="T33" fmla="*/ 4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lnTo>
                      <a:pt x="1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6" name="Freeform 937"/>
              <p:cNvSpPr/>
              <p:nvPr/>
            </p:nvSpPr>
            <p:spPr bwMode="auto">
              <a:xfrm>
                <a:off x="2838499" y="1607627"/>
                <a:ext cx="16301" cy="25458"/>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7" name="Freeform 938"/>
              <p:cNvSpPr/>
              <p:nvPr/>
            </p:nvSpPr>
            <p:spPr bwMode="auto">
              <a:xfrm>
                <a:off x="2830348" y="1680083"/>
                <a:ext cx="18339" cy="15666"/>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12 w 16"/>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lnTo>
                      <a:pt x="1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8" name="Freeform 939"/>
              <p:cNvSpPr/>
              <p:nvPr/>
            </p:nvSpPr>
            <p:spPr bwMode="auto">
              <a:xfrm>
                <a:off x="2830348" y="1680083"/>
                <a:ext cx="18339" cy="15666"/>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9" name="Freeform 940"/>
              <p:cNvSpPr/>
              <p:nvPr/>
            </p:nvSpPr>
            <p:spPr bwMode="auto">
              <a:xfrm>
                <a:off x="2565462" y="1637001"/>
                <a:ext cx="48902" cy="70497"/>
              </a:xfrm>
              <a:custGeom>
                <a:avLst/>
                <a:gdLst>
                  <a:gd name="T0" fmla="*/ 22 w 44"/>
                  <a:gd name="T1" fmla="*/ 2 h 62"/>
                  <a:gd name="T2" fmla="*/ 28 w 44"/>
                  <a:gd name="T3" fmla="*/ 6 h 62"/>
                  <a:gd name="T4" fmla="*/ 30 w 44"/>
                  <a:gd name="T5" fmla="*/ 8 h 62"/>
                  <a:gd name="T6" fmla="*/ 34 w 44"/>
                  <a:gd name="T7" fmla="*/ 10 h 62"/>
                  <a:gd name="T8" fmla="*/ 34 w 44"/>
                  <a:gd name="T9" fmla="*/ 12 h 62"/>
                  <a:gd name="T10" fmla="*/ 36 w 44"/>
                  <a:gd name="T11" fmla="*/ 16 h 62"/>
                  <a:gd name="T12" fmla="*/ 36 w 44"/>
                  <a:gd name="T13" fmla="*/ 20 h 62"/>
                  <a:gd name="T14" fmla="*/ 38 w 44"/>
                  <a:gd name="T15" fmla="*/ 16 h 62"/>
                  <a:gd name="T16" fmla="*/ 40 w 44"/>
                  <a:gd name="T17" fmla="*/ 20 h 62"/>
                  <a:gd name="T18" fmla="*/ 40 w 44"/>
                  <a:gd name="T19" fmla="*/ 22 h 62"/>
                  <a:gd name="T20" fmla="*/ 44 w 44"/>
                  <a:gd name="T21" fmla="*/ 26 h 62"/>
                  <a:gd name="T22" fmla="*/ 42 w 44"/>
                  <a:gd name="T23" fmla="*/ 30 h 62"/>
                  <a:gd name="T24" fmla="*/ 44 w 44"/>
                  <a:gd name="T25" fmla="*/ 56 h 62"/>
                  <a:gd name="T26" fmla="*/ 42 w 44"/>
                  <a:gd name="T27" fmla="*/ 58 h 62"/>
                  <a:gd name="T28" fmla="*/ 40 w 44"/>
                  <a:gd name="T29" fmla="*/ 60 h 62"/>
                  <a:gd name="T30" fmla="*/ 36 w 44"/>
                  <a:gd name="T31" fmla="*/ 60 h 62"/>
                  <a:gd name="T32" fmla="*/ 34 w 44"/>
                  <a:gd name="T33" fmla="*/ 62 h 62"/>
                  <a:gd name="T34" fmla="*/ 30 w 44"/>
                  <a:gd name="T35" fmla="*/ 60 h 62"/>
                  <a:gd name="T36" fmla="*/ 26 w 44"/>
                  <a:gd name="T37" fmla="*/ 62 h 62"/>
                  <a:gd name="T38" fmla="*/ 24 w 44"/>
                  <a:gd name="T39" fmla="*/ 60 h 62"/>
                  <a:gd name="T40" fmla="*/ 24 w 44"/>
                  <a:gd name="T41" fmla="*/ 58 h 62"/>
                  <a:gd name="T42" fmla="*/ 20 w 44"/>
                  <a:gd name="T43" fmla="*/ 56 h 62"/>
                  <a:gd name="T44" fmla="*/ 20 w 44"/>
                  <a:gd name="T45" fmla="*/ 54 h 62"/>
                  <a:gd name="T46" fmla="*/ 18 w 44"/>
                  <a:gd name="T47" fmla="*/ 50 h 62"/>
                  <a:gd name="T48" fmla="*/ 16 w 44"/>
                  <a:gd name="T49" fmla="*/ 50 h 62"/>
                  <a:gd name="T50" fmla="*/ 16 w 44"/>
                  <a:gd name="T51" fmla="*/ 52 h 62"/>
                  <a:gd name="T52" fmla="*/ 16 w 44"/>
                  <a:gd name="T53" fmla="*/ 54 h 62"/>
                  <a:gd name="T54" fmla="*/ 14 w 44"/>
                  <a:gd name="T55" fmla="*/ 52 h 62"/>
                  <a:gd name="T56" fmla="*/ 14 w 44"/>
                  <a:gd name="T57" fmla="*/ 48 h 62"/>
                  <a:gd name="T58" fmla="*/ 12 w 44"/>
                  <a:gd name="T59" fmla="*/ 48 h 62"/>
                  <a:gd name="T60" fmla="*/ 10 w 44"/>
                  <a:gd name="T61" fmla="*/ 50 h 62"/>
                  <a:gd name="T62" fmla="*/ 10 w 44"/>
                  <a:gd name="T63" fmla="*/ 48 h 62"/>
                  <a:gd name="T64" fmla="*/ 6 w 44"/>
                  <a:gd name="T65" fmla="*/ 42 h 62"/>
                  <a:gd name="T66" fmla="*/ 6 w 44"/>
                  <a:gd name="T67" fmla="*/ 40 h 62"/>
                  <a:gd name="T68" fmla="*/ 8 w 44"/>
                  <a:gd name="T69" fmla="*/ 38 h 62"/>
                  <a:gd name="T70" fmla="*/ 6 w 44"/>
                  <a:gd name="T71" fmla="*/ 40 h 62"/>
                  <a:gd name="T72" fmla="*/ 6 w 44"/>
                  <a:gd name="T73" fmla="*/ 36 h 62"/>
                  <a:gd name="T74" fmla="*/ 4 w 44"/>
                  <a:gd name="T75" fmla="*/ 42 h 62"/>
                  <a:gd name="T76" fmla="*/ 2 w 44"/>
                  <a:gd name="T77" fmla="*/ 40 h 62"/>
                  <a:gd name="T78" fmla="*/ 2 w 44"/>
                  <a:gd name="T79" fmla="*/ 38 h 62"/>
                  <a:gd name="T80" fmla="*/ 0 w 44"/>
                  <a:gd name="T81" fmla="*/ 30 h 62"/>
                  <a:gd name="T82" fmla="*/ 0 w 44"/>
                  <a:gd name="T83" fmla="*/ 28 h 62"/>
                  <a:gd name="T84" fmla="*/ 2 w 44"/>
                  <a:gd name="T85" fmla="*/ 28 h 62"/>
                  <a:gd name="T86" fmla="*/ 2 w 44"/>
                  <a:gd name="T87" fmla="*/ 26 h 62"/>
                  <a:gd name="T88" fmla="*/ 2 w 44"/>
                  <a:gd name="T89" fmla="*/ 24 h 62"/>
                  <a:gd name="T90" fmla="*/ 10 w 44"/>
                  <a:gd name="T91" fmla="*/ 20 h 62"/>
                  <a:gd name="T92" fmla="*/ 6 w 44"/>
                  <a:gd name="T93" fmla="*/ 20 h 62"/>
                  <a:gd name="T94" fmla="*/ 6 w 44"/>
                  <a:gd name="T95" fmla="*/ 18 h 62"/>
                  <a:gd name="T96" fmla="*/ 8 w 44"/>
                  <a:gd name="T97" fmla="*/ 14 h 62"/>
                  <a:gd name="T98" fmla="*/ 8 w 44"/>
                  <a:gd name="T99" fmla="*/ 16 h 62"/>
                  <a:gd name="T100" fmla="*/ 10 w 44"/>
                  <a:gd name="T101" fmla="*/ 16 h 62"/>
                  <a:gd name="T102" fmla="*/ 10 w 44"/>
                  <a:gd name="T103" fmla="*/ 14 h 62"/>
                  <a:gd name="T104" fmla="*/ 8 w 44"/>
                  <a:gd name="T105" fmla="*/ 14 h 62"/>
                  <a:gd name="T106" fmla="*/ 6 w 44"/>
                  <a:gd name="T107" fmla="*/ 16 h 62"/>
                  <a:gd name="T108" fmla="*/ 6 w 44"/>
                  <a:gd name="T109" fmla="*/ 14 h 62"/>
                  <a:gd name="T110" fmla="*/ 8 w 44"/>
                  <a:gd name="T111" fmla="*/ 12 h 62"/>
                  <a:gd name="T112" fmla="*/ 12 w 44"/>
                  <a:gd name="T113" fmla="*/ 12 h 62"/>
                  <a:gd name="T114" fmla="*/ 10 w 44"/>
                  <a:gd name="T115" fmla="*/ 8 h 62"/>
                  <a:gd name="T116" fmla="*/ 18 w 44"/>
                  <a:gd name="T117" fmla="*/ 0 h 62"/>
                  <a:gd name="T118" fmla="*/ 20 w 44"/>
                  <a:gd name="T119" fmla="*/ 0 h 62"/>
                  <a:gd name="T120" fmla="*/ 20 w 44"/>
                  <a:gd name="T121" fmla="*/ 2 h 62"/>
                  <a:gd name="T122" fmla="*/ 22 w 44"/>
                  <a:gd name="T123" fmla="*/ 2 h 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4" h="62">
                    <a:moveTo>
                      <a:pt x="22" y="2"/>
                    </a:move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lnTo>
                      <a:pt x="2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0" name="Freeform 941"/>
              <p:cNvSpPr/>
              <p:nvPr/>
            </p:nvSpPr>
            <p:spPr bwMode="auto">
              <a:xfrm>
                <a:off x="2565462" y="1637001"/>
                <a:ext cx="48902" cy="70497"/>
              </a:xfrm>
              <a:custGeom>
                <a:avLst/>
                <a:gdLst>
                  <a:gd name="T0" fmla="*/ 22 w 44"/>
                  <a:gd name="T1" fmla="*/ 2 h 62"/>
                  <a:gd name="T2" fmla="*/ 22 w 44"/>
                  <a:gd name="T3" fmla="*/ 0 h 62"/>
                  <a:gd name="T4" fmla="*/ 22 w 44"/>
                  <a:gd name="T5" fmla="*/ 0 h 62"/>
                  <a:gd name="T6" fmla="*/ 28 w 44"/>
                  <a:gd name="T7" fmla="*/ 6 h 62"/>
                  <a:gd name="T8" fmla="*/ 30 w 44"/>
                  <a:gd name="T9" fmla="*/ 8 h 62"/>
                  <a:gd name="T10" fmla="*/ 34 w 44"/>
                  <a:gd name="T11" fmla="*/ 10 h 62"/>
                  <a:gd name="T12" fmla="*/ 34 w 44"/>
                  <a:gd name="T13" fmla="*/ 12 h 62"/>
                  <a:gd name="T14" fmla="*/ 36 w 44"/>
                  <a:gd name="T15" fmla="*/ 16 h 62"/>
                  <a:gd name="T16" fmla="*/ 36 w 44"/>
                  <a:gd name="T17" fmla="*/ 20 h 62"/>
                  <a:gd name="T18" fmla="*/ 38 w 44"/>
                  <a:gd name="T19" fmla="*/ 16 h 62"/>
                  <a:gd name="T20" fmla="*/ 40 w 44"/>
                  <a:gd name="T21" fmla="*/ 20 h 62"/>
                  <a:gd name="T22" fmla="*/ 40 w 44"/>
                  <a:gd name="T23" fmla="*/ 22 h 62"/>
                  <a:gd name="T24" fmla="*/ 44 w 44"/>
                  <a:gd name="T25" fmla="*/ 26 h 62"/>
                  <a:gd name="T26" fmla="*/ 42 w 44"/>
                  <a:gd name="T27" fmla="*/ 30 h 62"/>
                  <a:gd name="T28" fmla="*/ 44 w 44"/>
                  <a:gd name="T29" fmla="*/ 56 h 62"/>
                  <a:gd name="T30" fmla="*/ 42 w 44"/>
                  <a:gd name="T31" fmla="*/ 58 h 62"/>
                  <a:gd name="T32" fmla="*/ 40 w 44"/>
                  <a:gd name="T33" fmla="*/ 60 h 62"/>
                  <a:gd name="T34" fmla="*/ 36 w 44"/>
                  <a:gd name="T35" fmla="*/ 60 h 62"/>
                  <a:gd name="T36" fmla="*/ 34 w 44"/>
                  <a:gd name="T37" fmla="*/ 62 h 62"/>
                  <a:gd name="T38" fmla="*/ 30 w 44"/>
                  <a:gd name="T39" fmla="*/ 60 h 62"/>
                  <a:gd name="T40" fmla="*/ 26 w 44"/>
                  <a:gd name="T41" fmla="*/ 62 h 62"/>
                  <a:gd name="T42" fmla="*/ 24 w 44"/>
                  <a:gd name="T43" fmla="*/ 60 h 62"/>
                  <a:gd name="T44" fmla="*/ 24 w 44"/>
                  <a:gd name="T45" fmla="*/ 58 h 62"/>
                  <a:gd name="T46" fmla="*/ 20 w 44"/>
                  <a:gd name="T47" fmla="*/ 56 h 62"/>
                  <a:gd name="T48" fmla="*/ 20 w 44"/>
                  <a:gd name="T49" fmla="*/ 54 h 62"/>
                  <a:gd name="T50" fmla="*/ 18 w 44"/>
                  <a:gd name="T51" fmla="*/ 50 h 62"/>
                  <a:gd name="T52" fmla="*/ 16 w 44"/>
                  <a:gd name="T53" fmla="*/ 50 h 62"/>
                  <a:gd name="T54" fmla="*/ 16 w 44"/>
                  <a:gd name="T55" fmla="*/ 52 h 62"/>
                  <a:gd name="T56" fmla="*/ 16 w 44"/>
                  <a:gd name="T57" fmla="*/ 54 h 62"/>
                  <a:gd name="T58" fmla="*/ 14 w 44"/>
                  <a:gd name="T59" fmla="*/ 52 h 62"/>
                  <a:gd name="T60" fmla="*/ 14 w 44"/>
                  <a:gd name="T61" fmla="*/ 48 h 62"/>
                  <a:gd name="T62" fmla="*/ 12 w 44"/>
                  <a:gd name="T63" fmla="*/ 48 h 62"/>
                  <a:gd name="T64" fmla="*/ 10 w 44"/>
                  <a:gd name="T65" fmla="*/ 50 h 62"/>
                  <a:gd name="T66" fmla="*/ 10 w 44"/>
                  <a:gd name="T67" fmla="*/ 48 h 62"/>
                  <a:gd name="T68" fmla="*/ 6 w 44"/>
                  <a:gd name="T69" fmla="*/ 42 h 62"/>
                  <a:gd name="T70" fmla="*/ 6 w 44"/>
                  <a:gd name="T71" fmla="*/ 40 h 62"/>
                  <a:gd name="T72" fmla="*/ 8 w 44"/>
                  <a:gd name="T73" fmla="*/ 38 h 62"/>
                  <a:gd name="T74" fmla="*/ 6 w 44"/>
                  <a:gd name="T75" fmla="*/ 40 h 62"/>
                  <a:gd name="T76" fmla="*/ 6 w 44"/>
                  <a:gd name="T77" fmla="*/ 36 h 62"/>
                  <a:gd name="T78" fmla="*/ 4 w 44"/>
                  <a:gd name="T79" fmla="*/ 42 h 62"/>
                  <a:gd name="T80" fmla="*/ 2 w 44"/>
                  <a:gd name="T81" fmla="*/ 40 h 62"/>
                  <a:gd name="T82" fmla="*/ 2 w 44"/>
                  <a:gd name="T83" fmla="*/ 38 h 62"/>
                  <a:gd name="T84" fmla="*/ 0 w 44"/>
                  <a:gd name="T85" fmla="*/ 30 h 62"/>
                  <a:gd name="T86" fmla="*/ 0 w 44"/>
                  <a:gd name="T87" fmla="*/ 28 h 62"/>
                  <a:gd name="T88" fmla="*/ 2 w 44"/>
                  <a:gd name="T89" fmla="*/ 28 h 62"/>
                  <a:gd name="T90" fmla="*/ 2 w 44"/>
                  <a:gd name="T91" fmla="*/ 26 h 62"/>
                  <a:gd name="T92" fmla="*/ 2 w 44"/>
                  <a:gd name="T93" fmla="*/ 24 h 62"/>
                  <a:gd name="T94" fmla="*/ 10 w 44"/>
                  <a:gd name="T95" fmla="*/ 20 h 62"/>
                  <a:gd name="T96" fmla="*/ 6 w 44"/>
                  <a:gd name="T97" fmla="*/ 20 h 62"/>
                  <a:gd name="T98" fmla="*/ 6 w 44"/>
                  <a:gd name="T99" fmla="*/ 18 h 62"/>
                  <a:gd name="T100" fmla="*/ 8 w 44"/>
                  <a:gd name="T101" fmla="*/ 14 h 62"/>
                  <a:gd name="T102" fmla="*/ 8 w 44"/>
                  <a:gd name="T103" fmla="*/ 16 h 62"/>
                  <a:gd name="T104" fmla="*/ 10 w 44"/>
                  <a:gd name="T105" fmla="*/ 16 h 62"/>
                  <a:gd name="T106" fmla="*/ 10 w 44"/>
                  <a:gd name="T107" fmla="*/ 14 h 62"/>
                  <a:gd name="T108" fmla="*/ 8 w 44"/>
                  <a:gd name="T109" fmla="*/ 14 h 62"/>
                  <a:gd name="T110" fmla="*/ 6 w 44"/>
                  <a:gd name="T111" fmla="*/ 16 h 62"/>
                  <a:gd name="T112" fmla="*/ 6 w 44"/>
                  <a:gd name="T113" fmla="*/ 14 h 62"/>
                  <a:gd name="T114" fmla="*/ 8 w 44"/>
                  <a:gd name="T115" fmla="*/ 12 h 62"/>
                  <a:gd name="T116" fmla="*/ 12 w 44"/>
                  <a:gd name="T117" fmla="*/ 12 h 62"/>
                  <a:gd name="T118" fmla="*/ 10 w 44"/>
                  <a:gd name="T119" fmla="*/ 8 h 62"/>
                  <a:gd name="T120" fmla="*/ 18 w 44"/>
                  <a:gd name="T121" fmla="*/ 0 h 62"/>
                  <a:gd name="T122" fmla="*/ 20 w 44"/>
                  <a:gd name="T123" fmla="*/ 0 h 62"/>
                  <a:gd name="T124" fmla="*/ 20 w 44"/>
                  <a:gd name="T125" fmla="*/ 2 h 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 h="62">
                    <a:moveTo>
                      <a:pt x="22" y="2"/>
                    </a:moveTo>
                    <a:lnTo>
                      <a:pt x="22" y="0"/>
                    </a:ln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1" name="Freeform 942"/>
              <p:cNvSpPr/>
              <p:nvPr/>
            </p:nvSpPr>
            <p:spPr bwMode="auto">
              <a:xfrm>
                <a:off x="2720318" y="2146145"/>
                <a:ext cx="114105" cy="107703"/>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lnTo>
                      <a:pt x="2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2" name="Freeform 943"/>
              <p:cNvSpPr/>
              <p:nvPr/>
            </p:nvSpPr>
            <p:spPr bwMode="auto">
              <a:xfrm>
                <a:off x="2720318" y="2146145"/>
                <a:ext cx="114105" cy="107703"/>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3" name="Freeform 944"/>
              <p:cNvSpPr/>
              <p:nvPr/>
            </p:nvSpPr>
            <p:spPr bwMode="auto">
              <a:xfrm>
                <a:off x="2765145" y="2136353"/>
                <a:ext cx="18339" cy="23499"/>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8 w 18"/>
                  <a:gd name="T33" fmla="*/ 6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lnTo>
                      <a:pt x="8"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4" name="Freeform 945"/>
              <p:cNvSpPr/>
              <p:nvPr/>
            </p:nvSpPr>
            <p:spPr bwMode="auto">
              <a:xfrm>
                <a:off x="2765145" y="2136353"/>
                <a:ext cx="18339" cy="23499"/>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5" name="Freeform 946"/>
              <p:cNvSpPr/>
              <p:nvPr/>
            </p:nvSpPr>
            <p:spPr bwMode="auto">
              <a:xfrm>
                <a:off x="2883325" y="2042357"/>
                <a:ext cx="36677" cy="48957"/>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14 w 32"/>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lnTo>
                      <a:pt x="1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6" name="Freeform 947"/>
              <p:cNvSpPr/>
              <p:nvPr/>
            </p:nvSpPr>
            <p:spPr bwMode="auto">
              <a:xfrm>
                <a:off x="2883325" y="2042357"/>
                <a:ext cx="36677" cy="48957"/>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7" name="Freeform 948"/>
              <p:cNvSpPr/>
              <p:nvPr/>
            </p:nvSpPr>
            <p:spPr bwMode="auto">
              <a:xfrm>
                <a:off x="2926115" y="2048232"/>
                <a:ext cx="20376" cy="21540"/>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w 18"/>
                  <a:gd name="T25" fmla="*/ 6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8" name="Freeform 949"/>
              <p:cNvSpPr/>
              <p:nvPr/>
            </p:nvSpPr>
            <p:spPr bwMode="auto">
              <a:xfrm>
                <a:off x="2926115" y="2048232"/>
                <a:ext cx="20376" cy="21540"/>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9" name="Freeform 950"/>
              <p:cNvSpPr/>
              <p:nvPr/>
            </p:nvSpPr>
            <p:spPr bwMode="auto">
              <a:xfrm>
                <a:off x="2848687" y="1993402"/>
                <a:ext cx="18338" cy="21540"/>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12 w 16"/>
                  <a:gd name="T27" fmla="*/ 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lnTo>
                      <a:pt x="12" y="9"/>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0" name="Freeform 951"/>
              <p:cNvSpPr/>
              <p:nvPr/>
            </p:nvSpPr>
            <p:spPr bwMode="auto">
              <a:xfrm>
                <a:off x="2848687" y="1993402"/>
                <a:ext cx="18338" cy="21540"/>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1" name="Freeform 952"/>
              <p:cNvSpPr/>
              <p:nvPr/>
            </p:nvSpPr>
            <p:spPr bwMode="auto">
              <a:xfrm>
                <a:off x="2830348" y="1973819"/>
                <a:ext cx="18339" cy="15666"/>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4 w 16"/>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lnTo>
                      <a:pt x="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2" name="Freeform 953"/>
              <p:cNvSpPr/>
              <p:nvPr/>
            </p:nvSpPr>
            <p:spPr bwMode="auto">
              <a:xfrm>
                <a:off x="2830348" y="1973819"/>
                <a:ext cx="18339" cy="15666"/>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3" name="Freeform 954"/>
              <p:cNvSpPr/>
              <p:nvPr/>
            </p:nvSpPr>
            <p:spPr bwMode="auto">
              <a:xfrm>
                <a:off x="2862950" y="2242098"/>
                <a:ext cx="16301" cy="13708"/>
              </a:xfrm>
              <a:custGeom>
                <a:avLst/>
                <a:gdLst>
                  <a:gd name="T0" fmla="*/ 0 w 14"/>
                  <a:gd name="T1" fmla="*/ 2 h 12"/>
                  <a:gd name="T2" fmla="*/ 4 w 14"/>
                  <a:gd name="T3" fmla="*/ 0 h 12"/>
                  <a:gd name="T4" fmla="*/ 6 w 14"/>
                  <a:gd name="T5" fmla="*/ 0 h 12"/>
                  <a:gd name="T6" fmla="*/ 8 w 14"/>
                  <a:gd name="T7" fmla="*/ 2 h 12"/>
                  <a:gd name="T8" fmla="*/ 10 w 14"/>
                  <a:gd name="T9" fmla="*/ 2 h 12"/>
                  <a:gd name="T10" fmla="*/ 12 w 14"/>
                  <a:gd name="T11" fmla="*/ 4 h 12"/>
                  <a:gd name="T12" fmla="*/ 14 w 14"/>
                  <a:gd name="T13" fmla="*/ 8 h 12"/>
                  <a:gd name="T14" fmla="*/ 10 w 14"/>
                  <a:gd name="T15" fmla="*/ 12 h 12"/>
                  <a:gd name="T16" fmla="*/ 2 w 14"/>
                  <a:gd name="T17" fmla="*/ 2 h 12"/>
                  <a:gd name="T18" fmla="*/ 0 w 14"/>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2">
                    <a:moveTo>
                      <a:pt x="0" y="2"/>
                    </a:moveTo>
                    <a:lnTo>
                      <a:pt x="4" y="0"/>
                    </a:lnTo>
                    <a:lnTo>
                      <a:pt x="6" y="0"/>
                    </a:lnTo>
                    <a:lnTo>
                      <a:pt x="8" y="2"/>
                    </a:lnTo>
                    <a:lnTo>
                      <a:pt x="10" y="2"/>
                    </a:lnTo>
                    <a:lnTo>
                      <a:pt x="12" y="4"/>
                    </a:lnTo>
                    <a:lnTo>
                      <a:pt x="14" y="8"/>
                    </a:lnTo>
                    <a:lnTo>
                      <a:pt x="10" y="12"/>
                    </a:lnTo>
                    <a:lnTo>
                      <a:pt x="2" y="2"/>
                    </a:lnTo>
                    <a:lnTo>
                      <a:pt x="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4" name="Freeform 955"/>
              <p:cNvSpPr/>
              <p:nvPr/>
            </p:nvSpPr>
            <p:spPr bwMode="auto">
              <a:xfrm>
                <a:off x="2860913" y="2242098"/>
                <a:ext cx="18338" cy="13708"/>
              </a:xfrm>
              <a:custGeom>
                <a:avLst/>
                <a:gdLst>
                  <a:gd name="T0" fmla="*/ 2 w 16"/>
                  <a:gd name="T1" fmla="*/ 2 h 12"/>
                  <a:gd name="T2" fmla="*/ 0 w 16"/>
                  <a:gd name="T3" fmla="*/ 2 h 12"/>
                  <a:gd name="T4" fmla="*/ 0 w 16"/>
                  <a:gd name="T5" fmla="*/ 2 h 12"/>
                  <a:gd name="T6" fmla="*/ 6 w 16"/>
                  <a:gd name="T7" fmla="*/ 0 h 12"/>
                  <a:gd name="T8" fmla="*/ 8 w 16"/>
                  <a:gd name="T9" fmla="*/ 0 h 12"/>
                  <a:gd name="T10" fmla="*/ 10 w 16"/>
                  <a:gd name="T11" fmla="*/ 2 h 12"/>
                  <a:gd name="T12" fmla="*/ 12 w 16"/>
                  <a:gd name="T13" fmla="*/ 2 h 12"/>
                  <a:gd name="T14" fmla="*/ 14 w 16"/>
                  <a:gd name="T15" fmla="*/ 4 h 12"/>
                  <a:gd name="T16" fmla="*/ 16 w 16"/>
                  <a:gd name="T17" fmla="*/ 8 h 12"/>
                  <a:gd name="T18" fmla="*/ 12 w 16"/>
                  <a:gd name="T19" fmla="*/ 12 h 12"/>
                  <a:gd name="T20" fmla="*/ 4 w 1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2">
                    <a:moveTo>
                      <a:pt x="2" y="2"/>
                    </a:moveTo>
                    <a:lnTo>
                      <a:pt x="0" y="2"/>
                    </a:lnTo>
                    <a:lnTo>
                      <a:pt x="6" y="0"/>
                    </a:lnTo>
                    <a:lnTo>
                      <a:pt x="8" y="0"/>
                    </a:lnTo>
                    <a:lnTo>
                      <a:pt x="10" y="2"/>
                    </a:lnTo>
                    <a:lnTo>
                      <a:pt x="12" y="2"/>
                    </a:lnTo>
                    <a:lnTo>
                      <a:pt x="14" y="4"/>
                    </a:lnTo>
                    <a:lnTo>
                      <a:pt x="16" y="8"/>
                    </a:lnTo>
                    <a:lnTo>
                      <a:pt x="12" y="12"/>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5" name="Freeform 956"/>
              <p:cNvSpPr/>
              <p:nvPr/>
            </p:nvSpPr>
            <p:spPr bwMode="auto">
              <a:xfrm>
                <a:off x="2881289" y="2234265"/>
                <a:ext cx="12226" cy="9792"/>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0">
                    <a:moveTo>
                      <a:pt x="0" y="0"/>
                    </a:moveTo>
                    <a:lnTo>
                      <a:pt x="10" y="4"/>
                    </a:lnTo>
                    <a:lnTo>
                      <a:pt x="10" y="6"/>
                    </a:lnTo>
                    <a:lnTo>
                      <a:pt x="10" y="10"/>
                    </a:lnTo>
                    <a:lnTo>
                      <a:pt x="8" y="10"/>
                    </a:lnTo>
                    <a:lnTo>
                      <a:pt x="2" y="6"/>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6" name="Freeform 957"/>
              <p:cNvSpPr/>
              <p:nvPr/>
            </p:nvSpPr>
            <p:spPr bwMode="auto">
              <a:xfrm>
                <a:off x="2881289" y="2234265"/>
                <a:ext cx="12226" cy="9792"/>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0">
                    <a:moveTo>
                      <a:pt x="0" y="0"/>
                    </a:moveTo>
                    <a:lnTo>
                      <a:pt x="10" y="4"/>
                    </a:lnTo>
                    <a:lnTo>
                      <a:pt x="10" y="6"/>
                    </a:lnTo>
                    <a:lnTo>
                      <a:pt x="10" y="10"/>
                    </a:lnTo>
                    <a:lnTo>
                      <a:pt x="8" y="10"/>
                    </a:lnTo>
                    <a:lnTo>
                      <a:pt x="2" y="6"/>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7" name="Freeform 958"/>
              <p:cNvSpPr/>
              <p:nvPr/>
            </p:nvSpPr>
            <p:spPr bwMode="auto">
              <a:xfrm>
                <a:off x="2822198" y="1762329"/>
                <a:ext cx="79467" cy="58747"/>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30 w 72"/>
                  <a:gd name="T63" fmla="*/ 6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lnTo>
                      <a:pt x="3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8" name="Freeform 959"/>
              <p:cNvSpPr/>
              <p:nvPr/>
            </p:nvSpPr>
            <p:spPr bwMode="auto">
              <a:xfrm>
                <a:off x="2822198" y="1762329"/>
                <a:ext cx="79467" cy="58747"/>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9" name="Freeform 960"/>
              <p:cNvSpPr/>
              <p:nvPr/>
            </p:nvSpPr>
            <p:spPr bwMode="auto">
              <a:xfrm>
                <a:off x="2775334" y="2259723"/>
                <a:ext cx="28526" cy="33290"/>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20 w 26"/>
                  <a:gd name="T39" fmla="*/ 2 h 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lnTo>
                      <a:pt x="2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0" name="Freeform 961"/>
              <p:cNvSpPr/>
              <p:nvPr/>
            </p:nvSpPr>
            <p:spPr bwMode="auto">
              <a:xfrm>
                <a:off x="2775334" y="2259723"/>
                <a:ext cx="28526" cy="33290"/>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1" name="Freeform 962"/>
              <p:cNvSpPr/>
              <p:nvPr/>
            </p:nvSpPr>
            <p:spPr bwMode="auto">
              <a:xfrm>
                <a:off x="2832386" y="2283222"/>
                <a:ext cx="16301" cy="2741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4 w 14"/>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lnTo>
                      <a:pt x="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2" name="Freeform 963"/>
              <p:cNvSpPr/>
              <p:nvPr/>
            </p:nvSpPr>
            <p:spPr bwMode="auto">
              <a:xfrm>
                <a:off x="2832386" y="2283222"/>
                <a:ext cx="16301" cy="2741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3" name="Freeform 964"/>
              <p:cNvSpPr/>
              <p:nvPr/>
            </p:nvSpPr>
            <p:spPr bwMode="auto">
              <a:xfrm>
                <a:off x="3032070" y="2343926"/>
                <a:ext cx="8150" cy="11749"/>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2 w 8"/>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2" y="4"/>
                    </a:moveTo>
                    <a:lnTo>
                      <a:pt x="0" y="2"/>
                    </a:lnTo>
                    <a:lnTo>
                      <a:pt x="0" y="8"/>
                    </a:lnTo>
                    <a:lnTo>
                      <a:pt x="0" y="10"/>
                    </a:lnTo>
                    <a:lnTo>
                      <a:pt x="4" y="6"/>
                    </a:lnTo>
                    <a:lnTo>
                      <a:pt x="6" y="6"/>
                    </a:lnTo>
                    <a:lnTo>
                      <a:pt x="8" y="4"/>
                    </a:lnTo>
                    <a:lnTo>
                      <a:pt x="6" y="0"/>
                    </a:lnTo>
                    <a:lnTo>
                      <a:pt x="4" y="0"/>
                    </a:lnTo>
                    <a:lnTo>
                      <a:pt x="2" y="0"/>
                    </a:lnTo>
                    <a:lnTo>
                      <a:pt x="2" y="2"/>
                    </a:lnTo>
                    <a:lnTo>
                      <a:pt x="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4" name="Freeform 965"/>
              <p:cNvSpPr/>
              <p:nvPr/>
            </p:nvSpPr>
            <p:spPr bwMode="auto">
              <a:xfrm>
                <a:off x="3032070" y="2343926"/>
                <a:ext cx="8150" cy="11749"/>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2" y="4"/>
                    </a:moveTo>
                    <a:lnTo>
                      <a:pt x="0" y="2"/>
                    </a:lnTo>
                    <a:lnTo>
                      <a:pt x="0" y="8"/>
                    </a:lnTo>
                    <a:lnTo>
                      <a:pt x="0" y="10"/>
                    </a:lnTo>
                    <a:lnTo>
                      <a:pt x="4" y="6"/>
                    </a:lnTo>
                    <a:lnTo>
                      <a:pt x="6" y="6"/>
                    </a:lnTo>
                    <a:lnTo>
                      <a:pt x="8" y="4"/>
                    </a:lnTo>
                    <a:lnTo>
                      <a:pt x="6" y="0"/>
                    </a:lnTo>
                    <a:lnTo>
                      <a:pt x="4" y="0"/>
                    </a:lnTo>
                    <a:lnTo>
                      <a:pt x="2" y="0"/>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5" name="Freeform 966"/>
              <p:cNvSpPr/>
              <p:nvPr/>
            </p:nvSpPr>
            <p:spPr bwMode="auto">
              <a:xfrm>
                <a:off x="3076897" y="2304762"/>
                <a:ext cx="14262" cy="13708"/>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6 w 12"/>
                  <a:gd name="T31" fmla="*/ 2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lnTo>
                      <a:pt x="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6" name="Freeform 967"/>
              <p:cNvSpPr/>
              <p:nvPr/>
            </p:nvSpPr>
            <p:spPr bwMode="auto">
              <a:xfrm>
                <a:off x="3076897" y="2304762"/>
                <a:ext cx="14262" cy="13708"/>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7" name="Freeform 968"/>
              <p:cNvSpPr/>
              <p:nvPr/>
            </p:nvSpPr>
            <p:spPr bwMode="auto">
              <a:xfrm>
                <a:off x="2669379" y="1754496"/>
                <a:ext cx="476795" cy="544392"/>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lnTo>
                      <a:pt x="284" y="449"/>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8" name="Freeform 969"/>
              <p:cNvSpPr/>
              <p:nvPr/>
            </p:nvSpPr>
            <p:spPr bwMode="auto">
              <a:xfrm>
                <a:off x="2669379" y="1754496"/>
                <a:ext cx="476795" cy="544392"/>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9" name="Freeform 970"/>
              <p:cNvSpPr/>
              <p:nvPr/>
            </p:nvSpPr>
            <p:spPr bwMode="auto">
              <a:xfrm>
                <a:off x="2477846" y="1560629"/>
                <a:ext cx="20376" cy="13708"/>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10 w 18"/>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2">
                    <a:moveTo>
                      <a:pt x="10" y="2"/>
                    </a:moveTo>
                    <a:lnTo>
                      <a:pt x="14" y="0"/>
                    </a:lnTo>
                    <a:lnTo>
                      <a:pt x="18" y="2"/>
                    </a:lnTo>
                    <a:lnTo>
                      <a:pt x="12" y="8"/>
                    </a:lnTo>
                    <a:lnTo>
                      <a:pt x="6" y="12"/>
                    </a:lnTo>
                    <a:lnTo>
                      <a:pt x="0" y="12"/>
                    </a:lnTo>
                    <a:lnTo>
                      <a:pt x="0" y="10"/>
                    </a:lnTo>
                    <a:lnTo>
                      <a:pt x="4" y="8"/>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0" name="Freeform 971"/>
              <p:cNvSpPr/>
              <p:nvPr/>
            </p:nvSpPr>
            <p:spPr bwMode="auto">
              <a:xfrm>
                <a:off x="2477846" y="1560629"/>
                <a:ext cx="20376" cy="13708"/>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2">
                    <a:moveTo>
                      <a:pt x="10" y="2"/>
                    </a:moveTo>
                    <a:lnTo>
                      <a:pt x="14" y="0"/>
                    </a:lnTo>
                    <a:lnTo>
                      <a:pt x="18" y="2"/>
                    </a:lnTo>
                    <a:lnTo>
                      <a:pt x="12" y="8"/>
                    </a:lnTo>
                    <a:lnTo>
                      <a:pt x="6" y="12"/>
                    </a:lnTo>
                    <a:lnTo>
                      <a:pt x="0" y="12"/>
                    </a:lnTo>
                    <a:lnTo>
                      <a:pt x="0" y="10"/>
                    </a:lnTo>
                    <a:lnTo>
                      <a:pt x="4" y="8"/>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1" name="Freeform 972"/>
              <p:cNvSpPr/>
              <p:nvPr/>
            </p:nvSpPr>
            <p:spPr bwMode="auto">
              <a:xfrm>
                <a:off x="2722357" y="2042357"/>
                <a:ext cx="8150" cy="25458"/>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6 w 8"/>
                  <a:gd name="T17" fmla="*/ 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2">
                    <a:moveTo>
                      <a:pt x="6" y="2"/>
                    </a:moveTo>
                    <a:lnTo>
                      <a:pt x="8" y="18"/>
                    </a:lnTo>
                    <a:lnTo>
                      <a:pt x="6" y="22"/>
                    </a:lnTo>
                    <a:lnTo>
                      <a:pt x="4" y="22"/>
                    </a:lnTo>
                    <a:lnTo>
                      <a:pt x="0" y="18"/>
                    </a:lnTo>
                    <a:lnTo>
                      <a:pt x="0" y="4"/>
                    </a:lnTo>
                    <a:lnTo>
                      <a:pt x="4" y="0"/>
                    </a:lnTo>
                    <a:lnTo>
                      <a:pt x="4" y="2"/>
                    </a:lnTo>
                    <a:lnTo>
                      <a:pt x="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2" name="Freeform 973"/>
              <p:cNvSpPr/>
              <p:nvPr/>
            </p:nvSpPr>
            <p:spPr bwMode="auto">
              <a:xfrm>
                <a:off x="2722357" y="2042357"/>
                <a:ext cx="8150" cy="25458"/>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22">
                    <a:moveTo>
                      <a:pt x="6" y="2"/>
                    </a:moveTo>
                    <a:lnTo>
                      <a:pt x="8" y="18"/>
                    </a:lnTo>
                    <a:lnTo>
                      <a:pt x="6" y="22"/>
                    </a:lnTo>
                    <a:lnTo>
                      <a:pt x="4" y="22"/>
                    </a:lnTo>
                    <a:lnTo>
                      <a:pt x="0" y="18"/>
                    </a:lnTo>
                    <a:lnTo>
                      <a:pt x="0" y="4"/>
                    </a:lnTo>
                    <a:lnTo>
                      <a:pt x="4" y="0"/>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3" name="Freeform 974"/>
              <p:cNvSpPr/>
              <p:nvPr/>
            </p:nvSpPr>
            <p:spPr bwMode="auto">
              <a:xfrm>
                <a:off x="2926115" y="2269513"/>
                <a:ext cx="12226" cy="3916"/>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10 w 12"/>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4">
                    <a:moveTo>
                      <a:pt x="10" y="2"/>
                    </a:moveTo>
                    <a:lnTo>
                      <a:pt x="10" y="0"/>
                    </a:lnTo>
                    <a:lnTo>
                      <a:pt x="12" y="2"/>
                    </a:lnTo>
                    <a:lnTo>
                      <a:pt x="10" y="4"/>
                    </a:lnTo>
                    <a:lnTo>
                      <a:pt x="6" y="4"/>
                    </a:lnTo>
                    <a:lnTo>
                      <a:pt x="2" y="2"/>
                    </a:lnTo>
                    <a:lnTo>
                      <a:pt x="0" y="2"/>
                    </a:lnTo>
                    <a:lnTo>
                      <a:pt x="2" y="0"/>
                    </a:lnTo>
                    <a:lnTo>
                      <a:pt x="4" y="2"/>
                    </a:lnTo>
                    <a:lnTo>
                      <a:pt x="8" y="0"/>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4" name="Freeform 975"/>
              <p:cNvSpPr/>
              <p:nvPr/>
            </p:nvSpPr>
            <p:spPr bwMode="auto">
              <a:xfrm>
                <a:off x="2926115" y="2269513"/>
                <a:ext cx="12226" cy="3916"/>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4">
                    <a:moveTo>
                      <a:pt x="10" y="2"/>
                    </a:moveTo>
                    <a:lnTo>
                      <a:pt x="10" y="0"/>
                    </a:lnTo>
                    <a:lnTo>
                      <a:pt x="12" y="2"/>
                    </a:lnTo>
                    <a:lnTo>
                      <a:pt x="10" y="4"/>
                    </a:lnTo>
                    <a:lnTo>
                      <a:pt x="6" y="4"/>
                    </a:lnTo>
                    <a:lnTo>
                      <a:pt x="2" y="2"/>
                    </a:lnTo>
                    <a:lnTo>
                      <a:pt x="0" y="2"/>
                    </a:lnTo>
                    <a:lnTo>
                      <a:pt x="2" y="0"/>
                    </a:lnTo>
                    <a:lnTo>
                      <a:pt x="4" y="2"/>
                    </a:lnTo>
                    <a:lnTo>
                      <a:pt x="8" y="0"/>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5" name="Freeform 976"/>
              <p:cNvSpPr/>
              <p:nvPr/>
            </p:nvSpPr>
            <p:spPr bwMode="auto">
              <a:xfrm>
                <a:off x="3097273" y="2733618"/>
                <a:ext cx="38714" cy="25457"/>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30 w 34"/>
                  <a:gd name="T59" fmla="*/ 18 h 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lnTo>
                      <a:pt x="30"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6" name="Freeform 977"/>
              <p:cNvSpPr/>
              <p:nvPr/>
            </p:nvSpPr>
            <p:spPr bwMode="auto">
              <a:xfrm>
                <a:off x="3097273" y="2733618"/>
                <a:ext cx="38714" cy="25457"/>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7" name="Freeform 978"/>
              <p:cNvSpPr/>
              <p:nvPr/>
            </p:nvSpPr>
            <p:spPr bwMode="auto">
              <a:xfrm>
                <a:off x="1827855" y="1860241"/>
                <a:ext cx="1414086" cy="994788"/>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lnTo>
                      <a:pt x="1273" y="65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8" name="Freeform 979"/>
              <p:cNvSpPr/>
              <p:nvPr/>
            </p:nvSpPr>
            <p:spPr bwMode="auto">
              <a:xfrm>
                <a:off x="1827855" y="1860241"/>
                <a:ext cx="1414086" cy="994788"/>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9" name="Freeform 980"/>
              <p:cNvSpPr/>
              <p:nvPr/>
            </p:nvSpPr>
            <p:spPr bwMode="auto">
              <a:xfrm>
                <a:off x="3146175" y="2733618"/>
                <a:ext cx="26488" cy="35248"/>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24 w 24"/>
                  <a:gd name="T51" fmla="*/ 18 h 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lnTo>
                      <a:pt x="24"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0" name="Freeform 981"/>
              <p:cNvSpPr/>
              <p:nvPr/>
            </p:nvSpPr>
            <p:spPr bwMode="auto">
              <a:xfrm>
                <a:off x="3146175" y="2733618"/>
                <a:ext cx="26488" cy="35248"/>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1" name="Freeform 982"/>
              <p:cNvSpPr/>
              <p:nvPr/>
            </p:nvSpPr>
            <p:spPr bwMode="auto">
              <a:xfrm>
                <a:off x="4340201" y="1290391"/>
                <a:ext cx="177269" cy="285904"/>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lnTo>
                      <a:pt x="7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2" name="Freeform 983"/>
              <p:cNvSpPr/>
              <p:nvPr/>
            </p:nvSpPr>
            <p:spPr bwMode="auto">
              <a:xfrm>
                <a:off x="4340201" y="1290391"/>
                <a:ext cx="177269" cy="285904"/>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3" name="Freeform 984"/>
              <p:cNvSpPr/>
              <p:nvPr/>
            </p:nvSpPr>
            <p:spPr bwMode="auto">
              <a:xfrm>
                <a:off x="4336126" y="1394179"/>
                <a:ext cx="28526" cy="54831"/>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24 w 26"/>
                  <a:gd name="T53" fmla="*/ 45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lnTo>
                      <a:pt x="24" y="4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4" name="Freeform 985"/>
              <p:cNvSpPr/>
              <p:nvPr/>
            </p:nvSpPr>
            <p:spPr bwMode="auto">
              <a:xfrm>
                <a:off x="4336126" y="1394179"/>
                <a:ext cx="28526" cy="54831"/>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5" name="Freeform 986"/>
              <p:cNvSpPr/>
              <p:nvPr/>
            </p:nvSpPr>
            <p:spPr bwMode="auto">
              <a:xfrm>
                <a:off x="4499133" y="1415719"/>
                <a:ext cx="36677" cy="35248"/>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14 w 34"/>
                  <a:gd name="T53" fmla="*/ 31 h 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lnTo>
                      <a:pt x="14" y="3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6" name="Freeform 987"/>
              <p:cNvSpPr/>
              <p:nvPr/>
            </p:nvSpPr>
            <p:spPr bwMode="auto">
              <a:xfrm>
                <a:off x="4499133" y="1415719"/>
                <a:ext cx="36677" cy="35248"/>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7" name="Freeform 988"/>
              <p:cNvSpPr/>
              <p:nvPr/>
            </p:nvSpPr>
            <p:spPr bwMode="auto">
              <a:xfrm>
                <a:off x="4550072" y="1456843"/>
                <a:ext cx="0" cy="1958"/>
              </a:xfrm>
              <a:custGeom>
                <a:avLst/>
                <a:gdLst>
                  <a:gd name="T0" fmla="*/ 0 w 1"/>
                  <a:gd name="T1" fmla="*/ 0 h 2"/>
                  <a:gd name="T2" fmla="*/ 0 w 1"/>
                  <a:gd name="T3" fmla="*/ 2 h 2"/>
                  <a:gd name="T4" fmla="*/ 0 w 1"/>
                  <a:gd name="T5" fmla="*/ 2 h 2"/>
                  <a:gd name="T6" fmla="*/ 0 60000 65536"/>
                  <a:gd name="T7" fmla="*/ 0 60000 65536"/>
                  <a:gd name="T8" fmla="*/ 0 60000 65536"/>
                </a:gdLst>
                <a:ahLst/>
                <a:cxnLst>
                  <a:cxn ang="T6">
                    <a:pos x="T0" y="T1"/>
                  </a:cxn>
                  <a:cxn ang="T7">
                    <a:pos x="T2" y="T3"/>
                  </a:cxn>
                  <a:cxn ang="T8">
                    <a:pos x="T4" y="T5"/>
                  </a:cxn>
                </a:cxnLst>
                <a:rect l="0" t="0" r="r" b="b"/>
                <a:pathLst>
                  <a:path w="1" h="2">
                    <a:moveTo>
                      <a:pt x="0" y="0"/>
                    </a:move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8" name="Freeform 989"/>
              <p:cNvSpPr/>
              <p:nvPr/>
            </p:nvSpPr>
            <p:spPr bwMode="auto">
              <a:xfrm>
                <a:off x="4509320" y="1441177"/>
                <a:ext cx="67241" cy="8420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lnTo>
                      <a:pt x="56" y="3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9" name="Freeform 990"/>
              <p:cNvSpPr/>
              <p:nvPr/>
            </p:nvSpPr>
            <p:spPr bwMode="auto">
              <a:xfrm>
                <a:off x="4509320" y="1441177"/>
                <a:ext cx="67241" cy="8420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0" name="Freeform 991"/>
              <p:cNvSpPr/>
              <p:nvPr/>
            </p:nvSpPr>
            <p:spPr bwMode="auto">
              <a:xfrm>
                <a:off x="4601012" y="1398095"/>
                <a:ext cx="6112" cy="15666"/>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6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4">
                    <a:moveTo>
                      <a:pt x="6" y="6"/>
                    </a:moveTo>
                    <a:lnTo>
                      <a:pt x="4" y="4"/>
                    </a:lnTo>
                    <a:lnTo>
                      <a:pt x="2" y="0"/>
                    </a:lnTo>
                    <a:lnTo>
                      <a:pt x="2" y="2"/>
                    </a:lnTo>
                    <a:lnTo>
                      <a:pt x="2" y="4"/>
                    </a:lnTo>
                    <a:lnTo>
                      <a:pt x="0" y="4"/>
                    </a:lnTo>
                    <a:lnTo>
                      <a:pt x="2" y="10"/>
                    </a:lnTo>
                    <a:lnTo>
                      <a:pt x="4" y="12"/>
                    </a:lnTo>
                    <a:lnTo>
                      <a:pt x="6" y="14"/>
                    </a:lnTo>
                    <a:lnTo>
                      <a:pt x="6"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1" name="Freeform 992"/>
              <p:cNvSpPr/>
              <p:nvPr/>
            </p:nvSpPr>
            <p:spPr bwMode="auto">
              <a:xfrm>
                <a:off x="4601012" y="1398095"/>
                <a:ext cx="6112" cy="15666"/>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6" y="6"/>
                    </a:moveTo>
                    <a:lnTo>
                      <a:pt x="4" y="4"/>
                    </a:lnTo>
                    <a:lnTo>
                      <a:pt x="2" y="0"/>
                    </a:lnTo>
                    <a:lnTo>
                      <a:pt x="2" y="2"/>
                    </a:lnTo>
                    <a:lnTo>
                      <a:pt x="2" y="4"/>
                    </a:lnTo>
                    <a:lnTo>
                      <a:pt x="0" y="4"/>
                    </a:lnTo>
                    <a:lnTo>
                      <a:pt x="2" y="10"/>
                    </a:lnTo>
                    <a:lnTo>
                      <a:pt x="4" y="12"/>
                    </a:lnTo>
                    <a:lnTo>
                      <a:pt x="6"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2" name="Freeform 993"/>
              <p:cNvSpPr/>
              <p:nvPr/>
            </p:nvSpPr>
            <p:spPr bwMode="auto">
              <a:xfrm>
                <a:off x="2532860" y="1388304"/>
                <a:ext cx="61128" cy="9595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54 w 54"/>
                  <a:gd name="T113" fmla="*/ 43 h 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lnTo>
                      <a:pt x="54" y="4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3" name="Freeform 994"/>
              <p:cNvSpPr/>
              <p:nvPr/>
            </p:nvSpPr>
            <p:spPr bwMode="auto">
              <a:xfrm>
                <a:off x="2532860" y="1388304"/>
                <a:ext cx="61128" cy="9595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4" name="Freeform 995"/>
              <p:cNvSpPr/>
              <p:nvPr/>
            </p:nvSpPr>
            <p:spPr bwMode="auto">
              <a:xfrm>
                <a:off x="2412643" y="1351098"/>
                <a:ext cx="110030" cy="131202"/>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92 w 100"/>
                  <a:gd name="T117" fmla="*/ 81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lnTo>
                      <a:pt x="92" y="81"/>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5" name="Freeform 996"/>
              <p:cNvSpPr/>
              <p:nvPr/>
            </p:nvSpPr>
            <p:spPr bwMode="auto">
              <a:xfrm>
                <a:off x="2412643" y="1351098"/>
                <a:ext cx="110030" cy="131202"/>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6" name="Freeform 997"/>
              <p:cNvSpPr/>
              <p:nvPr/>
            </p:nvSpPr>
            <p:spPr bwMode="auto">
              <a:xfrm>
                <a:off x="2514523" y="1290391"/>
                <a:ext cx="22413" cy="35248"/>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w 20"/>
                  <a:gd name="T23" fmla="*/ 1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lnTo>
                      <a:pt x="0"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7" name="Freeform 998"/>
              <p:cNvSpPr/>
              <p:nvPr/>
            </p:nvSpPr>
            <p:spPr bwMode="auto">
              <a:xfrm>
                <a:off x="2514523" y="1290391"/>
                <a:ext cx="22413" cy="35248"/>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8" name="Freeform 999"/>
              <p:cNvSpPr/>
              <p:nvPr/>
            </p:nvSpPr>
            <p:spPr bwMode="auto">
              <a:xfrm>
                <a:off x="2571575" y="1288434"/>
                <a:ext cx="183383" cy="170367"/>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2 w 166"/>
                  <a:gd name="T123" fmla="*/ 8 h 15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lnTo>
                      <a:pt x="2"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9" name="Freeform 1000"/>
              <p:cNvSpPr/>
              <p:nvPr/>
            </p:nvSpPr>
            <p:spPr bwMode="auto">
              <a:xfrm>
                <a:off x="2571575" y="1288434"/>
                <a:ext cx="183383" cy="170367"/>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0" name="Freeform 1001"/>
              <p:cNvSpPr/>
              <p:nvPr/>
            </p:nvSpPr>
            <p:spPr bwMode="auto">
              <a:xfrm>
                <a:off x="2677530" y="1280601"/>
                <a:ext cx="293413" cy="325068"/>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64 w 264"/>
                  <a:gd name="T123" fmla="*/ 14 h 2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lnTo>
                      <a:pt x="64"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1" name="Freeform 1002"/>
              <p:cNvSpPr/>
              <p:nvPr/>
            </p:nvSpPr>
            <p:spPr bwMode="auto">
              <a:xfrm>
                <a:off x="2677530" y="1280601"/>
                <a:ext cx="293413" cy="325068"/>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2" name="Freeform 1003"/>
              <p:cNvSpPr/>
              <p:nvPr/>
            </p:nvSpPr>
            <p:spPr bwMode="auto">
              <a:xfrm>
                <a:off x="2726432" y="1586087"/>
                <a:ext cx="8150" cy="7833"/>
              </a:xfrm>
              <a:custGeom>
                <a:avLst/>
                <a:gdLst>
                  <a:gd name="T0" fmla="*/ 0 w 8"/>
                  <a:gd name="T1" fmla="*/ 4 h 8"/>
                  <a:gd name="T2" fmla="*/ 0 w 8"/>
                  <a:gd name="T3" fmla="*/ 6 h 8"/>
                  <a:gd name="T4" fmla="*/ 8 w 8"/>
                  <a:gd name="T5" fmla="*/ 8 h 8"/>
                  <a:gd name="T6" fmla="*/ 2 w 8"/>
                  <a:gd name="T7" fmla="*/ 0 h 8"/>
                  <a:gd name="T8" fmla="*/ 2 w 8"/>
                  <a:gd name="T9" fmla="*/ 4 h 8"/>
                  <a:gd name="T10" fmla="*/ 0 w 8"/>
                  <a:gd name="T11" fmla="*/ 4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4"/>
                    </a:moveTo>
                    <a:lnTo>
                      <a:pt x="0" y="6"/>
                    </a:lnTo>
                    <a:lnTo>
                      <a:pt x="8" y="8"/>
                    </a:lnTo>
                    <a:lnTo>
                      <a:pt x="2" y="0"/>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3" name="Freeform 1004"/>
              <p:cNvSpPr/>
              <p:nvPr/>
            </p:nvSpPr>
            <p:spPr bwMode="auto">
              <a:xfrm>
                <a:off x="2726432" y="1586087"/>
                <a:ext cx="8150" cy="7833"/>
              </a:xfrm>
              <a:custGeom>
                <a:avLst/>
                <a:gdLst>
                  <a:gd name="T0" fmla="*/ 0 w 8"/>
                  <a:gd name="T1" fmla="*/ 4 h 8"/>
                  <a:gd name="T2" fmla="*/ 0 w 8"/>
                  <a:gd name="T3" fmla="*/ 6 h 8"/>
                  <a:gd name="T4" fmla="*/ 8 w 8"/>
                  <a:gd name="T5" fmla="*/ 8 h 8"/>
                  <a:gd name="T6" fmla="*/ 2 w 8"/>
                  <a:gd name="T7" fmla="*/ 0 h 8"/>
                  <a:gd name="T8" fmla="*/ 2 w 8"/>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8">
                    <a:moveTo>
                      <a:pt x="0" y="4"/>
                    </a:moveTo>
                    <a:lnTo>
                      <a:pt x="0" y="6"/>
                    </a:lnTo>
                    <a:lnTo>
                      <a:pt x="8" y="8"/>
                    </a:lnTo>
                    <a:lnTo>
                      <a:pt x="2" y="0"/>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4" name="Freeform 1005"/>
              <p:cNvSpPr/>
              <p:nvPr/>
            </p:nvSpPr>
            <p:spPr bwMode="auto">
              <a:xfrm>
                <a:off x="2726432" y="1574337"/>
                <a:ext cx="2037" cy="11749"/>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w 2"/>
                  <a:gd name="T13" fmla="*/ 4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0" y="4"/>
                    </a:moveTo>
                    <a:lnTo>
                      <a:pt x="0" y="0"/>
                    </a:lnTo>
                    <a:lnTo>
                      <a:pt x="0" y="8"/>
                    </a:lnTo>
                    <a:lnTo>
                      <a:pt x="2" y="10"/>
                    </a:lnTo>
                    <a:lnTo>
                      <a:pt x="2" y="8"/>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5" name="Freeform 1006"/>
              <p:cNvSpPr/>
              <p:nvPr/>
            </p:nvSpPr>
            <p:spPr bwMode="auto">
              <a:xfrm>
                <a:off x="2726432" y="1574337"/>
                <a:ext cx="2037" cy="11749"/>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0" y="4"/>
                    </a:moveTo>
                    <a:lnTo>
                      <a:pt x="0" y="0"/>
                    </a:lnTo>
                    <a:lnTo>
                      <a:pt x="0" y="8"/>
                    </a:lnTo>
                    <a:lnTo>
                      <a:pt x="2" y="10"/>
                    </a:lnTo>
                    <a:lnTo>
                      <a:pt x="2" y="8"/>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6" name="Freeform 1007"/>
              <p:cNvSpPr/>
              <p:nvPr/>
            </p:nvSpPr>
            <p:spPr bwMode="auto">
              <a:xfrm>
                <a:off x="2836462" y="2475129"/>
                <a:ext cx="10187" cy="11749"/>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w 8"/>
                  <a:gd name="T25" fmla="*/ 1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0">
                    <a:moveTo>
                      <a:pt x="0" y="10"/>
                    </a:moveTo>
                    <a:lnTo>
                      <a:pt x="6" y="6"/>
                    </a:lnTo>
                    <a:lnTo>
                      <a:pt x="8" y="0"/>
                    </a:lnTo>
                    <a:lnTo>
                      <a:pt x="8" y="2"/>
                    </a:lnTo>
                    <a:lnTo>
                      <a:pt x="6" y="2"/>
                    </a:lnTo>
                    <a:lnTo>
                      <a:pt x="6" y="4"/>
                    </a:lnTo>
                    <a:lnTo>
                      <a:pt x="4" y="4"/>
                    </a:lnTo>
                    <a:lnTo>
                      <a:pt x="2" y="4"/>
                    </a:lnTo>
                    <a:lnTo>
                      <a:pt x="2" y="6"/>
                    </a:lnTo>
                    <a:lnTo>
                      <a:pt x="0" y="6"/>
                    </a:lnTo>
                    <a:lnTo>
                      <a:pt x="0" y="8"/>
                    </a:lnTo>
                    <a:lnTo>
                      <a:pt x="0"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7" name="Freeform 1008"/>
              <p:cNvSpPr/>
              <p:nvPr/>
            </p:nvSpPr>
            <p:spPr bwMode="auto">
              <a:xfrm>
                <a:off x="2836462" y="2475129"/>
                <a:ext cx="10187" cy="11749"/>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10"/>
                    </a:moveTo>
                    <a:lnTo>
                      <a:pt x="6" y="6"/>
                    </a:lnTo>
                    <a:lnTo>
                      <a:pt x="8" y="0"/>
                    </a:lnTo>
                    <a:lnTo>
                      <a:pt x="8" y="2"/>
                    </a:lnTo>
                    <a:lnTo>
                      <a:pt x="6" y="2"/>
                    </a:lnTo>
                    <a:lnTo>
                      <a:pt x="6" y="4"/>
                    </a:lnTo>
                    <a:lnTo>
                      <a:pt x="4" y="4"/>
                    </a:lnTo>
                    <a:lnTo>
                      <a:pt x="2" y="4"/>
                    </a:lnTo>
                    <a:lnTo>
                      <a:pt x="2" y="6"/>
                    </a:lnTo>
                    <a:lnTo>
                      <a:pt x="0" y="6"/>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8" name="Freeform 1009"/>
              <p:cNvSpPr/>
              <p:nvPr/>
            </p:nvSpPr>
            <p:spPr bwMode="auto">
              <a:xfrm>
                <a:off x="2836462" y="2473171"/>
                <a:ext cx="20376" cy="25458"/>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14 w 18"/>
                  <a:gd name="T87" fmla="*/ 18 h 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lnTo>
                      <a:pt x="14"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9" name="Freeform 1010"/>
              <p:cNvSpPr/>
              <p:nvPr/>
            </p:nvSpPr>
            <p:spPr bwMode="auto">
              <a:xfrm>
                <a:off x="2836462" y="2473171"/>
                <a:ext cx="20376" cy="25458"/>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0" name="Freeform 1011"/>
              <p:cNvSpPr/>
              <p:nvPr/>
            </p:nvSpPr>
            <p:spPr bwMode="auto">
              <a:xfrm>
                <a:off x="2854799" y="2477087"/>
                <a:ext cx="6113" cy="11749"/>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2 w 6"/>
                  <a:gd name="T29" fmla="*/ 1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lnTo>
                      <a:pt x="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1" name="Freeform 1012"/>
              <p:cNvSpPr/>
              <p:nvPr/>
            </p:nvSpPr>
            <p:spPr bwMode="auto">
              <a:xfrm>
                <a:off x="2854799" y="2477087"/>
                <a:ext cx="6113" cy="11749"/>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2" name="Freeform 1013"/>
              <p:cNvSpPr/>
              <p:nvPr/>
            </p:nvSpPr>
            <p:spPr bwMode="auto">
              <a:xfrm>
                <a:off x="2577687" y="1732955"/>
                <a:ext cx="91692" cy="127286"/>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lnTo>
                      <a:pt x="3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3" name="Freeform 1014"/>
              <p:cNvSpPr/>
              <p:nvPr/>
            </p:nvSpPr>
            <p:spPr bwMode="auto">
              <a:xfrm>
                <a:off x="2577687" y="1732955"/>
                <a:ext cx="91692" cy="127286"/>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4" name="Freeform 1015"/>
              <p:cNvSpPr/>
              <p:nvPr/>
            </p:nvSpPr>
            <p:spPr bwMode="auto">
              <a:xfrm>
                <a:off x="6220893" y="3779320"/>
                <a:ext cx="6113" cy="5874"/>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w 6"/>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4"/>
                    </a:moveTo>
                    <a:lnTo>
                      <a:pt x="6" y="0"/>
                    </a:lnTo>
                    <a:lnTo>
                      <a:pt x="6" y="2"/>
                    </a:lnTo>
                    <a:lnTo>
                      <a:pt x="4" y="2"/>
                    </a:lnTo>
                    <a:lnTo>
                      <a:pt x="4" y="4"/>
                    </a:lnTo>
                    <a:lnTo>
                      <a:pt x="4" y="6"/>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5" name="Freeform 1016"/>
              <p:cNvSpPr/>
              <p:nvPr/>
            </p:nvSpPr>
            <p:spPr bwMode="auto">
              <a:xfrm>
                <a:off x="6220893" y="3779320"/>
                <a:ext cx="6113" cy="5874"/>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4"/>
                    </a:moveTo>
                    <a:lnTo>
                      <a:pt x="6" y="0"/>
                    </a:lnTo>
                    <a:lnTo>
                      <a:pt x="6" y="2"/>
                    </a:lnTo>
                    <a:lnTo>
                      <a:pt x="4" y="2"/>
                    </a:lnTo>
                    <a:lnTo>
                      <a:pt x="4" y="4"/>
                    </a:lnTo>
                    <a:lnTo>
                      <a:pt x="4" y="6"/>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6" name="Freeform 1017"/>
              <p:cNvSpPr/>
              <p:nvPr/>
            </p:nvSpPr>
            <p:spPr bwMode="auto">
              <a:xfrm>
                <a:off x="6233119" y="3765611"/>
                <a:ext cx="40752" cy="17625"/>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4 w 36"/>
                  <a:gd name="T39" fmla="*/ 16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lnTo>
                      <a:pt x="4"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7" name="Freeform 1018"/>
              <p:cNvSpPr/>
              <p:nvPr/>
            </p:nvSpPr>
            <p:spPr bwMode="auto">
              <a:xfrm>
                <a:off x="6233119" y="3765611"/>
                <a:ext cx="40752" cy="17625"/>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8" name="Freeform 1019"/>
              <p:cNvSpPr/>
              <p:nvPr/>
            </p:nvSpPr>
            <p:spPr bwMode="auto">
              <a:xfrm>
                <a:off x="2756995" y="3227095"/>
                <a:ext cx="177271" cy="60705"/>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lnTo>
                      <a:pt x="114"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9" name="Freeform 1020"/>
              <p:cNvSpPr/>
              <p:nvPr/>
            </p:nvSpPr>
            <p:spPr bwMode="auto">
              <a:xfrm>
                <a:off x="2756995" y="3227095"/>
                <a:ext cx="177271" cy="60705"/>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0" name="Freeform 1021"/>
              <p:cNvSpPr/>
              <p:nvPr/>
            </p:nvSpPr>
            <p:spPr bwMode="auto">
              <a:xfrm>
                <a:off x="2783484" y="3250594"/>
                <a:ext cx="10187" cy="7833"/>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2"/>
                    </a:moveTo>
                    <a:lnTo>
                      <a:pt x="8" y="2"/>
                    </a:lnTo>
                    <a:lnTo>
                      <a:pt x="8" y="4"/>
                    </a:lnTo>
                    <a:lnTo>
                      <a:pt x="8" y="6"/>
                    </a:lnTo>
                    <a:lnTo>
                      <a:pt x="4" y="8"/>
                    </a:lnTo>
                    <a:lnTo>
                      <a:pt x="2" y="8"/>
                    </a:lnTo>
                    <a:lnTo>
                      <a:pt x="0" y="6"/>
                    </a:lnTo>
                    <a:lnTo>
                      <a:pt x="4" y="6"/>
                    </a:lnTo>
                    <a:lnTo>
                      <a:pt x="4" y="4"/>
                    </a:lnTo>
                    <a:lnTo>
                      <a:pt x="4" y="2"/>
                    </a:lnTo>
                    <a:lnTo>
                      <a:pt x="6" y="0"/>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1" name="Freeform 1022"/>
              <p:cNvSpPr/>
              <p:nvPr/>
            </p:nvSpPr>
            <p:spPr bwMode="auto">
              <a:xfrm>
                <a:off x="2783484" y="3250594"/>
                <a:ext cx="10187" cy="7833"/>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6" y="2"/>
                    </a:moveTo>
                    <a:lnTo>
                      <a:pt x="8" y="2"/>
                    </a:lnTo>
                    <a:lnTo>
                      <a:pt x="8" y="4"/>
                    </a:lnTo>
                    <a:lnTo>
                      <a:pt x="8" y="6"/>
                    </a:lnTo>
                    <a:lnTo>
                      <a:pt x="4" y="8"/>
                    </a:lnTo>
                    <a:lnTo>
                      <a:pt x="2" y="8"/>
                    </a:lnTo>
                    <a:lnTo>
                      <a:pt x="0" y="6"/>
                    </a:lnTo>
                    <a:lnTo>
                      <a:pt x="4" y="6"/>
                    </a:lnTo>
                    <a:lnTo>
                      <a:pt x="4" y="4"/>
                    </a:lnTo>
                    <a:lnTo>
                      <a:pt x="4" y="2"/>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2" name="Freeform 1023"/>
              <p:cNvSpPr/>
              <p:nvPr/>
            </p:nvSpPr>
            <p:spPr bwMode="auto">
              <a:xfrm>
                <a:off x="2858874" y="3238844"/>
                <a:ext cx="18339" cy="11749"/>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10 w 16"/>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lnTo>
                      <a:pt x="1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3" name="Freeform 1024"/>
              <p:cNvSpPr/>
              <p:nvPr/>
            </p:nvSpPr>
            <p:spPr bwMode="auto">
              <a:xfrm>
                <a:off x="2858874" y="3238844"/>
                <a:ext cx="18339" cy="11749"/>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4" name="Freeform 1025"/>
              <p:cNvSpPr/>
              <p:nvPr/>
            </p:nvSpPr>
            <p:spPr bwMode="auto">
              <a:xfrm>
                <a:off x="3093198" y="4721234"/>
                <a:ext cx="16301" cy="7833"/>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2 w 14"/>
                  <a:gd name="T27" fmla="*/ 2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5" name="Freeform 1026"/>
              <p:cNvSpPr/>
              <p:nvPr/>
            </p:nvSpPr>
            <p:spPr bwMode="auto">
              <a:xfrm>
                <a:off x="3093198" y="4721234"/>
                <a:ext cx="16301" cy="7833"/>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6" name="Freeform 1027"/>
              <p:cNvSpPr/>
              <p:nvPr/>
            </p:nvSpPr>
            <p:spPr bwMode="auto">
              <a:xfrm>
                <a:off x="4855710" y="3340673"/>
                <a:ext cx="4075" cy="3916"/>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2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2" y="4"/>
                    </a:moveTo>
                    <a:lnTo>
                      <a:pt x="4" y="4"/>
                    </a:lnTo>
                    <a:lnTo>
                      <a:pt x="4" y="2"/>
                    </a:lnTo>
                    <a:lnTo>
                      <a:pt x="2" y="2"/>
                    </a:lnTo>
                    <a:lnTo>
                      <a:pt x="2" y="0"/>
                    </a:lnTo>
                    <a:lnTo>
                      <a:pt x="0" y="0"/>
                    </a:lnTo>
                    <a:lnTo>
                      <a:pt x="0" y="2"/>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7" name="Freeform 1028"/>
              <p:cNvSpPr/>
              <p:nvPr/>
            </p:nvSpPr>
            <p:spPr bwMode="auto">
              <a:xfrm>
                <a:off x="4855710" y="3340673"/>
                <a:ext cx="4075" cy="3916"/>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4"/>
                    </a:moveTo>
                    <a:lnTo>
                      <a:pt x="4" y="4"/>
                    </a:lnTo>
                    <a:lnTo>
                      <a:pt x="4" y="2"/>
                    </a:lnTo>
                    <a:lnTo>
                      <a:pt x="2" y="2"/>
                    </a:lnTo>
                    <a:lnTo>
                      <a:pt x="2" y="0"/>
                    </a:lnTo>
                    <a:lnTo>
                      <a:pt x="0" y="0"/>
                    </a:lnTo>
                    <a:lnTo>
                      <a:pt x="0"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8" name="Rectangle 1029"/>
              <p:cNvSpPr>
                <a:spLocks noChangeArrowheads="1"/>
              </p:cNvSpPr>
              <p:nvPr/>
            </p:nvSpPr>
            <p:spPr bwMode="auto">
              <a:xfrm>
                <a:off x="4857748" y="3340673"/>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9" name="Rectangle 1030"/>
              <p:cNvSpPr>
                <a:spLocks noChangeArrowheads="1"/>
              </p:cNvSpPr>
              <p:nvPr/>
            </p:nvSpPr>
            <p:spPr bwMode="auto">
              <a:xfrm>
                <a:off x="4857748" y="3340673"/>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0" name="Freeform 1031"/>
              <p:cNvSpPr/>
              <p:nvPr/>
            </p:nvSpPr>
            <p:spPr bwMode="auto">
              <a:xfrm>
                <a:off x="4859785" y="3342631"/>
                <a:ext cx="2038" cy="1959"/>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2"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1" name="Freeform 1032"/>
              <p:cNvSpPr/>
              <p:nvPr/>
            </p:nvSpPr>
            <p:spPr bwMode="auto">
              <a:xfrm>
                <a:off x="4859785" y="3342631"/>
                <a:ext cx="2038" cy="1959"/>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2" name="Freeform 1033"/>
              <p:cNvSpPr/>
              <p:nvPr/>
            </p:nvSpPr>
            <p:spPr bwMode="auto">
              <a:xfrm>
                <a:off x="5664633" y="3236886"/>
                <a:ext cx="4075" cy="5875"/>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0" y="0"/>
                    </a:moveTo>
                    <a:lnTo>
                      <a:pt x="0" y="6"/>
                    </a:lnTo>
                    <a:lnTo>
                      <a:pt x="4" y="6"/>
                    </a:lnTo>
                    <a:lnTo>
                      <a:pt x="4" y="4"/>
                    </a:lnTo>
                    <a:lnTo>
                      <a:pt x="4" y="2"/>
                    </a:lnTo>
                    <a:lnTo>
                      <a:pt x="4" y="0"/>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3" name="Freeform 1034"/>
              <p:cNvSpPr/>
              <p:nvPr/>
            </p:nvSpPr>
            <p:spPr bwMode="auto">
              <a:xfrm>
                <a:off x="5664633" y="3236886"/>
                <a:ext cx="4075" cy="5875"/>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0" y="0"/>
                    </a:moveTo>
                    <a:lnTo>
                      <a:pt x="0" y="6"/>
                    </a:lnTo>
                    <a:lnTo>
                      <a:pt x="4" y="6"/>
                    </a:lnTo>
                    <a:lnTo>
                      <a:pt x="4" y="4"/>
                    </a:lnTo>
                    <a:lnTo>
                      <a:pt x="4" y="2"/>
                    </a:lnTo>
                    <a:lnTo>
                      <a:pt x="4"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4" name="Freeform 1035"/>
              <p:cNvSpPr/>
              <p:nvPr/>
            </p:nvSpPr>
            <p:spPr bwMode="auto">
              <a:xfrm>
                <a:off x="6879035" y="3969269"/>
                <a:ext cx="48902" cy="41124"/>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18 w 44"/>
                  <a:gd name="T101" fmla="*/ 20 h 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lnTo>
                      <a:pt x="18"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5" name="Freeform 1036"/>
              <p:cNvSpPr/>
              <p:nvPr/>
            </p:nvSpPr>
            <p:spPr bwMode="auto">
              <a:xfrm>
                <a:off x="6879035" y="3969269"/>
                <a:ext cx="48902" cy="41124"/>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6" name="Freeform 1037"/>
              <p:cNvSpPr/>
              <p:nvPr/>
            </p:nvSpPr>
            <p:spPr bwMode="auto">
              <a:xfrm>
                <a:off x="6929974" y="3981018"/>
                <a:ext cx="6113" cy="5875"/>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w 6"/>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6">
                    <a:moveTo>
                      <a:pt x="0" y="0"/>
                    </a:moveTo>
                    <a:lnTo>
                      <a:pt x="2" y="0"/>
                    </a:lnTo>
                    <a:lnTo>
                      <a:pt x="4" y="0"/>
                    </a:lnTo>
                    <a:lnTo>
                      <a:pt x="4" y="2"/>
                    </a:lnTo>
                    <a:lnTo>
                      <a:pt x="6" y="4"/>
                    </a:lnTo>
                    <a:lnTo>
                      <a:pt x="6" y="6"/>
                    </a:lnTo>
                    <a:lnTo>
                      <a:pt x="4" y="6"/>
                    </a:lnTo>
                    <a:lnTo>
                      <a:pt x="2" y="4"/>
                    </a:ln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7" name="Freeform 1038"/>
              <p:cNvSpPr/>
              <p:nvPr/>
            </p:nvSpPr>
            <p:spPr bwMode="auto">
              <a:xfrm>
                <a:off x="6929974" y="3981018"/>
                <a:ext cx="6113" cy="5875"/>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0" y="0"/>
                    </a:moveTo>
                    <a:lnTo>
                      <a:pt x="2" y="0"/>
                    </a:lnTo>
                    <a:lnTo>
                      <a:pt x="4" y="0"/>
                    </a:lnTo>
                    <a:lnTo>
                      <a:pt x="4" y="2"/>
                    </a:lnTo>
                    <a:lnTo>
                      <a:pt x="6" y="4"/>
                    </a:lnTo>
                    <a:lnTo>
                      <a:pt x="6" y="6"/>
                    </a:lnTo>
                    <a:lnTo>
                      <a:pt x="4" y="6"/>
                    </a:lnTo>
                    <a:lnTo>
                      <a:pt x="2" y="4"/>
                    </a:ln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8" name="Freeform 1039"/>
              <p:cNvSpPr/>
              <p:nvPr/>
            </p:nvSpPr>
            <p:spPr bwMode="auto">
              <a:xfrm>
                <a:off x="6942199" y="3992768"/>
                <a:ext cx="6113" cy="3916"/>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2 w 6"/>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0"/>
                    </a:moveTo>
                    <a:lnTo>
                      <a:pt x="0" y="0"/>
                    </a:lnTo>
                    <a:lnTo>
                      <a:pt x="4" y="0"/>
                    </a:lnTo>
                    <a:lnTo>
                      <a:pt x="6" y="0"/>
                    </a:lnTo>
                    <a:lnTo>
                      <a:pt x="6" y="2"/>
                    </a:lnTo>
                    <a:lnTo>
                      <a:pt x="6" y="4"/>
                    </a:lnTo>
                    <a:lnTo>
                      <a:pt x="4"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9" name="Freeform 1040"/>
              <p:cNvSpPr/>
              <p:nvPr/>
            </p:nvSpPr>
            <p:spPr bwMode="auto">
              <a:xfrm>
                <a:off x="6942199" y="3992768"/>
                <a:ext cx="6113" cy="3916"/>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0"/>
                    </a:moveTo>
                    <a:lnTo>
                      <a:pt x="0" y="0"/>
                    </a:lnTo>
                    <a:lnTo>
                      <a:pt x="4" y="0"/>
                    </a:lnTo>
                    <a:lnTo>
                      <a:pt x="6" y="0"/>
                    </a:lnTo>
                    <a:lnTo>
                      <a:pt x="6" y="2"/>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0" name="Freeform 1041"/>
              <p:cNvSpPr/>
              <p:nvPr/>
            </p:nvSpPr>
            <p:spPr bwMode="auto">
              <a:xfrm>
                <a:off x="2681605" y="3356339"/>
                <a:ext cx="101879" cy="50914"/>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92 w 92"/>
                  <a:gd name="T69" fmla="*/ 1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lnTo>
                      <a:pt x="92"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1" name="Freeform 1042"/>
              <p:cNvSpPr/>
              <p:nvPr/>
            </p:nvSpPr>
            <p:spPr bwMode="auto">
              <a:xfrm>
                <a:off x="2681605" y="3356339"/>
                <a:ext cx="101879" cy="50914"/>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2" name="Freeform 1043"/>
              <p:cNvSpPr/>
              <p:nvPr/>
            </p:nvSpPr>
            <p:spPr bwMode="auto">
              <a:xfrm>
                <a:off x="2818123" y="3626577"/>
                <a:ext cx="207834" cy="307444"/>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lnTo>
                      <a:pt x="9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3" name="Freeform 1044"/>
              <p:cNvSpPr/>
              <p:nvPr/>
            </p:nvSpPr>
            <p:spPr bwMode="auto">
              <a:xfrm>
                <a:off x="2818123" y="3626577"/>
                <a:ext cx="207834" cy="307444"/>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4" name="Freeform 1045"/>
              <p:cNvSpPr/>
              <p:nvPr/>
            </p:nvSpPr>
            <p:spPr bwMode="auto">
              <a:xfrm>
                <a:off x="2948528" y="3998643"/>
                <a:ext cx="326014" cy="656011"/>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lnTo>
                      <a:pt x="76" y="58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5" name="Freeform 1046"/>
              <p:cNvSpPr/>
              <p:nvPr/>
            </p:nvSpPr>
            <p:spPr bwMode="auto">
              <a:xfrm>
                <a:off x="2948528" y="3998643"/>
                <a:ext cx="326014" cy="656011"/>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6" name="Freeform 1047"/>
              <p:cNvSpPr/>
              <p:nvPr/>
            </p:nvSpPr>
            <p:spPr bwMode="auto">
              <a:xfrm>
                <a:off x="3027995" y="4664446"/>
                <a:ext cx="57052" cy="6658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w 51"/>
                  <a:gd name="T61" fmla="*/ 56 h 6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lnTo>
                      <a:pt x="0"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7" name="Freeform 1048"/>
              <p:cNvSpPr/>
              <p:nvPr/>
            </p:nvSpPr>
            <p:spPr bwMode="auto">
              <a:xfrm>
                <a:off x="3027995" y="4664446"/>
                <a:ext cx="57052" cy="6658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8" name="Freeform 1049"/>
              <p:cNvSpPr/>
              <p:nvPr/>
            </p:nvSpPr>
            <p:spPr bwMode="auto">
              <a:xfrm>
                <a:off x="3201189" y="3528664"/>
                <a:ext cx="69278" cy="6658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54 w 62"/>
                  <a:gd name="T87" fmla="*/ 54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lnTo>
                      <a:pt x="54" y="5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9" name="Freeform 1050"/>
              <p:cNvSpPr/>
              <p:nvPr/>
            </p:nvSpPr>
            <p:spPr bwMode="auto">
              <a:xfrm>
                <a:off x="3201189" y="3528664"/>
                <a:ext cx="69278" cy="6658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0" name="Freeform 1051"/>
              <p:cNvSpPr/>
              <p:nvPr/>
            </p:nvSpPr>
            <p:spPr bwMode="auto">
              <a:xfrm>
                <a:off x="4548035" y="2486879"/>
                <a:ext cx="160969" cy="135118"/>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4 w 146"/>
                  <a:gd name="T99" fmla="*/ 115 h 1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lnTo>
                      <a:pt x="4" y="1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1" name="Freeform 1052"/>
              <p:cNvSpPr/>
              <p:nvPr/>
            </p:nvSpPr>
            <p:spPr bwMode="auto">
              <a:xfrm>
                <a:off x="4548035" y="2486879"/>
                <a:ext cx="160969" cy="135118"/>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2" name="Freeform 1053"/>
              <p:cNvSpPr/>
              <p:nvPr/>
            </p:nvSpPr>
            <p:spPr bwMode="auto">
              <a:xfrm>
                <a:off x="4442080" y="2668995"/>
                <a:ext cx="91691" cy="450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78 w 82"/>
                  <a:gd name="T85" fmla="*/ 26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lnTo>
                      <a:pt x="78"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3" name="Freeform 1054"/>
              <p:cNvSpPr/>
              <p:nvPr/>
            </p:nvSpPr>
            <p:spPr bwMode="auto">
              <a:xfrm>
                <a:off x="4442080" y="2668995"/>
                <a:ext cx="91691" cy="450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4" name="Freeform 1055"/>
              <p:cNvSpPr/>
              <p:nvPr/>
            </p:nvSpPr>
            <p:spPr bwMode="auto">
              <a:xfrm>
                <a:off x="4321862" y="2723826"/>
                <a:ext cx="4075" cy="11749"/>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2 w 4"/>
                  <a:gd name="T13" fmla="*/ 1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0">
                    <a:moveTo>
                      <a:pt x="2" y="10"/>
                    </a:moveTo>
                    <a:lnTo>
                      <a:pt x="4" y="8"/>
                    </a:lnTo>
                    <a:lnTo>
                      <a:pt x="4" y="2"/>
                    </a:lnTo>
                    <a:lnTo>
                      <a:pt x="2" y="0"/>
                    </a:lnTo>
                    <a:lnTo>
                      <a:pt x="0" y="6"/>
                    </a:lnTo>
                    <a:lnTo>
                      <a:pt x="0" y="10"/>
                    </a:lnTo>
                    <a:lnTo>
                      <a:pt x="2"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5" name="Freeform 1056"/>
              <p:cNvSpPr/>
              <p:nvPr/>
            </p:nvSpPr>
            <p:spPr bwMode="auto">
              <a:xfrm>
                <a:off x="4321862" y="2723826"/>
                <a:ext cx="4075" cy="11749"/>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10">
                    <a:moveTo>
                      <a:pt x="2" y="10"/>
                    </a:moveTo>
                    <a:lnTo>
                      <a:pt x="4" y="8"/>
                    </a:lnTo>
                    <a:lnTo>
                      <a:pt x="4" y="2"/>
                    </a:lnTo>
                    <a:lnTo>
                      <a:pt x="2" y="0"/>
                    </a:lnTo>
                    <a:lnTo>
                      <a:pt x="0" y="6"/>
                    </a:lnTo>
                    <a:lnTo>
                      <a:pt x="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6" name="Freeform 1057"/>
              <p:cNvSpPr/>
              <p:nvPr/>
            </p:nvSpPr>
            <p:spPr bwMode="auto">
              <a:xfrm>
                <a:off x="4753831" y="2952941"/>
                <a:ext cx="114105" cy="101829"/>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48 w 104"/>
                  <a:gd name="T87" fmla="*/ 74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lnTo>
                      <a:pt x="48"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7" name="Freeform 1058"/>
              <p:cNvSpPr/>
              <p:nvPr/>
            </p:nvSpPr>
            <p:spPr bwMode="auto">
              <a:xfrm>
                <a:off x="4753831" y="2952941"/>
                <a:ext cx="114105" cy="101829"/>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8" name="Freeform 1059"/>
              <p:cNvSpPr/>
              <p:nvPr/>
            </p:nvSpPr>
            <p:spPr bwMode="auto">
              <a:xfrm>
                <a:off x="5167461" y="2929442"/>
                <a:ext cx="236360" cy="182116"/>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lnTo>
                      <a:pt x="6" y="1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9" name="Freeform 1060"/>
              <p:cNvSpPr/>
              <p:nvPr/>
            </p:nvSpPr>
            <p:spPr bwMode="auto">
              <a:xfrm>
                <a:off x="5167461" y="2929442"/>
                <a:ext cx="236360" cy="182116"/>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0" name="Freeform 1061"/>
              <p:cNvSpPr/>
              <p:nvPr/>
            </p:nvSpPr>
            <p:spPr bwMode="auto">
              <a:xfrm>
                <a:off x="5491437" y="3095892"/>
                <a:ext cx="132444" cy="72456"/>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lnTo>
                      <a:pt x="119"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1" name="Freeform 1062"/>
              <p:cNvSpPr/>
              <p:nvPr/>
            </p:nvSpPr>
            <p:spPr bwMode="auto">
              <a:xfrm>
                <a:off x="5491437" y="3095892"/>
                <a:ext cx="132444" cy="72456"/>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2" name="Freeform 1063"/>
              <p:cNvSpPr/>
              <p:nvPr/>
            </p:nvSpPr>
            <p:spPr bwMode="auto">
              <a:xfrm>
                <a:off x="5619806" y="3166389"/>
                <a:ext cx="77428" cy="103788"/>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lnTo>
                      <a:pt x="66" y="9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3" name="Freeform 1064"/>
              <p:cNvSpPr/>
              <p:nvPr/>
            </p:nvSpPr>
            <p:spPr bwMode="auto">
              <a:xfrm>
                <a:off x="5619806" y="3166389"/>
                <a:ext cx="77428" cy="103788"/>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4" name="Freeform 1065"/>
              <p:cNvSpPr/>
              <p:nvPr/>
            </p:nvSpPr>
            <p:spPr bwMode="auto">
              <a:xfrm>
                <a:off x="4175156" y="3417044"/>
                <a:ext cx="50940" cy="103788"/>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44 w 46"/>
                  <a:gd name="T93" fmla="*/ 12 h 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lnTo>
                      <a:pt x="44"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5" name="Freeform 1066"/>
              <p:cNvSpPr/>
              <p:nvPr/>
            </p:nvSpPr>
            <p:spPr bwMode="auto">
              <a:xfrm>
                <a:off x="4175156" y="3417044"/>
                <a:ext cx="50940" cy="103788"/>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6" name="Freeform 1067"/>
              <p:cNvSpPr/>
              <p:nvPr/>
            </p:nvSpPr>
            <p:spPr bwMode="auto">
              <a:xfrm>
                <a:off x="4307600" y="3589369"/>
                <a:ext cx="93729" cy="101829"/>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36 w 84"/>
                  <a:gd name="T101" fmla="*/ 92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lnTo>
                      <a:pt x="36" y="9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7" name="Freeform 1068"/>
              <p:cNvSpPr/>
              <p:nvPr/>
            </p:nvSpPr>
            <p:spPr bwMode="auto">
              <a:xfrm>
                <a:off x="4307600" y="3589369"/>
                <a:ext cx="93729" cy="101829"/>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8" name="Freeform 1069"/>
              <p:cNvSpPr/>
              <p:nvPr/>
            </p:nvSpPr>
            <p:spPr bwMode="auto">
              <a:xfrm>
                <a:off x="4711042" y="3375921"/>
                <a:ext cx="250623" cy="18994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lnTo>
                      <a:pt x="5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9" name="Freeform 1070"/>
              <p:cNvSpPr/>
              <p:nvPr/>
            </p:nvSpPr>
            <p:spPr bwMode="auto">
              <a:xfrm>
                <a:off x="4711042" y="3375921"/>
                <a:ext cx="250623" cy="18994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0" name="Freeform 1071"/>
              <p:cNvSpPr/>
              <p:nvPr/>
            </p:nvSpPr>
            <p:spPr bwMode="auto">
              <a:xfrm>
                <a:off x="4662140" y="3800860"/>
                <a:ext cx="175233" cy="287862"/>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lnTo>
                      <a:pt x="15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1" name="Freeform 1072"/>
              <p:cNvSpPr/>
              <p:nvPr/>
            </p:nvSpPr>
            <p:spPr bwMode="auto">
              <a:xfrm>
                <a:off x="4662140" y="3800860"/>
                <a:ext cx="175233" cy="287862"/>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2" name="Freeform 1073"/>
              <p:cNvSpPr/>
              <p:nvPr/>
            </p:nvSpPr>
            <p:spPr bwMode="auto">
              <a:xfrm>
                <a:off x="4906650" y="2900068"/>
                <a:ext cx="18338" cy="17625"/>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18 w 18"/>
                  <a:gd name="T25" fmla="*/ 1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lnTo>
                      <a:pt x="18"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3" name="Freeform 1074"/>
              <p:cNvSpPr/>
              <p:nvPr/>
            </p:nvSpPr>
            <p:spPr bwMode="auto">
              <a:xfrm>
                <a:off x="4906650" y="2900068"/>
                <a:ext cx="18338" cy="17625"/>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4" name="Freeform 1075"/>
              <p:cNvSpPr/>
              <p:nvPr/>
            </p:nvSpPr>
            <p:spPr bwMode="auto">
              <a:xfrm>
                <a:off x="4910725" y="2855029"/>
                <a:ext cx="87616" cy="72454"/>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20 w 80"/>
                  <a:gd name="T79" fmla="*/ 0 h 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5" name="Freeform 1076"/>
              <p:cNvSpPr/>
              <p:nvPr/>
            </p:nvSpPr>
            <p:spPr bwMode="auto">
              <a:xfrm>
                <a:off x="4910725" y="2855029"/>
                <a:ext cx="87616" cy="72454"/>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6" name="Freeform 1077"/>
              <p:cNvSpPr/>
              <p:nvPr/>
            </p:nvSpPr>
            <p:spPr bwMode="auto">
              <a:xfrm>
                <a:off x="4313712" y="3039104"/>
                <a:ext cx="264886" cy="254572"/>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lnTo>
                      <a:pt x="38" y="1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7" name="Freeform 1078"/>
              <p:cNvSpPr/>
              <p:nvPr/>
            </p:nvSpPr>
            <p:spPr bwMode="auto">
              <a:xfrm>
                <a:off x="4313712" y="3039104"/>
                <a:ext cx="264886" cy="254572"/>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8" name="Freeform 1079"/>
              <p:cNvSpPr/>
              <p:nvPr/>
            </p:nvSpPr>
            <p:spPr bwMode="auto">
              <a:xfrm>
                <a:off x="3963247" y="3193804"/>
                <a:ext cx="271000" cy="260447"/>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126 w 244"/>
                  <a:gd name="T109" fmla="*/ 12 h 23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lnTo>
                      <a:pt x="126"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9" name="Freeform 1080"/>
              <p:cNvSpPr/>
              <p:nvPr/>
            </p:nvSpPr>
            <p:spPr bwMode="auto">
              <a:xfrm>
                <a:off x="3963247" y="3193804"/>
                <a:ext cx="271000" cy="260447"/>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0" name="Freeform 1081"/>
              <p:cNvSpPr/>
              <p:nvPr/>
            </p:nvSpPr>
            <p:spPr bwMode="auto">
              <a:xfrm>
                <a:off x="3883781" y="3142890"/>
                <a:ext cx="138556" cy="123370"/>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54 w 126"/>
                  <a:gd name="T57" fmla="*/ 103 h 1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lnTo>
                      <a:pt x="54" y="10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1" name="Freeform 1082"/>
              <p:cNvSpPr/>
              <p:nvPr/>
            </p:nvSpPr>
            <p:spPr bwMode="auto">
              <a:xfrm>
                <a:off x="3883781" y="3142890"/>
                <a:ext cx="138556" cy="123370"/>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2" name="Freeform 1083"/>
              <p:cNvSpPr/>
              <p:nvPr/>
            </p:nvSpPr>
            <p:spPr bwMode="auto">
              <a:xfrm>
                <a:off x="4490982" y="3926187"/>
                <a:ext cx="158932" cy="164492"/>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w 142"/>
                  <a:gd name="T119" fmla="*/ 111 h 1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lnTo>
                      <a:pt x="0" y="11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3" name="Freeform 1084"/>
              <p:cNvSpPr/>
              <p:nvPr/>
            </p:nvSpPr>
            <p:spPr bwMode="auto">
              <a:xfrm>
                <a:off x="4490982" y="3926187"/>
                <a:ext cx="158932" cy="164492"/>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4" name="Freeform 1085"/>
              <p:cNvSpPr/>
              <p:nvPr/>
            </p:nvSpPr>
            <p:spPr bwMode="auto">
              <a:xfrm>
                <a:off x="4935176" y="2508419"/>
                <a:ext cx="674441" cy="362276"/>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lnTo>
                      <a:pt x="142" y="24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5" name="Freeform 1086"/>
              <p:cNvSpPr/>
              <p:nvPr/>
            </p:nvSpPr>
            <p:spPr bwMode="auto">
              <a:xfrm>
                <a:off x="4935176" y="2508419"/>
                <a:ext cx="674441" cy="362276"/>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6" name="Freeform 1087"/>
              <p:cNvSpPr/>
              <p:nvPr/>
            </p:nvSpPr>
            <p:spPr bwMode="auto">
              <a:xfrm>
                <a:off x="5894879" y="3605035"/>
                <a:ext cx="4075" cy="5875"/>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4 w 4"/>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6">
                    <a:moveTo>
                      <a:pt x="4" y="2"/>
                    </a:moveTo>
                    <a:lnTo>
                      <a:pt x="4" y="4"/>
                    </a:lnTo>
                    <a:lnTo>
                      <a:pt x="4" y="6"/>
                    </a:lnTo>
                    <a:lnTo>
                      <a:pt x="2" y="6"/>
                    </a:lnTo>
                    <a:lnTo>
                      <a:pt x="2" y="4"/>
                    </a:lnTo>
                    <a:lnTo>
                      <a:pt x="0" y="4"/>
                    </a:lnTo>
                    <a:lnTo>
                      <a:pt x="0" y="2"/>
                    </a:lnTo>
                    <a:lnTo>
                      <a:pt x="2" y="0"/>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7" name="Freeform 1088"/>
              <p:cNvSpPr/>
              <p:nvPr/>
            </p:nvSpPr>
            <p:spPr bwMode="auto">
              <a:xfrm>
                <a:off x="5894879" y="3605035"/>
                <a:ext cx="4075" cy="5875"/>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4" y="2"/>
                    </a:moveTo>
                    <a:lnTo>
                      <a:pt x="4" y="4"/>
                    </a:lnTo>
                    <a:lnTo>
                      <a:pt x="4" y="6"/>
                    </a:lnTo>
                    <a:lnTo>
                      <a:pt x="2" y="6"/>
                    </a:lnTo>
                    <a:lnTo>
                      <a:pt x="2" y="4"/>
                    </a:lnTo>
                    <a:lnTo>
                      <a:pt x="0" y="4"/>
                    </a:lnTo>
                    <a:lnTo>
                      <a:pt x="0" y="2"/>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8" name="Freeform 1089"/>
              <p:cNvSpPr/>
              <p:nvPr/>
            </p:nvSpPr>
            <p:spPr bwMode="auto">
              <a:xfrm>
                <a:off x="5744098" y="3532581"/>
                <a:ext cx="179308" cy="189949"/>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9" name="Freeform 1090"/>
              <p:cNvSpPr/>
              <p:nvPr/>
            </p:nvSpPr>
            <p:spPr bwMode="auto">
              <a:xfrm>
                <a:off x="5744098" y="3532581"/>
                <a:ext cx="179308" cy="189949"/>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0" name="Freeform 1091"/>
              <p:cNvSpPr/>
              <p:nvPr/>
            </p:nvSpPr>
            <p:spPr bwMode="auto">
              <a:xfrm>
                <a:off x="5752248" y="3577620"/>
                <a:ext cx="12226" cy="7833"/>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w 10"/>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8">
                    <a:moveTo>
                      <a:pt x="0" y="2"/>
                    </a:moveTo>
                    <a:lnTo>
                      <a:pt x="0" y="0"/>
                    </a:lnTo>
                    <a:lnTo>
                      <a:pt x="8" y="6"/>
                    </a:lnTo>
                    <a:lnTo>
                      <a:pt x="10" y="8"/>
                    </a:lnTo>
                    <a:lnTo>
                      <a:pt x="8"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1" name="Freeform 1092"/>
              <p:cNvSpPr/>
              <p:nvPr/>
            </p:nvSpPr>
            <p:spPr bwMode="auto">
              <a:xfrm>
                <a:off x="5752248" y="3577620"/>
                <a:ext cx="12226" cy="7833"/>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8">
                    <a:moveTo>
                      <a:pt x="0" y="2"/>
                    </a:moveTo>
                    <a:lnTo>
                      <a:pt x="0" y="0"/>
                    </a:lnTo>
                    <a:lnTo>
                      <a:pt x="8" y="6"/>
                    </a:lnTo>
                    <a:lnTo>
                      <a:pt x="10" y="8"/>
                    </a:lnTo>
                    <a:lnTo>
                      <a:pt x="8"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2" name="Freeform 1093"/>
              <p:cNvSpPr/>
              <p:nvPr/>
            </p:nvSpPr>
            <p:spPr bwMode="auto">
              <a:xfrm>
                <a:off x="5774662" y="3599161"/>
                <a:ext cx="14262" cy="15666"/>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2 w 12"/>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4">
                    <a:moveTo>
                      <a:pt x="2" y="2"/>
                    </a:moveTo>
                    <a:lnTo>
                      <a:pt x="0" y="2"/>
                    </a:lnTo>
                    <a:lnTo>
                      <a:pt x="4" y="0"/>
                    </a:lnTo>
                    <a:lnTo>
                      <a:pt x="12" y="8"/>
                    </a:lnTo>
                    <a:lnTo>
                      <a:pt x="12" y="12"/>
                    </a:lnTo>
                    <a:lnTo>
                      <a:pt x="12" y="14"/>
                    </a:lnTo>
                    <a:lnTo>
                      <a:pt x="10" y="14"/>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3" name="Freeform 1094"/>
              <p:cNvSpPr/>
              <p:nvPr/>
            </p:nvSpPr>
            <p:spPr bwMode="auto">
              <a:xfrm>
                <a:off x="5774662" y="3599161"/>
                <a:ext cx="14262" cy="15666"/>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4">
                    <a:moveTo>
                      <a:pt x="2" y="2"/>
                    </a:moveTo>
                    <a:lnTo>
                      <a:pt x="0" y="2"/>
                    </a:lnTo>
                    <a:lnTo>
                      <a:pt x="4" y="0"/>
                    </a:lnTo>
                    <a:lnTo>
                      <a:pt x="12" y="8"/>
                    </a:lnTo>
                    <a:lnTo>
                      <a:pt x="12" y="12"/>
                    </a:lnTo>
                    <a:lnTo>
                      <a:pt x="12" y="14"/>
                    </a:lnTo>
                    <a:lnTo>
                      <a:pt x="10" y="1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4" name="Freeform 1095"/>
              <p:cNvSpPr/>
              <p:nvPr/>
            </p:nvSpPr>
            <p:spPr bwMode="auto">
              <a:xfrm>
                <a:off x="5845977" y="3591328"/>
                <a:ext cx="6113" cy="3916"/>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4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4" y="4"/>
                    </a:moveTo>
                    <a:lnTo>
                      <a:pt x="2" y="4"/>
                    </a:lnTo>
                    <a:lnTo>
                      <a:pt x="0" y="2"/>
                    </a:lnTo>
                    <a:lnTo>
                      <a:pt x="0" y="0"/>
                    </a:lnTo>
                    <a:lnTo>
                      <a:pt x="2" y="0"/>
                    </a:lnTo>
                    <a:lnTo>
                      <a:pt x="4" y="0"/>
                    </a:lnTo>
                    <a:lnTo>
                      <a:pt x="6" y="0"/>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5" name="Freeform 1096"/>
              <p:cNvSpPr/>
              <p:nvPr/>
            </p:nvSpPr>
            <p:spPr bwMode="auto">
              <a:xfrm>
                <a:off x="5845977" y="3591328"/>
                <a:ext cx="6113" cy="3916"/>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4"/>
                    </a:moveTo>
                    <a:lnTo>
                      <a:pt x="2" y="4"/>
                    </a:lnTo>
                    <a:lnTo>
                      <a:pt x="0" y="2"/>
                    </a:lnTo>
                    <a:lnTo>
                      <a:pt x="0" y="0"/>
                    </a:lnTo>
                    <a:lnTo>
                      <a:pt x="2" y="0"/>
                    </a:lnTo>
                    <a:lnTo>
                      <a:pt x="4" y="0"/>
                    </a:lnTo>
                    <a:lnTo>
                      <a:pt x="6" y="0"/>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6" name="Freeform 1097"/>
              <p:cNvSpPr/>
              <p:nvPr/>
            </p:nvSpPr>
            <p:spPr bwMode="auto">
              <a:xfrm>
                <a:off x="5858203" y="3597202"/>
                <a:ext cx="6113" cy="7833"/>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0"/>
                    </a:moveTo>
                    <a:lnTo>
                      <a:pt x="2" y="0"/>
                    </a:lnTo>
                    <a:lnTo>
                      <a:pt x="6" y="2"/>
                    </a:lnTo>
                    <a:lnTo>
                      <a:pt x="6" y="4"/>
                    </a:lnTo>
                    <a:lnTo>
                      <a:pt x="6" y="6"/>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7" name="Freeform 1098"/>
              <p:cNvSpPr/>
              <p:nvPr/>
            </p:nvSpPr>
            <p:spPr bwMode="auto">
              <a:xfrm>
                <a:off x="5858203" y="3597202"/>
                <a:ext cx="6113" cy="7833"/>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2" y="0"/>
                    </a:lnTo>
                    <a:lnTo>
                      <a:pt x="6" y="2"/>
                    </a:lnTo>
                    <a:lnTo>
                      <a:pt x="6" y="4"/>
                    </a:lnTo>
                    <a:lnTo>
                      <a:pt x="6" y="6"/>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8" name="Freeform 1099"/>
              <p:cNvSpPr/>
              <p:nvPr/>
            </p:nvSpPr>
            <p:spPr bwMode="auto">
              <a:xfrm>
                <a:off x="5799113" y="3640284"/>
                <a:ext cx="12226" cy="15666"/>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2 w 10"/>
                  <a:gd name="T23" fmla="*/ 2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4">
                    <a:moveTo>
                      <a:pt x="2" y="2"/>
                    </a:moveTo>
                    <a:lnTo>
                      <a:pt x="4" y="0"/>
                    </a:lnTo>
                    <a:lnTo>
                      <a:pt x="6" y="2"/>
                    </a:lnTo>
                    <a:lnTo>
                      <a:pt x="8" y="8"/>
                    </a:lnTo>
                    <a:lnTo>
                      <a:pt x="10" y="12"/>
                    </a:lnTo>
                    <a:lnTo>
                      <a:pt x="8" y="14"/>
                    </a:lnTo>
                    <a:lnTo>
                      <a:pt x="6" y="12"/>
                    </a:lnTo>
                    <a:lnTo>
                      <a:pt x="4" y="12"/>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9" name="Freeform 1100"/>
              <p:cNvSpPr/>
              <p:nvPr/>
            </p:nvSpPr>
            <p:spPr bwMode="auto">
              <a:xfrm>
                <a:off x="5799113" y="3640284"/>
                <a:ext cx="12226" cy="15666"/>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4">
                    <a:moveTo>
                      <a:pt x="2" y="2"/>
                    </a:moveTo>
                    <a:lnTo>
                      <a:pt x="4" y="0"/>
                    </a:lnTo>
                    <a:lnTo>
                      <a:pt x="6" y="2"/>
                    </a:lnTo>
                    <a:lnTo>
                      <a:pt x="8" y="8"/>
                    </a:lnTo>
                    <a:lnTo>
                      <a:pt x="10" y="12"/>
                    </a:lnTo>
                    <a:lnTo>
                      <a:pt x="8" y="14"/>
                    </a:lnTo>
                    <a:lnTo>
                      <a:pt x="6" y="12"/>
                    </a:lnTo>
                    <a:lnTo>
                      <a:pt x="4" y="12"/>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0" name="Freeform 1101"/>
              <p:cNvSpPr/>
              <p:nvPr/>
            </p:nvSpPr>
            <p:spPr bwMode="auto">
              <a:xfrm>
                <a:off x="5894879" y="3630493"/>
                <a:ext cx="4075" cy="587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0"/>
                    </a:lnTo>
                    <a:lnTo>
                      <a:pt x="2" y="0"/>
                    </a:lnTo>
                    <a:lnTo>
                      <a:pt x="4" y="2"/>
                    </a:lnTo>
                    <a:lnTo>
                      <a:pt x="4" y="4"/>
                    </a:lnTo>
                    <a:lnTo>
                      <a:pt x="2" y="4"/>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1" name="Freeform 1102"/>
              <p:cNvSpPr/>
              <p:nvPr/>
            </p:nvSpPr>
            <p:spPr bwMode="auto">
              <a:xfrm>
                <a:off x="5894879" y="3630493"/>
                <a:ext cx="4075" cy="587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2"/>
                    </a:moveTo>
                    <a:lnTo>
                      <a:pt x="0" y="0"/>
                    </a:lnTo>
                    <a:lnTo>
                      <a:pt x="2" y="0"/>
                    </a:lnTo>
                    <a:lnTo>
                      <a:pt x="4" y="2"/>
                    </a:lnTo>
                    <a:lnTo>
                      <a:pt x="4" y="4"/>
                    </a:lnTo>
                    <a:lnTo>
                      <a:pt x="2" y="4"/>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2" name="Freeform 1103"/>
              <p:cNvSpPr/>
              <p:nvPr/>
            </p:nvSpPr>
            <p:spPr bwMode="auto">
              <a:xfrm>
                <a:off x="5909143" y="3652033"/>
                <a:ext cx="26488" cy="23499"/>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w 24"/>
                  <a:gd name="T49" fmla="*/ 6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3" name="Freeform 1104"/>
              <p:cNvSpPr/>
              <p:nvPr/>
            </p:nvSpPr>
            <p:spPr bwMode="auto">
              <a:xfrm>
                <a:off x="5909143" y="3652033"/>
                <a:ext cx="26488" cy="23499"/>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4" name="Freeform 1105"/>
              <p:cNvSpPr/>
              <p:nvPr/>
            </p:nvSpPr>
            <p:spPr bwMode="auto">
              <a:xfrm>
                <a:off x="5947857" y="3667699"/>
                <a:ext cx="12226" cy="9792"/>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2 w 10"/>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5" name="Freeform 1106"/>
              <p:cNvSpPr/>
              <p:nvPr/>
            </p:nvSpPr>
            <p:spPr bwMode="auto">
              <a:xfrm>
                <a:off x="5947857" y="3667699"/>
                <a:ext cx="12226" cy="9792"/>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6" name="Freeform 1107"/>
              <p:cNvSpPr/>
              <p:nvPr/>
            </p:nvSpPr>
            <p:spPr bwMode="auto">
              <a:xfrm>
                <a:off x="5911180" y="3726446"/>
                <a:ext cx="152820" cy="45040"/>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102 w 138"/>
                  <a:gd name="T123" fmla="*/ 33 h 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lnTo>
                      <a:pt x="102" y="3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7" name="Freeform 1108"/>
              <p:cNvSpPr/>
              <p:nvPr/>
            </p:nvSpPr>
            <p:spPr bwMode="auto">
              <a:xfrm>
                <a:off x="5911180" y="3726446"/>
                <a:ext cx="152820" cy="45040"/>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8" name="Freeform 1109"/>
              <p:cNvSpPr/>
              <p:nvPr/>
            </p:nvSpPr>
            <p:spPr bwMode="auto">
              <a:xfrm>
                <a:off x="6088451" y="3681407"/>
                <a:ext cx="4075" cy="13707"/>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4 w 4"/>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12">
                    <a:moveTo>
                      <a:pt x="4" y="0"/>
                    </a:moveTo>
                    <a:lnTo>
                      <a:pt x="4" y="8"/>
                    </a:lnTo>
                    <a:lnTo>
                      <a:pt x="4" y="10"/>
                    </a:lnTo>
                    <a:lnTo>
                      <a:pt x="2" y="12"/>
                    </a:lnTo>
                    <a:lnTo>
                      <a:pt x="0" y="4"/>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9" name="Freeform 1110"/>
              <p:cNvSpPr/>
              <p:nvPr/>
            </p:nvSpPr>
            <p:spPr bwMode="auto">
              <a:xfrm>
                <a:off x="6088451" y="3681407"/>
                <a:ext cx="4075" cy="13707"/>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2">
                    <a:moveTo>
                      <a:pt x="4" y="0"/>
                    </a:moveTo>
                    <a:lnTo>
                      <a:pt x="4" y="8"/>
                    </a:lnTo>
                    <a:lnTo>
                      <a:pt x="4" y="10"/>
                    </a:lnTo>
                    <a:lnTo>
                      <a:pt x="2" y="12"/>
                    </a:lnTo>
                    <a:lnTo>
                      <a:pt x="0"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0" name="Freeform 1112"/>
              <p:cNvSpPr/>
              <p:nvPr/>
            </p:nvSpPr>
            <p:spPr bwMode="auto">
              <a:xfrm>
                <a:off x="6249420" y="3751904"/>
                <a:ext cx="18339" cy="7833"/>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2 w 16"/>
                  <a:gd name="T25" fmla="*/ 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1" name="Freeform 1113"/>
              <p:cNvSpPr/>
              <p:nvPr/>
            </p:nvSpPr>
            <p:spPr bwMode="auto">
              <a:xfrm>
                <a:off x="6249420" y="3751904"/>
                <a:ext cx="18339" cy="7833"/>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2" name="Freeform 1114"/>
              <p:cNvSpPr/>
              <p:nvPr/>
            </p:nvSpPr>
            <p:spPr bwMode="auto">
              <a:xfrm>
                <a:off x="6200517" y="3800860"/>
                <a:ext cx="8150" cy="7833"/>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0" y="6"/>
                    </a:moveTo>
                    <a:lnTo>
                      <a:pt x="0" y="4"/>
                    </a:lnTo>
                    <a:lnTo>
                      <a:pt x="4" y="4"/>
                    </a:lnTo>
                    <a:lnTo>
                      <a:pt x="8" y="0"/>
                    </a:lnTo>
                    <a:lnTo>
                      <a:pt x="8" y="2"/>
                    </a:lnTo>
                    <a:lnTo>
                      <a:pt x="8" y="4"/>
                    </a:lnTo>
                    <a:lnTo>
                      <a:pt x="4" y="6"/>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3" name="Freeform 1115"/>
              <p:cNvSpPr/>
              <p:nvPr/>
            </p:nvSpPr>
            <p:spPr bwMode="auto">
              <a:xfrm>
                <a:off x="6200517" y="3800860"/>
                <a:ext cx="8150" cy="7833"/>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0" y="6"/>
                    </a:moveTo>
                    <a:lnTo>
                      <a:pt x="0" y="4"/>
                    </a:lnTo>
                    <a:lnTo>
                      <a:pt x="4" y="4"/>
                    </a:lnTo>
                    <a:lnTo>
                      <a:pt x="8" y="0"/>
                    </a:lnTo>
                    <a:lnTo>
                      <a:pt x="8" y="2"/>
                    </a:lnTo>
                    <a:lnTo>
                      <a:pt x="8" y="4"/>
                    </a:lnTo>
                    <a:lnTo>
                      <a:pt x="4" y="6"/>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4" name="Freeform 1116"/>
              <p:cNvSpPr/>
              <p:nvPr/>
            </p:nvSpPr>
            <p:spPr bwMode="auto">
              <a:xfrm>
                <a:off x="6227007" y="3759737"/>
                <a:ext cx="10187" cy="7833"/>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w 10"/>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6">
                    <a:moveTo>
                      <a:pt x="0" y="2"/>
                    </a:moveTo>
                    <a:lnTo>
                      <a:pt x="2" y="2"/>
                    </a:lnTo>
                    <a:lnTo>
                      <a:pt x="8" y="0"/>
                    </a:lnTo>
                    <a:lnTo>
                      <a:pt x="10" y="2"/>
                    </a:lnTo>
                    <a:lnTo>
                      <a:pt x="8" y="4"/>
                    </a:lnTo>
                    <a:lnTo>
                      <a:pt x="6" y="6"/>
                    </a:lnTo>
                    <a:lnTo>
                      <a:pt x="2"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5" name="Freeform 1117"/>
              <p:cNvSpPr/>
              <p:nvPr/>
            </p:nvSpPr>
            <p:spPr bwMode="auto">
              <a:xfrm>
                <a:off x="6227007" y="3759737"/>
                <a:ext cx="10187" cy="7833"/>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6">
                    <a:moveTo>
                      <a:pt x="0" y="2"/>
                    </a:moveTo>
                    <a:lnTo>
                      <a:pt x="2" y="2"/>
                    </a:lnTo>
                    <a:lnTo>
                      <a:pt x="8" y="0"/>
                    </a:lnTo>
                    <a:lnTo>
                      <a:pt x="10" y="2"/>
                    </a:lnTo>
                    <a:lnTo>
                      <a:pt x="8" y="4"/>
                    </a:lnTo>
                    <a:lnTo>
                      <a:pt x="6" y="6"/>
                    </a:lnTo>
                    <a:lnTo>
                      <a:pt x="2"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6" name="Freeform 1118"/>
              <p:cNvSpPr/>
              <p:nvPr/>
            </p:nvSpPr>
            <p:spPr bwMode="auto">
              <a:xfrm>
                <a:off x="6218856" y="3763654"/>
                <a:ext cx="4075" cy="3916"/>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4"/>
                    </a:moveTo>
                    <a:lnTo>
                      <a:pt x="0" y="2"/>
                    </a:lnTo>
                    <a:lnTo>
                      <a:pt x="4" y="0"/>
                    </a:lnTo>
                    <a:lnTo>
                      <a:pt x="4"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7" name="Freeform 1119"/>
              <p:cNvSpPr/>
              <p:nvPr/>
            </p:nvSpPr>
            <p:spPr bwMode="auto">
              <a:xfrm>
                <a:off x="6218856" y="3763654"/>
                <a:ext cx="4075" cy="3916"/>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4"/>
                    </a:moveTo>
                    <a:lnTo>
                      <a:pt x="0" y="2"/>
                    </a:lnTo>
                    <a:lnTo>
                      <a:pt x="4" y="0"/>
                    </a:lnTo>
                    <a:lnTo>
                      <a:pt x="4"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8" name="Freeform 1120"/>
              <p:cNvSpPr/>
              <p:nvPr/>
            </p:nvSpPr>
            <p:spPr bwMode="auto">
              <a:xfrm>
                <a:off x="6208668" y="3763654"/>
                <a:ext cx="8150" cy="5874"/>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w 6"/>
                  <a:gd name="T21" fmla="*/ 4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0" y="4"/>
                    </a:moveTo>
                    <a:lnTo>
                      <a:pt x="0" y="2"/>
                    </a:lnTo>
                    <a:lnTo>
                      <a:pt x="0" y="0"/>
                    </a:lnTo>
                    <a:lnTo>
                      <a:pt x="2" y="2"/>
                    </a:lnTo>
                    <a:lnTo>
                      <a:pt x="4" y="0"/>
                    </a:lnTo>
                    <a:lnTo>
                      <a:pt x="6" y="0"/>
                    </a:lnTo>
                    <a:lnTo>
                      <a:pt x="4" y="4"/>
                    </a:lnTo>
                    <a:lnTo>
                      <a:pt x="2" y="6"/>
                    </a:lnTo>
                    <a:lnTo>
                      <a:pt x="0" y="6"/>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9" name="Freeform 1121"/>
              <p:cNvSpPr/>
              <p:nvPr/>
            </p:nvSpPr>
            <p:spPr bwMode="auto">
              <a:xfrm>
                <a:off x="6208668" y="3763654"/>
                <a:ext cx="8150" cy="5874"/>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4"/>
                    </a:moveTo>
                    <a:lnTo>
                      <a:pt x="0" y="2"/>
                    </a:lnTo>
                    <a:lnTo>
                      <a:pt x="0" y="0"/>
                    </a:lnTo>
                    <a:lnTo>
                      <a:pt x="2" y="2"/>
                    </a:lnTo>
                    <a:lnTo>
                      <a:pt x="4" y="0"/>
                    </a:lnTo>
                    <a:lnTo>
                      <a:pt x="6" y="0"/>
                    </a:lnTo>
                    <a:lnTo>
                      <a:pt x="4" y="4"/>
                    </a:lnTo>
                    <a:lnTo>
                      <a:pt x="2" y="6"/>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0" name="Freeform 1122"/>
              <p:cNvSpPr/>
              <p:nvPr/>
            </p:nvSpPr>
            <p:spPr bwMode="auto">
              <a:xfrm>
                <a:off x="6149578" y="3759737"/>
                <a:ext cx="52977" cy="13707"/>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2 w 48"/>
                  <a:gd name="T59" fmla="*/ 6 h 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1" name="Freeform 1123"/>
              <p:cNvSpPr/>
              <p:nvPr/>
            </p:nvSpPr>
            <p:spPr bwMode="auto">
              <a:xfrm>
                <a:off x="6149578" y="3759737"/>
                <a:ext cx="52977" cy="13707"/>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2" name="Freeform 1124"/>
              <p:cNvSpPr/>
              <p:nvPr/>
            </p:nvSpPr>
            <p:spPr bwMode="auto">
              <a:xfrm>
                <a:off x="6139390" y="3781277"/>
                <a:ext cx="28526" cy="17625"/>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12 w 26"/>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3" name="Freeform 1125"/>
              <p:cNvSpPr/>
              <p:nvPr/>
            </p:nvSpPr>
            <p:spPr bwMode="auto">
              <a:xfrm>
                <a:off x="6139390" y="3781277"/>
                <a:ext cx="28526" cy="17625"/>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4" name="Freeform 1126"/>
              <p:cNvSpPr/>
              <p:nvPr/>
            </p:nvSpPr>
            <p:spPr bwMode="auto">
              <a:xfrm>
                <a:off x="6100676" y="3759737"/>
                <a:ext cx="40752" cy="15666"/>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4 w 36"/>
                  <a:gd name="T67" fmla="*/ 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5" name="Freeform 1127"/>
              <p:cNvSpPr/>
              <p:nvPr/>
            </p:nvSpPr>
            <p:spPr bwMode="auto">
              <a:xfrm>
                <a:off x="6100676" y="3759737"/>
                <a:ext cx="40752" cy="15666"/>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6" name="Freeform 1128"/>
              <p:cNvSpPr/>
              <p:nvPr/>
            </p:nvSpPr>
            <p:spPr bwMode="auto">
              <a:xfrm>
                <a:off x="6084376" y="3763654"/>
                <a:ext cx="14262" cy="9791"/>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2 w 12"/>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2" y="4"/>
                    </a:moveTo>
                    <a:lnTo>
                      <a:pt x="6" y="0"/>
                    </a:lnTo>
                    <a:lnTo>
                      <a:pt x="10" y="0"/>
                    </a:lnTo>
                    <a:lnTo>
                      <a:pt x="12" y="2"/>
                    </a:lnTo>
                    <a:lnTo>
                      <a:pt x="12" y="4"/>
                    </a:lnTo>
                    <a:lnTo>
                      <a:pt x="12" y="8"/>
                    </a:lnTo>
                    <a:lnTo>
                      <a:pt x="10" y="10"/>
                    </a:lnTo>
                    <a:lnTo>
                      <a:pt x="2" y="10"/>
                    </a:lnTo>
                    <a:lnTo>
                      <a:pt x="0" y="10"/>
                    </a:lnTo>
                    <a:lnTo>
                      <a:pt x="0" y="8"/>
                    </a:lnTo>
                    <a:lnTo>
                      <a:pt x="2" y="6"/>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7" name="Freeform 1129"/>
              <p:cNvSpPr/>
              <p:nvPr/>
            </p:nvSpPr>
            <p:spPr bwMode="auto">
              <a:xfrm>
                <a:off x="6084376" y="3763654"/>
                <a:ext cx="14262" cy="9791"/>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0">
                    <a:moveTo>
                      <a:pt x="2" y="4"/>
                    </a:moveTo>
                    <a:lnTo>
                      <a:pt x="6" y="0"/>
                    </a:lnTo>
                    <a:lnTo>
                      <a:pt x="10" y="0"/>
                    </a:lnTo>
                    <a:lnTo>
                      <a:pt x="12" y="2"/>
                    </a:lnTo>
                    <a:lnTo>
                      <a:pt x="12" y="4"/>
                    </a:lnTo>
                    <a:lnTo>
                      <a:pt x="12" y="8"/>
                    </a:lnTo>
                    <a:lnTo>
                      <a:pt x="10" y="10"/>
                    </a:lnTo>
                    <a:lnTo>
                      <a:pt x="2" y="10"/>
                    </a:lnTo>
                    <a:lnTo>
                      <a:pt x="0" y="10"/>
                    </a:lnTo>
                    <a:lnTo>
                      <a:pt x="0" y="8"/>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8" name="Freeform 1130"/>
              <p:cNvSpPr/>
              <p:nvPr/>
            </p:nvSpPr>
            <p:spPr bwMode="auto">
              <a:xfrm>
                <a:off x="6064000" y="3759737"/>
                <a:ext cx="16301" cy="11749"/>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6 w 16"/>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9" name="Freeform 1131"/>
              <p:cNvSpPr/>
              <p:nvPr/>
            </p:nvSpPr>
            <p:spPr bwMode="auto">
              <a:xfrm>
                <a:off x="6064000" y="3759737"/>
                <a:ext cx="16301" cy="11749"/>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0" name="Freeform 1132"/>
              <p:cNvSpPr/>
              <p:nvPr/>
            </p:nvSpPr>
            <p:spPr bwMode="auto">
              <a:xfrm>
                <a:off x="6033435" y="3740155"/>
                <a:ext cx="20376" cy="3916"/>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w 18"/>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4">
                    <a:moveTo>
                      <a:pt x="0" y="0"/>
                    </a:moveTo>
                    <a:lnTo>
                      <a:pt x="2" y="0"/>
                    </a:lnTo>
                    <a:lnTo>
                      <a:pt x="16" y="0"/>
                    </a:lnTo>
                    <a:lnTo>
                      <a:pt x="18" y="2"/>
                    </a:lnTo>
                    <a:lnTo>
                      <a:pt x="10"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1" name="Freeform 1133"/>
              <p:cNvSpPr/>
              <p:nvPr/>
            </p:nvSpPr>
            <p:spPr bwMode="auto">
              <a:xfrm>
                <a:off x="6033435" y="3740155"/>
                <a:ext cx="20376" cy="3916"/>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4">
                    <a:moveTo>
                      <a:pt x="0" y="0"/>
                    </a:moveTo>
                    <a:lnTo>
                      <a:pt x="2" y="0"/>
                    </a:lnTo>
                    <a:lnTo>
                      <a:pt x="16" y="0"/>
                    </a:lnTo>
                    <a:lnTo>
                      <a:pt x="18" y="2"/>
                    </a:lnTo>
                    <a:lnTo>
                      <a:pt x="10"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2" name="Freeform 1134"/>
              <p:cNvSpPr/>
              <p:nvPr/>
            </p:nvSpPr>
            <p:spPr bwMode="auto">
              <a:xfrm>
                <a:off x="6074187" y="3738196"/>
                <a:ext cx="6113" cy="3916"/>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3">
                    <a:moveTo>
                      <a:pt x="0" y="0"/>
                    </a:moveTo>
                    <a:lnTo>
                      <a:pt x="4" y="0"/>
                    </a:lnTo>
                    <a:lnTo>
                      <a:pt x="6" y="0"/>
                    </a:lnTo>
                    <a:lnTo>
                      <a:pt x="6" y="1"/>
                    </a:lnTo>
                    <a:lnTo>
                      <a:pt x="2" y="3"/>
                    </a:lnTo>
                    <a:lnTo>
                      <a:pt x="0" y="1"/>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3" name="Freeform 1135"/>
              <p:cNvSpPr/>
              <p:nvPr/>
            </p:nvSpPr>
            <p:spPr bwMode="auto">
              <a:xfrm>
                <a:off x="6074187" y="3738196"/>
                <a:ext cx="6113" cy="3916"/>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0" y="0"/>
                    </a:moveTo>
                    <a:lnTo>
                      <a:pt x="4" y="0"/>
                    </a:lnTo>
                    <a:lnTo>
                      <a:pt x="6" y="0"/>
                    </a:lnTo>
                    <a:lnTo>
                      <a:pt x="6" y="1"/>
                    </a:lnTo>
                    <a:lnTo>
                      <a:pt x="2" y="3"/>
                    </a:lnTo>
                    <a:lnTo>
                      <a:pt x="0" y="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4" name="Freeform 1136"/>
              <p:cNvSpPr/>
              <p:nvPr/>
            </p:nvSpPr>
            <p:spPr bwMode="auto">
              <a:xfrm>
                <a:off x="6324811" y="3626577"/>
                <a:ext cx="14262" cy="7833"/>
              </a:xfrm>
              <a:custGeom>
                <a:avLst/>
                <a:gdLst>
                  <a:gd name="T0" fmla="*/ 2 w 14"/>
                  <a:gd name="T1" fmla="*/ 0 h 6"/>
                  <a:gd name="T2" fmla="*/ 6 w 14"/>
                  <a:gd name="T3" fmla="*/ 0 h 6"/>
                  <a:gd name="T4" fmla="*/ 14 w 14"/>
                  <a:gd name="T5" fmla="*/ 4 h 6"/>
                  <a:gd name="T6" fmla="*/ 10 w 14"/>
                  <a:gd name="T7" fmla="*/ 4 h 6"/>
                  <a:gd name="T8" fmla="*/ 8 w 14"/>
                  <a:gd name="T9" fmla="*/ 6 h 6"/>
                  <a:gd name="T10" fmla="*/ 4 w 14"/>
                  <a:gd name="T11" fmla="*/ 4 h 6"/>
                  <a:gd name="T12" fmla="*/ 2 w 14"/>
                  <a:gd name="T13" fmla="*/ 4 h 6"/>
                  <a:gd name="T14" fmla="*/ 0 w 14"/>
                  <a:gd name="T15" fmla="*/ 2 h 6"/>
                  <a:gd name="T16" fmla="*/ 0 w 14"/>
                  <a:gd name="T17" fmla="*/ 0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
                    <a:moveTo>
                      <a:pt x="2" y="0"/>
                    </a:moveTo>
                    <a:lnTo>
                      <a:pt x="6" y="0"/>
                    </a:lnTo>
                    <a:lnTo>
                      <a:pt x="14" y="4"/>
                    </a:lnTo>
                    <a:lnTo>
                      <a:pt x="10" y="4"/>
                    </a:lnTo>
                    <a:lnTo>
                      <a:pt x="8" y="6"/>
                    </a:ln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5" name="Freeform 1137"/>
              <p:cNvSpPr/>
              <p:nvPr/>
            </p:nvSpPr>
            <p:spPr bwMode="auto">
              <a:xfrm>
                <a:off x="6324811" y="3626577"/>
                <a:ext cx="14262" cy="7833"/>
              </a:xfrm>
              <a:custGeom>
                <a:avLst/>
                <a:gdLst>
                  <a:gd name="T0" fmla="*/ 2 w 14"/>
                  <a:gd name="T1" fmla="*/ 0 h 6"/>
                  <a:gd name="T2" fmla="*/ 0 w 14"/>
                  <a:gd name="T3" fmla="*/ 0 h 6"/>
                  <a:gd name="T4" fmla="*/ 0 w 14"/>
                  <a:gd name="T5" fmla="*/ 0 h 6"/>
                  <a:gd name="T6" fmla="*/ 6 w 14"/>
                  <a:gd name="T7" fmla="*/ 0 h 6"/>
                  <a:gd name="T8" fmla="*/ 14 w 14"/>
                  <a:gd name="T9" fmla="*/ 4 h 6"/>
                  <a:gd name="T10" fmla="*/ 10 w 14"/>
                  <a:gd name="T11" fmla="*/ 4 h 6"/>
                  <a:gd name="T12" fmla="*/ 8 w 14"/>
                  <a:gd name="T13" fmla="*/ 6 h 6"/>
                  <a:gd name="T14" fmla="*/ 4 w 14"/>
                  <a:gd name="T15" fmla="*/ 4 h 6"/>
                  <a:gd name="T16" fmla="*/ 2 w 14"/>
                  <a:gd name="T17" fmla="*/ 4 h 6"/>
                  <a:gd name="T18" fmla="*/ 0 w 14"/>
                  <a:gd name="T19" fmla="*/ 2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6">
                    <a:moveTo>
                      <a:pt x="2" y="0"/>
                    </a:moveTo>
                    <a:lnTo>
                      <a:pt x="0" y="0"/>
                    </a:lnTo>
                    <a:lnTo>
                      <a:pt x="6" y="0"/>
                    </a:lnTo>
                    <a:lnTo>
                      <a:pt x="14" y="4"/>
                    </a:lnTo>
                    <a:lnTo>
                      <a:pt x="10" y="4"/>
                    </a:lnTo>
                    <a:lnTo>
                      <a:pt x="8" y="6"/>
                    </a:ln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6" name="Freeform 1138"/>
              <p:cNvSpPr/>
              <p:nvPr/>
            </p:nvSpPr>
            <p:spPr bwMode="auto">
              <a:xfrm>
                <a:off x="6330923" y="3640284"/>
                <a:ext cx="4075" cy="5875"/>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w 4"/>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0" y="2"/>
                    </a:moveTo>
                    <a:lnTo>
                      <a:pt x="2" y="0"/>
                    </a:lnTo>
                    <a:lnTo>
                      <a:pt x="4" y="2"/>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7" name="Freeform 1139"/>
              <p:cNvSpPr/>
              <p:nvPr/>
            </p:nvSpPr>
            <p:spPr bwMode="auto">
              <a:xfrm>
                <a:off x="6330923" y="3640284"/>
                <a:ext cx="4075" cy="5875"/>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2"/>
                    </a:moveTo>
                    <a:lnTo>
                      <a:pt x="2" y="0"/>
                    </a:lnTo>
                    <a:lnTo>
                      <a:pt x="4" y="2"/>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8" name="Freeform 1140"/>
              <p:cNvSpPr/>
              <p:nvPr/>
            </p:nvSpPr>
            <p:spPr bwMode="auto">
              <a:xfrm>
                <a:off x="6316661" y="3653992"/>
                <a:ext cx="8150" cy="5874"/>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w 8"/>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6">
                    <a:moveTo>
                      <a:pt x="0" y="2"/>
                    </a:moveTo>
                    <a:lnTo>
                      <a:pt x="2" y="2"/>
                    </a:lnTo>
                    <a:lnTo>
                      <a:pt x="6" y="0"/>
                    </a:lnTo>
                    <a:lnTo>
                      <a:pt x="8" y="0"/>
                    </a:lnTo>
                    <a:lnTo>
                      <a:pt x="8" y="2"/>
                    </a:lnTo>
                    <a:lnTo>
                      <a:pt x="8" y="4"/>
                    </a:lnTo>
                    <a:lnTo>
                      <a:pt x="6" y="6"/>
                    </a:lnTo>
                    <a:lnTo>
                      <a:pt x="4"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9" name="Freeform 1141"/>
              <p:cNvSpPr/>
              <p:nvPr/>
            </p:nvSpPr>
            <p:spPr bwMode="auto">
              <a:xfrm>
                <a:off x="6316661" y="3653992"/>
                <a:ext cx="8150" cy="5874"/>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0" y="2"/>
                    </a:moveTo>
                    <a:lnTo>
                      <a:pt x="2" y="2"/>
                    </a:lnTo>
                    <a:lnTo>
                      <a:pt x="6" y="0"/>
                    </a:lnTo>
                    <a:lnTo>
                      <a:pt x="8" y="0"/>
                    </a:lnTo>
                    <a:lnTo>
                      <a:pt x="8" y="2"/>
                    </a:lnTo>
                    <a:lnTo>
                      <a:pt x="8" y="4"/>
                    </a:lnTo>
                    <a:lnTo>
                      <a:pt x="6" y="6"/>
                    </a:lnTo>
                    <a:lnTo>
                      <a:pt x="4"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0" name="Freeform 1142"/>
              <p:cNvSpPr/>
              <p:nvPr/>
            </p:nvSpPr>
            <p:spPr bwMode="auto">
              <a:xfrm>
                <a:off x="6284059" y="3673574"/>
                <a:ext cx="48902" cy="17624"/>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w 44"/>
                  <a:gd name="T53" fmla="*/ 10 h 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1" name="Freeform 1143"/>
              <p:cNvSpPr/>
              <p:nvPr/>
            </p:nvSpPr>
            <p:spPr bwMode="auto">
              <a:xfrm>
                <a:off x="6284059" y="3673574"/>
                <a:ext cx="48902" cy="17624"/>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2" name="Freeform 1144"/>
              <p:cNvSpPr/>
              <p:nvPr/>
            </p:nvSpPr>
            <p:spPr bwMode="auto">
              <a:xfrm>
                <a:off x="6133278" y="3597202"/>
                <a:ext cx="103916" cy="12337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34 w 94"/>
                  <a:gd name="T115" fmla="*/ 6 h 1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lnTo>
                      <a:pt x="3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3" name="Freeform 1145"/>
              <p:cNvSpPr/>
              <p:nvPr/>
            </p:nvSpPr>
            <p:spPr bwMode="auto">
              <a:xfrm>
                <a:off x="6133278" y="3597202"/>
                <a:ext cx="103916" cy="12337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4" name="Freeform 1146"/>
              <p:cNvSpPr/>
              <p:nvPr/>
            </p:nvSpPr>
            <p:spPr bwMode="auto">
              <a:xfrm>
                <a:off x="6182180" y="3712739"/>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4" y="0"/>
                    </a:lnTo>
                    <a:lnTo>
                      <a:pt x="4" y="2"/>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5" name="Freeform 1147"/>
              <p:cNvSpPr/>
              <p:nvPr/>
            </p:nvSpPr>
            <p:spPr bwMode="auto">
              <a:xfrm>
                <a:off x="6182180" y="3712739"/>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0"/>
                    </a:lnTo>
                    <a:lnTo>
                      <a:pt x="4" y="0"/>
                    </a:lnTo>
                    <a:lnTo>
                      <a:pt x="4" y="2"/>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6" name="Freeform 1148"/>
              <p:cNvSpPr/>
              <p:nvPr/>
            </p:nvSpPr>
            <p:spPr bwMode="auto">
              <a:xfrm>
                <a:off x="6192367" y="3702948"/>
                <a:ext cx="6113" cy="13708"/>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w 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12">
                    <a:moveTo>
                      <a:pt x="0" y="2"/>
                    </a:moveTo>
                    <a:lnTo>
                      <a:pt x="2" y="2"/>
                    </a:lnTo>
                    <a:lnTo>
                      <a:pt x="4" y="0"/>
                    </a:lnTo>
                    <a:lnTo>
                      <a:pt x="6" y="0"/>
                    </a:lnTo>
                    <a:lnTo>
                      <a:pt x="6" y="4"/>
                    </a:lnTo>
                    <a:lnTo>
                      <a:pt x="4" y="12"/>
                    </a:lnTo>
                    <a:lnTo>
                      <a:pt x="4" y="10"/>
                    </a:lnTo>
                    <a:lnTo>
                      <a:pt x="2" y="12"/>
                    </a:lnTo>
                    <a:lnTo>
                      <a:pt x="0" y="10"/>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7" name="Freeform 1149"/>
              <p:cNvSpPr/>
              <p:nvPr/>
            </p:nvSpPr>
            <p:spPr bwMode="auto">
              <a:xfrm>
                <a:off x="6192367" y="3702948"/>
                <a:ext cx="6113" cy="13708"/>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2">
                    <a:moveTo>
                      <a:pt x="0" y="2"/>
                    </a:moveTo>
                    <a:lnTo>
                      <a:pt x="2" y="2"/>
                    </a:lnTo>
                    <a:lnTo>
                      <a:pt x="4" y="0"/>
                    </a:lnTo>
                    <a:lnTo>
                      <a:pt x="6" y="0"/>
                    </a:lnTo>
                    <a:lnTo>
                      <a:pt x="6" y="4"/>
                    </a:lnTo>
                    <a:lnTo>
                      <a:pt x="4" y="12"/>
                    </a:lnTo>
                    <a:lnTo>
                      <a:pt x="4" y="10"/>
                    </a:lnTo>
                    <a:lnTo>
                      <a:pt x="2" y="12"/>
                    </a:lnTo>
                    <a:lnTo>
                      <a:pt x="0" y="1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8" name="Freeform 1150"/>
              <p:cNvSpPr/>
              <p:nvPr/>
            </p:nvSpPr>
            <p:spPr bwMode="auto">
              <a:xfrm>
                <a:off x="6198481" y="3699031"/>
                <a:ext cx="6112" cy="21541"/>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w 6"/>
                  <a:gd name="T27" fmla="*/ 1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9" name="Freeform 1151"/>
              <p:cNvSpPr/>
              <p:nvPr/>
            </p:nvSpPr>
            <p:spPr bwMode="auto">
              <a:xfrm>
                <a:off x="6198481" y="3699031"/>
                <a:ext cx="6112" cy="21541"/>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0" name="Freeform 1152"/>
              <p:cNvSpPr/>
              <p:nvPr/>
            </p:nvSpPr>
            <p:spPr bwMode="auto">
              <a:xfrm>
                <a:off x="6202556" y="3691198"/>
                <a:ext cx="4075" cy="5875"/>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0" y="0"/>
                    </a:moveTo>
                    <a:lnTo>
                      <a:pt x="2" y="0"/>
                    </a:lnTo>
                    <a:lnTo>
                      <a:pt x="2" y="2"/>
                    </a:lnTo>
                    <a:lnTo>
                      <a:pt x="4" y="2"/>
                    </a:lnTo>
                    <a:lnTo>
                      <a:pt x="4"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1" name="Freeform 1153"/>
              <p:cNvSpPr/>
              <p:nvPr/>
            </p:nvSpPr>
            <p:spPr bwMode="auto">
              <a:xfrm>
                <a:off x="6202556" y="3691198"/>
                <a:ext cx="4075" cy="5875"/>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2"/>
                    </a:lnTo>
                    <a:lnTo>
                      <a:pt x="4"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2" name="Freeform 1154"/>
              <p:cNvSpPr/>
              <p:nvPr/>
            </p:nvSpPr>
            <p:spPr bwMode="auto">
              <a:xfrm>
                <a:off x="6200517" y="3644200"/>
                <a:ext cx="4075" cy="7833"/>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2" y="0"/>
                    </a:moveTo>
                    <a:lnTo>
                      <a:pt x="4" y="0"/>
                    </a:lnTo>
                    <a:lnTo>
                      <a:pt x="4" y="2"/>
                    </a:lnTo>
                    <a:lnTo>
                      <a:pt x="2" y="6"/>
                    </a:lnTo>
                    <a:lnTo>
                      <a:pt x="0" y="6"/>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3" name="Freeform 1155"/>
              <p:cNvSpPr/>
              <p:nvPr/>
            </p:nvSpPr>
            <p:spPr bwMode="auto">
              <a:xfrm>
                <a:off x="6200517" y="3644200"/>
                <a:ext cx="4075" cy="7833"/>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0"/>
                    </a:moveTo>
                    <a:lnTo>
                      <a:pt x="4" y="0"/>
                    </a:lnTo>
                    <a:lnTo>
                      <a:pt x="4" y="2"/>
                    </a:lnTo>
                    <a:lnTo>
                      <a:pt x="2" y="6"/>
                    </a:lnTo>
                    <a:lnTo>
                      <a:pt x="0" y="6"/>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4" name="Freeform 1156"/>
              <p:cNvSpPr/>
              <p:nvPr/>
            </p:nvSpPr>
            <p:spPr bwMode="auto">
              <a:xfrm>
                <a:off x="6204593" y="3646159"/>
                <a:ext cx="6113" cy="587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2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2"/>
                    </a:moveTo>
                    <a:lnTo>
                      <a:pt x="2" y="0"/>
                    </a:lnTo>
                    <a:lnTo>
                      <a:pt x="4" y="0"/>
                    </a:lnTo>
                    <a:lnTo>
                      <a:pt x="6" y="0"/>
                    </a:lnTo>
                    <a:lnTo>
                      <a:pt x="6" y="2"/>
                    </a:lnTo>
                    <a:lnTo>
                      <a:pt x="4" y="4"/>
                    </a:lnTo>
                    <a:lnTo>
                      <a:pt x="2"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5" name="Freeform 1157"/>
              <p:cNvSpPr/>
              <p:nvPr/>
            </p:nvSpPr>
            <p:spPr bwMode="auto">
              <a:xfrm>
                <a:off x="6204593" y="3646159"/>
                <a:ext cx="6113" cy="587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2"/>
                    </a:moveTo>
                    <a:lnTo>
                      <a:pt x="2" y="0"/>
                    </a:lnTo>
                    <a:lnTo>
                      <a:pt x="4" y="0"/>
                    </a:lnTo>
                    <a:lnTo>
                      <a:pt x="6" y="0"/>
                    </a:lnTo>
                    <a:lnTo>
                      <a:pt x="6" y="2"/>
                    </a:lnTo>
                    <a:lnTo>
                      <a:pt x="4" y="4"/>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6" name="Freeform 1158"/>
              <p:cNvSpPr/>
              <p:nvPr/>
            </p:nvSpPr>
            <p:spPr bwMode="auto">
              <a:xfrm>
                <a:off x="6224969" y="3653992"/>
                <a:ext cx="16301" cy="5874"/>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2 w 14"/>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7" name="Freeform 1159"/>
              <p:cNvSpPr/>
              <p:nvPr/>
            </p:nvSpPr>
            <p:spPr bwMode="auto">
              <a:xfrm>
                <a:off x="6224969" y="3653992"/>
                <a:ext cx="16301" cy="5874"/>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8" name="Freeform 1160"/>
              <p:cNvSpPr/>
              <p:nvPr/>
            </p:nvSpPr>
            <p:spPr bwMode="auto">
              <a:xfrm>
                <a:off x="6243307" y="3655950"/>
                <a:ext cx="14262" cy="1959"/>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w 1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
                    <a:moveTo>
                      <a:pt x="0" y="0"/>
                    </a:moveTo>
                    <a:lnTo>
                      <a:pt x="4" y="0"/>
                    </a:lnTo>
                    <a:lnTo>
                      <a:pt x="14" y="0"/>
                    </a:lnTo>
                    <a:lnTo>
                      <a:pt x="1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9" name="Freeform 1161"/>
              <p:cNvSpPr/>
              <p:nvPr/>
            </p:nvSpPr>
            <p:spPr bwMode="auto">
              <a:xfrm>
                <a:off x="6243307" y="3655950"/>
                <a:ext cx="14262" cy="1959"/>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0" y="0"/>
                    </a:moveTo>
                    <a:lnTo>
                      <a:pt x="4" y="0"/>
                    </a:lnTo>
                    <a:lnTo>
                      <a:pt x="14" y="0"/>
                    </a:lnTo>
                    <a:lnTo>
                      <a:pt x="12"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0" name="Freeform 1162"/>
              <p:cNvSpPr/>
              <p:nvPr/>
            </p:nvSpPr>
            <p:spPr bwMode="auto">
              <a:xfrm>
                <a:off x="6251458" y="3657909"/>
                <a:ext cx="2037" cy="9791"/>
              </a:xfrm>
              <a:custGeom>
                <a:avLst/>
                <a:gdLst>
                  <a:gd name="T0" fmla="*/ 0 w 2"/>
                  <a:gd name="T1" fmla="*/ 2 h 8"/>
                  <a:gd name="T2" fmla="*/ 0 w 2"/>
                  <a:gd name="T3" fmla="*/ 0 h 8"/>
                  <a:gd name="T4" fmla="*/ 2 w 2"/>
                  <a:gd name="T5" fmla="*/ 8 h 8"/>
                  <a:gd name="T6" fmla="*/ 0 w 2"/>
                  <a:gd name="T7" fmla="*/ 4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2"/>
                    </a:moveTo>
                    <a:lnTo>
                      <a:pt x="0" y="0"/>
                    </a:lnTo>
                    <a:lnTo>
                      <a:pt x="2" y="8"/>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1" name="Freeform 1163"/>
              <p:cNvSpPr/>
              <p:nvPr/>
            </p:nvSpPr>
            <p:spPr bwMode="auto">
              <a:xfrm>
                <a:off x="6251458" y="3657909"/>
                <a:ext cx="2037" cy="9791"/>
              </a:xfrm>
              <a:custGeom>
                <a:avLst/>
                <a:gdLst>
                  <a:gd name="T0" fmla="*/ 0 w 2"/>
                  <a:gd name="T1" fmla="*/ 2 h 8"/>
                  <a:gd name="T2" fmla="*/ 0 w 2"/>
                  <a:gd name="T3" fmla="*/ 0 h 8"/>
                  <a:gd name="T4" fmla="*/ 2 w 2"/>
                  <a:gd name="T5" fmla="*/ 8 h 8"/>
                  <a:gd name="T6" fmla="*/ 0 w 2"/>
                  <a:gd name="T7" fmla="*/ 4 h 8"/>
                  <a:gd name="T8" fmla="*/ 0 w 2"/>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0" y="2"/>
                    </a:moveTo>
                    <a:lnTo>
                      <a:pt x="0" y="0"/>
                    </a:lnTo>
                    <a:lnTo>
                      <a:pt x="2" y="8"/>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2" name="Freeform 1164"/>
              <p:cNvSpPr/>
              <p:nvPr/>
            </p:nvSpPr>
            <p:spPr bwMode="auto">
              <a:xfrm>
                <a:off x="6253495" y="3675532"/>
                <a:ext cx="20376" cy="13708"/>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2">
                    <a:moveTo>
                      <a:pt x="0" y="2"/>
                    </a:moveTo>
                    <a:lnTo>
                      <a:pt x="10" y="0"/>
                    </a:lnTo>
                    <a:lnTo>
                      <a:pt x="16" y="4"/>
                    </a:lnTo>
                    <a:lnTo>
                      <a:pt x="18" y="8"/>
                    </a:lnTo>
                    <a:lnTo>
                      <a:pt x="16" y="10"/>
                    </a:lnTo>
                    <a:lnTo>
                      <a:pt x="10" y="12"/>
                    </a:lnTo>
                    <a:lnTo>
                      <a:pt x="4" y="10"/>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3" name="Freeform 1165"/>
              <p:cNvSpPr/>
              <p:nvPr/>
            </p:nvSpPr>
            <p:spPr bwMode="auto">
              <a:xfrm>
                <a:off x="6253495" y="3675532"/>
                <a:ext cx="20376" cy="13708"/>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12">
                    <a:moveTo>
                      <a:pt x="0" y="2"/>
                    </a:moveTo>
                    <a:lnTo>
                      <a:pt x="10" y="0"/>
                    </a:lnTo>
                    <a:lnTo>
                      <a:pt x="16" y="4"/>
                    </a:lnTo>
                    <a:lnTo>
                      <a:pt x="18" y="8"/>
                    </a:lnTo>
                    <a:lnTo>
                      <a:pt x="16" y="10"/>
                    </a:lnTo>
                    <a:lnTo>
                      <a:pt x="10" y="12"/>
                    </a:lnTo>
                    <a:lnTo>
                      <a:pt x="4" y="10"/>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4" name="Freeform 1166"/>
              <p:cNvSpPr/>
              <p:nvPr/>
            </p:nvSpPr>
            <p:spPr bwMode="auto">
              <a:xfrm>
                <a:off x="6243307" y="3563913"/>
                <a:ext cx="4075" cy="5874"/>
              </a:xfrm>
              <a:custGeom>
                <a:avLst/>
                <a:gdLst>
                  <a:gd name="T0" fmla="*/ 0 w 4"/>
                  <a:gd name="T1" fmla="*/ 0 h 6"/>
                  <a:gd name="T2" fmla="*/ 2 w 4"/>
                  <a:gd name="T3" fmla="*/ 0 h 6"/>
                  <a:gd name="T4" fmla="*/ 4 w 4"/>
                  <a:gd name="T5" fmla="*/ 6 h 6"/>
                  <a:gd name="T6" fmla="*/ 2 w 4"/>
                  <a:gd name="T7" fmla="*/ 0 h 6"/>
                  <a:gd name="T8" fmla="*/ 0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0"/>
                    </a:moveTo>
                    <a:lnTo>
                      <a:pt x="2" y="0"/>
                    </a:lnTo>
                    <a:lnTo>
                      <a:pt x="4"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5" name="Freeform 1167"/>
              <p:cNvSpPr/>
              <p:nvPr/>
            </p:nvSpPr>
            <p:spPr bwMode="auto">
              <a:xfrm>
                <a:off x="6243307" y="3563913"/>
                <a:ext cx="4075" cy="5874"/>
              </a:xfrm>
              <a:custGeom>
                <a:avLst/>
                <a:gdLst>
                  <a:gd name="T0" fmla="*/ 0 w 4"/>
                  <a:gd name="T1" fmla="*/ 0 h 6"/>
                  <a:gd name="T2" fmla="*/ 2 w 4"/>
                  <a:gd name="T3" fmla="*/ 0 h 6"/>
                  <a:gd name="T4" fmla="*/ 4 w 4"/>
                  <a:gd name="T5" fmla="*/ 6 h 6"/>
                  <a:gd name="T6" fmla="*/ 2 w 4"/>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0" y="0"/>
                    </a:moveTo>
                    <a:lnTo>
                      <a:pt x="2" y="0"/>
                    </a:lnTo>
                    <a:lnTo>
                      <a:pt x="4"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6" name="Freeform 1168"/>
              <p:cNvSpPr/>
              <p:nvPr/>
            </p:nvSpPr>
            <p:spPr bwMode="auto">
              <a:xfrm>
                <a:off x="6265720" y="3550205"/>
                <a:ext cx="2038" cy="9792"/>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2" y="0"/>
                    </a:lnTo>
                    <a:lnTo>
                      <a:pt x="2" y="4"/>
                    </a:lnTo>
                    <a:lnTo>
                      <a:pt x="2" y="6"/>
                    </a:lnTo>
                    <a:lnTo>
                      <a:pt x="2" y="8"/>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7" name="Freeform 1169"/>
              <p:cNvSpPr/>
              <p:nvPr/>
            </p:nvSpPr>
            <p:spPr bwMode="auto">
              <a:xfrm>
                <a:off x="6265720" y="3550205"/>
                <a:ext cx="2038" cy="9792"/>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2" y="0"/>
                    </a:lnTo>
                    <a:lnTo>
                      <a:pt x="2" y="4"/>
                    </a:lnTo>
                    <a:lnTo>
                      <a:pt x="2" y="6"/>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8" name="Freeform 1170"/>
              <p:cNvSpPr/>
              <p:nvPr/>
            </p:nvSpPr>
            <p:spPr bwMode="auto">
              <a:xfrm>
                <a:off x="6288134" y="3581536"/>
                <a:ext cx="8150" cy="9792"/>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6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0"/>
                    </a:moveTo>
                    <a:lnTo>
                      <a:pt x="6" y="2"/>
                    </a:lnTo>
                    <a:lnTo>
                      <a:pt x="6" y="4"/>
                    </a:lnTo>
                    <a:lnTo>
                      <a:pt x="4" y="8"/>
                    </a:lnTo>
                    <a:lnTo>
                      <a:pt x="2" y="8"/>
                    </a:lnTo>
                    <a:lnTo>
                      <a:pt x="0" y="4"/>
                    </a:lnTo>
                    <a:lnTo>
                      <a:pt x="2"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9" name="Freeform 1171"/>
              <p:cNvSpPr/>
              <p:nvPr/>
            </p:nvSpPr>
            <p:spPr bwMode="auto">
              <a:xfrm>
                <a:off x="6288134" y="3581536"/>
                <a:ext cx="8150" cy="9792"/>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0"/>
                    </a:moveTo>
                    <a:lnTo>
                      <a:pt x="6" y="2"/>
                    </a:lnTo>
                    <a:lnTo>
                      <a:pt x="6" y="4"/>
                    </a:lnTo>
                    <a:lnTo>
                      <a:pt x="4" y="8"/>
                    </a:lnTo>
                    <a:lnTo>
                      <a:pt x="2" y="8"/>
                    </a:lnTo>
                    <a:lnTo>
                      <a:pt x="0" y="4"/>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0" name="Freeform 1172"/>
              <p:cNvSpPr/>
              <p:nvPr/>
            </p:nvSpPr>
            <p:spPr bwMode="auto">
              <a:xfrm>
                <a:off x="6275909" y="3589369"/>
                <a:ext cx="24451" cy="50914"/>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8 w 22"/>
                  <a:gd name="T79" fmla="*/ 0 h 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lnTo>
                      <a:pt x="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1" name="Freeform 1173"/>
              <p:cNvSpPr/>
              <p:nvPr/>
            </p:nvSpPr>
            <p:spPr bwMode="auto">
              <a:xfrm>
                <a:off x="6275909" y="3589369"/>
                <a:ext cx="24451" cy="50914"/>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2" name="Freeform 1174"/>
              <p:cNvSpPr/>
              <p:nvPr/>
            </p:nvSpPr>
            <p:spPr bwMode="auto">
              <a:xfrm>
                <a:off x="6275909" y="3630493"/>
                <a:ext cx="6112" cy="9791"/>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0" y="0"/>
                    </a:moveTo>
                    <a:lnTo>
                      <a:pt x="2" y="0"/>
                    </a:lnTo>
                    <a:lnTo>
                      <a:pt x="2" y="2"/>
                    </a:lnTo>
                    <a:lnTo>
                      <a:pt x="4" y="4"/>
                    </a:lnTo>
                    <a:lnTo>
                      <a:pt x="4" y="6"/>
                    </a:lnTo>
                    <a:lnTo>
                      <a:pt x="6" y="6"/>
                    </a:lnTo>
                    <a:lnTo>
                      <a:pt x="6" y="8"/>
                    </a:lnTo>
                    <a:lnTo>
                      <a:pt x="4" y="6"/>
                    </a:lnTo>
                    <a:lnTo>
                      <a:pt x="2" y="8"/>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3" name="Freeform 1175"/>
              <p:cNvSpPr/>
              <p:nvPr/>
            </p:nvSpPr>
            <p:spPr bwMode="auto">
              <a:xfrm>
                <a:off x="6275909" y="3630493"/>
                <a:ext cx="6112" cy="9791"/>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0" y="0"/>
                    </a:moveTo>
                    <a:lnTo>
                      <a:pt x="2" y="0"/>
                    </a:lnTo>
                    <a:lnTo>
                      <a:pt x="2" y="2"/>
                    </a:lnTo>
                    <a:lnTo>
                      <a:pt x="4" y="4"/>
                    </a:lnTo>
                    <a:lnTo>
                      <a:pt x="4" y="6"/>
                    </a:lnTo>
                    <a:lnTo>
                      <a:pt x="6" y="6"/>
                    </a:lnTo>
                    <a:lnTo>
                      <a:pt x="6" y="8"/>
                    </a:lnTo>
                    <a:lnTo>
                      <a:pt x="4" y="6"/>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4" name="Freeform 1176"/>
              <p:cNvSpPr/>
              <p:nvPr/>
            </p:nvSpPr>
            <p:spPr bwMode="auto">
              <a:xfrm>
                <a:off x="6275909" y="3650076"/>
                <a:ext cx="12226" cy="3916"/>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w 1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4">
                    <a:moveTo>
                      <a:pt x="0" y="0"/>
                    </a:moveTo>
                    <a:lnTo>
                      <a:pt x="4" y="0"/>
                    </a:lnTo>
                    <a:lnTo>
                      <a:pt x="10" y="2"/>
                    </a:lnTo>
                    <a:lnTo>
                      <a:pt x="12" y="2"/>
                    </a:lnTo>
                    <a:lnTo>
                      <a:pt x="10"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5" name="Freeform 1177"/>
              <p:cNvSpPr/>
              <p:nvPr/>
            </p:nvSpPr>
            <p:spPr bwMode="auto">
              <a:xfrm>
                <a:off x="6275909" y="3650076"/>
                <a:ext cx="12226" cy="3916"/>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4">
                    <a:moveTo>
                      <a:pt x="0" y="0"/>
                    </a:moveTo>
                    <a:lnTo>
                      <a:pt x="4" y="0"/>
                    </a:lnTo>
                    <a:lnTo>
                      <a:pt x="10" y="2"/>
                    </a:lnTo>
                    <a:lnTo>
                      <a:pt x="12" y="2"/>
                    </a:lnTo>
                    <a:lnTo>
                      <a:pt x="10"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6" name="Freeform 1178"/>
              <p:cNvSpPr/>
              <p:nvPr/>
            </p:nvSpPr>
            <p:spPr bwMode="auto">
              <a:xfrm>
                <a:off x="6284059" y="3685324"/>
                <a:ext cx="8150" cy="3916"/>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2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4"/>
                    </a:moveTo>
                    <a:lnTo>
                      <a:pt x="0" y="4"/>
                    </a:lnTo>
                    <a:lnTo>
                      <a:pt x="0" y="2"/>
                    </a:lnTo>
                    <a:lnTo>
                      <a:pt x="2" y="2"/>
                    </a:lnTo>
                    <a:lnTo>
                      <a:pt x="4" y="0"/>
                    </a:lnTo>
                    <a:lnTo>
                      <a:pt x="6" y="0"/>
                    </a:lnTo>
                    <a:lnTo>
                      <a:pt x="6" y="2"/>
                    </a:lnTo>
                    <a:lnTo>
                      <a:pt x="4"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7" name="Freeform 1179"/>
              <p:cNvSpPr/>
              <p:nvPr/>
            </p:nvSpPr>
            <p:spPr bwMode="auto">
              <a:xfrm>
                <a:off x="6284059" y="3685324"/>
                <a:ext cx="8150" cy="3916"/>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4"/>
                    </a:moveTo>
                    <a:lnTo>
                      <a:pt x="0" y="4"/>
                    </a:lnTo>
                    <a:lnTo>
                      <a:pt x="0" y="2"/>
                    </a:lnTo>
                    <a:lnTo>
                      <a:pt x="2" y="2"/>
                    </a:lnTo>
                    <a:lnTo>
                      <a:pt x="4" y="0"/>
                    </a:lnTo>
                    <a:lnTo>
                      <a:pt x="6" y="0"/>
                    </a:lnTo>
                    <a:lnTo>
                      <a:pt x="6" y="2"/>
                    </a:lnTo>
                    <a:lnTo>
                      <a:pt x="4"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8" name="Freeform 1180"/>
              <p:cNvSpPr/>
              <p:nvPr/>
            </p:nvSpPr>
            <p:spPr bwMode="auto">
              <a:xfrm>
                <a:off x="6408351" y="3638326"/>
                <a:ext cx="16301" cy="5874"/>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6">
                    <a:moveTo>
                      <a:pt x="0" y="0"/>
                    </a:moveTo>
                    <a:lnTo>
                      <a:pt x="4" y="0"/>
                    </a:lnTo>
                    <a:lnTo>
                      <a:pt x="6" y="0"/>
                    </a:lnTo>
                    <a:lnTo>
                      <a:pt x="8" y="2"/>
                    </a:lnTo>
                    <a:lnTo>
                      <a:pt x="14" y="6"/>
                    </a:lnTo>
                    <a:lnTo>
                      <a:pt x="12" y="6"/>
                    </a:lnTo>
                    <a:lnTo>
                      <a:pt x="10" y="6"/>
                    </a:lnTo>
                    <a:lnTo>
                      <a:pt x="8" y="6"/>
                    </a:lnTo>
                    <a:lnTo>
                      <a:pt x="8"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9" name="Freeform 1181"/>
              <p:cNvSpPr/>
              <p:nvPr/>
            </p:nvSpPr>
            <p:spPr bwMode="auto">
              <a:xfrm>
                <a:off x="6408351" y="3638326"/>
                <a:ext cx="16301" cy="5874"/>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
                    <a:moveTo>
                      <a:pt x="0" y="0"/>
                    </a:moveTo>
                    <a:lnTo>
                      <a:pt x="4" y="0"/>
                    </a:lnTo>
                    <a:lnTo>
                      <a:pt x="6" y="0"/>
                    </a:lnTo>
                    <a:lnTo>
                      <a:pt x="8" y="2"/>
                    </a:lnTo>
                    <a:lnTo>
                      <a:pt x="14" y="6"/>
                    </a:lnTo>
                    <a:lnTo>
                      <a:pt x="12" y="6"/>
                    </a:lnTo>
                    <a:lnTo>
                      <a:pt x="10" y="6"/>
                    </a:lnTo>
                    <a:lnTo>
                      <a:pt x="8" y="6"/>
                    </a:lnTo>
                    <a:lnTo>
                      <a:pt x="8"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0" name="Freeform 1182"/>
              <p:cNvSpPr/>
              <p:nvPr/>
            </p:nvSpPr>
            <p:spPr bwMode="auto">
              <a:xfrm>
                <a:off x="6410390" y="3652033"/>
                <a:ext cx="22413" cy="5875"/>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w 2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6">
                    <a:moveTo>
                      <a:pt x="0" y="2"/>
                    </a:moveTo>
                    <a:lnTo>
                      <a:pt x="0" y="0"/>
                    </a:lnTo>
                    <a:lnTo>
                      <a:pt x="18" y="2"/>
                    </a:lnTo>
                    <a:lnTo>
                      <a:pt x="20" y="4"/>
                    </a:lnTo>
                    <a:lnTo>
                      <a:pt x="20" y="6"/>
                    </a:lnTo>
                    <a:lnTo>
                      <a:pt x="10"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1" name="Freeform 1183"/>
              <p:cNvSpPr/>
              <p:nvPr/>
            </p:nvSpPr>
            <p:spPr bwMode="auto">
              <a:xfrm>
                <a:off x="6410390" y="3652033"/>
                <a:ext cx="22413" cy="5875"/>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6">
                    <a:moveTo>
                      <a:pt x="0" y="2"/>
                    </a:moveTo>
                    <a:lnTo>
                      <a:pt x="0" y="0"/>
                    </a:lnTo>
                    <a:lnTo>
                      <a:pt x="18" y="2"/>
                    </a:lnTo>
                    <a:lnTo>
                      <a:pt x="20" y="4"/>
                    </a:lnTo>
                    <a:lnTo>
                      <a:pt x="20" y="6"/>
                    </a:lnTo>
                    <a:lnTo>
                      <a:pt x="10"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2" name="Freeform 1184"/>
              <p:cNvSpPr/>
              <p:nvPr/>
            </p:nvSpPr>
            <p:spPr bwMode="auto">
              <a:xfrm>
                <a:off x="6369638" y="3714697"/>
                <a:ext cx="2037" cy="5875"/>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2" y="0"/>
                    </a:lnTo>
                    <a:lnTo>
                      <a:pt x="2" y="2"/>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3" name="Freeform 1185"/>
              <p:cNvSpPr/>
              <p:nvPr/>
            </p:nvSpPr>
            <p:spPr bwMode="auto">
              <a:xfrm>
                <a:off x="6369638" y="3714697"/>
                <a:ext cx="2037" cy="5875"/>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2" y="0"/>
                    </a:lnTo>
                    <a:lnTo>
                      <a:pt x="2" y="2"/>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4" name="Freeform 1186"/>
              <p:cNvSpPr/>
              <p:nvPr/>
            </p:nvSpPr>
            <p:spPr bwMode="auto">
              <a:xfrm>
                <a:off x="6390014" y="3716656"/>
                <a:ext cx="8150" cy="15666"/>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w 6"/>
                  <a:gd name="T25" fmla="*/ 6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14">
                    <a:moveTo>
                      <a:pt x="0" y="6"/>
                    </a:moveTo>
                    <a:lnTo>
                      <a:pt x="2" y="0"/>
                    </a:lnTo>
                    <a:lnTo>
                      <a:pt x="4" y="2"/>
                    </a:lnTo>
                    <a:lnTo>
                      <a:pt x="6" y="4"/>
                    </a:lnTo>
                    <a:lnTo>
                      <a:pt x="6" y="12"/>
                    </a:lnTo>
                    <a:lnTo>
                      <a:pt x="6" y="14"/>
                    </a:lnTo>
                    <a:lnTo>
                      <a:pt x="4" y="14"/>
                    </a:lnTo>
                    <a:lnTo>
                      <a:pt x="2" y="14"/>
                    </a:lnTo>
                    <a:lnTo>
                      <a:pt x="0" y="12"/>
                    </a:lnTo>
                    <a:lnTo>
                      <a:pt x="0" y="10"/>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5" name="Freeform 1187"/>
              <p:cNvSpPr/>
              <p:nvPr/>
            </p:nvSpPr>
            <p:spPr bwMode="auto">
              <a:xfrm>
                <a:off x="6390014" y="3716656"/>
                <a:ext cx="8150" cy="15666"/>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14">
                    <a:moveTo>
                      <a:pt x="0" y="6"/>
                    </a:moveTo>
                    <a:lnTo>
                      <a:pt x="2" y="0"/>
                    </a:lnTo>
                    <a:lnTo>
                      <a:pt x="4" y="2"/>
                    </a:lnTo>
                    <a:lnTo>
                      <a:pt x="6" y="4"/>
                    </a:lnTo>
                    <a:lnTo>
                      <a:pt x="6" y="12"/>
                    </a:lnTo>
                    <a:lnTo>
                      <a:pt x="6" y="14"/>
                    </a:lnTo>
                    <a:lnTo>
                      <a:pt x="4" y="14"/>
                    </a:lnTo>
                    <a:lnTo>
                      <a:pt x="2" y="14"/>
                    </a:lnTo>
                    <a:lnTo>
                      <a:pt x="0" y="12"/>
                    </a:lnTo>
                    <a:lnTo>
                      <a:pt x="0" y="10"/>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6" name="Freeform 1188"/>
              <p:cNvSpPr/>
              <p:nvPr/>
            </p:nvSpPr>
            <p:spPr bwMode="auto">
              <a:xfrm>
                <a:off x="6387976" y="3728405"/>
                <a:ext cx="8150" cy="5874"/>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2"/>
                    </a:moveTo>
                    <a:lnTo>
                      <a:pt x="0" y="0"/>
                    </a:lnTo>
                    <a:lnTo>
                      <a:pt x="2" y="2"/>
                    </a:lnTo>
                    <a:lnTo>
                      <a:pt x="4" y="4"/>
                    </a:lnTo>
                    <a:lnTo>
                      <a:pt x="6" y="4"/>
                    </a:lnTo>
                    <a:lnTo>
                      <a:pt x="6" y="6"/>
                    </a:lnTo>
                    <a:lnTo>
                      <a:pt x="4" y="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7" name="Freeform 1189"/>
              <p:cNvSpPr/>
              <p:nvPr/>
            </p:nvSpPr>
            <p:spPr bwMode="auto">
              <a:xfrm>
                <a:off x="6387976" y="3728405"/>
                <a:ext cx="8150" cy="5874"/>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2"/>
                    </a:moveTo>
                    <a:lnTo>
                      <a:pt x="0" y="0"/>
                    </a:lnTo>
                    <a:lnTo>
                      <a:pt x="2" y="2"/>
                    </a:lnTo>
                    <a:lnTo>
                      <a:pt x="4" y="4"/>
                    </a:lnTo>
                    <a:lnTo>
                      <a:pt x="6" y="4"/>
                    </a:lnTo>
                    <a:lnTo>
                      <a:pt x="6" y="6"/>
                    </a:lnTo>
                    <a:lnTo>
                      <a:pt x="4"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8" name="Freeform 1190"/>
              <p:cNvSpPr/>
              <p:nvPr/>
            </p:nvSpPr>
            <p:spPr bwMode="auto">
              <a:xfrm>
                <a:off x="6385939" y="3730363"/>
                <a:ext cx="8150" cy="9792"/>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2 w 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9" name="Freeform 1191"/>
              <p:cNvSpPr/>
              <p:nvPr/>
            </p:nvSpPr>
            <p:spPr bwMode="auto">
              <a:xfrm>
                <a:off x="6385939" y="3730363"/>
                <a:ext cx="8150" cy="9792"/>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0" name="Freeform 1192"/>
              <p:cNvSpPr/>
              <p:nvPr/>
            </p:nvSpPr>
            <p:spPr bwMode="auto">
              <a:xfrm>
                <a:off x="6337036" y="3744071"/>
                <a:ext cx="10187" cy="13707"/>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w 8"/>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2">
                    <a:moveTo>
                      <a:pt x="0" y="10"/>
                    </a:moveTo>
                    <a:lnTo>
                      <a:pt x="2" y="8"/>
                    </a:lnTo>
                    <a:lnTo>
                      <a:pt x="2" y="6"/>
                    </a:lnTo>
                    <a:lnTo>
                      <a:pt x="4" y="2"/>
                    </a:lnTo>
                    <a:lnTo>
                      <a:pt x="6" y="0"/>
                    </a:lnTo>
                    <a:lnTo>
                      <a:pt x="8" y="0"/>
                    </a:lnTo>
                    <a:lnTo>
                      <a:pt x="8" y="6"/>
                    </a:lnTo>
                    <a:lnTo>
                      <a:pt x="4" y="12"/>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1" name="Freeform 1193"/>
              <p:cNvSpPr/>
              <p:nvPr/>
            </p:nvSpPr>
            <p:spPr bwMode="auto">
              <a:xfrm>
                <a:off x="6337036" y="3744071"/>
                <a:ext cx="10187" cy="13707"/>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2">
                    <a:moveTo>
                      <a:pt x="0" y="10"/>
                    </a:moveTo>
                    <a:lnTo>
                      <a:pt x="2" y="8"/>
                    </a:lnTo>
                    <a:lnTo>
                      <a:pt x="2" y="6"/>
                    </a:lnTo>
                    <a:lnTo>
                      <a:pt x="4" y="2"/>
                    </a:lnTo>
                    <a:lnTo>
                      <a:pt x="6" y="0"/>
                    </a:lnTo>
                    <a:lnTo>
                      <a:pt x="8" y="0"/>
                    </a:lnTo>
                    <a:lnTo>
                      <a:pt x="8" y="6"/>
                    </a:lnTo>
                    <a:lnTo>
                      <a:pt x="4" y="12"/>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2" name="Freeform 1194"/>
              <p:cNvSpPr/>
              <p:nvPr/>
            </p:nvSpPr>
            <p:spPr bwMode="auto">
              <a:xfrm>
                <a:off x="6312585" y="3755821"/>
                <a:ext cx="4075" cy="3916"/>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0" y="0"/>
                    </a:lnTo>
                    <a:lnTo>
                      <a:pt x="2" y="0"/>
                    </a:lnTo>
                    <a:lnTo>
                      <a:pt x="2" y="2"/>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3" name="Freeform 1195"/>
              <p:cNvSpPr/>
              <p:nvPr/>
            </p:nvSpPr>
            <p:spPr bwMode="auto">
              <a:xfrm>
                <a:off x="6312585" y="3755821"/>
                <a:ext cx="4075" cy="3916"/>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0" y="0"/>
                    </a:lnTo>
                    <a:lnTo>
                      <a:pt x="2"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4" name="Freeform 1196"/>
              <p:cNvSpPr/>
              <p:nvPr/>
            </p:nvSpPr>
            <p:spPr bwMode="auto">
              <a:xfrm>
                <a:off x="6296285" y="3744071"/>
                <a:ext cx="2037" cy="3916"/>
              </a:xfrm>
              <a:custGeom>
                <a:avLst/>
                <a:gdLst>
                  <a:gd name="T0" fmla="*/ 0 w 2"/>
                  <a:gd name="T1" fmla="*/ 0 h 2"/>
                  <a:gd name="T2" fmla="*/ 2 w 2"/>
                  <a:gd name="T3" fmla="*/ 0 h 2"/>
                  <a:gd name="T4" fmla="*/ 0 w 2"/>
                  <a:gd name="T5" fmla="*/ 2 h 2"/>
                  <a:gd name="T6" fmla="*/ 0 w 2"/>
                  <a:gd name="T7" fmla="*/ 2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5" name="Freeform 1197"/>
              <p:cNvSpPr/>
              <p:nvPr/>
            </p:nvSpPr>
            <p:spPr bwMode="auto">
              <a:xfrm>
                <a:off x="6294247" y="3744071"/>
                <a:ext cx="4075" cy="3916"/>
              </a:xfrm>
              <a:custGeom>
                <a:avLst/>
                <a:gdLst>
                  <a:gd name="T0" fmla="*/ 2 w 4"/>
                  <a:gd name="T1" fmla="*/ 0 h 2"/>
                  <a:gd name="T2" fmla="*/ 0 w 4"/>
                  <a:gd name="T3" fmla="*/ 0 h 2"/>
                  <a:gd name="T4" fmla="*/ 0 w 4"/>
                  <a:gd name="T5" fmla="*/ 0 h 2"/>
                  <a:gd name="T6" fmla="*/ 4 w 4"/>
                  <a:gd name="T7" fmla="*/ 0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0"/>
                    </a:lnTo>
                    <a:lnTo>
                      <a:pt x="4"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6" name="Freeform 1198"/>
              <p:cNvSpPr/>
              <p:nvPr/>
            </p:nvSpPr>
            <p:spPr bwMode="auto">
              <a:xfrm>
                <a:off x="5483287" y="3460125"/>
                <a:ext cx="36677" cy="64623"/>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6 w 33"/>
                  <a:gd name="T57" fmla="*/ 0 h 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7" name="Freeform 1199"/>
              <p:cNvSpPr/>
              <p:nvPr/>
            </p:nvSpPr>
            <p:spPr bwMode="auto">
              <a:xfrm>
                <a:off x="5483287" y="3460125"/>
                <a:ext cx="36677" cy="64623"/>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8" name="Freeform 1200"/>
              <p:cNvSpPr/>
              <p:nvPr/>
            </p:nvSpPr>
            <p:spPr bwMode="auto">
              <a:xfrm>
                <a:off x="4385028" y="2737534"/>
                <a:ext cx="52977" cy="37206"/>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40 w 48"/>
                  <a:gd name="T121" fmla="*/ 0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lnTo>
                      <a:pt x="4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9" name="Freeform 1201"/>
              <p:cNvSpPr/>
              <p:nvPr/>
            </p:nvSpPr>
            <p:spPr bwMode="auto">
              <a:xfrm>
                <a:off x="4385028" y="2737534"/>
                <a:ext cx="52977" cy="37206"/>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0" name="Freeform 1202"/>
              <p:cNvSpPr/>
              <p:nvPr/>
            </p:nvSpPr>
            <p:spPr bwMode="auto">
              <a:xfrm>
                <a:off x="4505245" y="2845237"/>
                <a:ext cx="38715" cy="29374"/>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6 w 36"/>
                  <a:gd name="T47" fmla="*/ 27 h 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lnTo>
                      <a:pt x="6" y="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1" name="Freeform 1203"/>
              <p:cNvSpPr/>
              <p:nvPr/>
            </p:nvSpPr>
            <p:spPr bwMode="auto">
              <a:xfrm>
                <a:off x="4505245" y="2845237"/>
                <a:ext cx="38715" cy="29374"/>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2" name="Freeform 1204"/>
              <p:cNvSpPr/>
              <p:nvPr/>
            </p:nvSpPr>
            <p:spPr bwMode="auto">
              <a:xfrm>
                <a:off x="5823565" y="3238844"/>
                <a:ext cx="122255" cy="15078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lnTo>
                      <a:pt x="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3" name="Freeform 1205"/>
              <p:cNvSpPr/>
              <p:nvPr/>
            </p:nvSpPr>
            <p:spPr bwMode="auto">
              <a:xfrm>
                <a:off x="5823565" y="3238844"/>
                <a:ext cx="122255" cy="15078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4" name="Freeform 1206"/>
              <p:cNvSpPr/>
              <p:nvPr/>
            </p:nvSpPr>
            <p:spPr bwMode="auto">
              <a:xfrm>
                <a:off x="6224969" y="2831530"/>
                <a:ext cx="105955" cy="113578"/>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lnTo>
                      <a:pt x="62" y="8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5" name="Freeform 1207"/>
              <p:cNvSpPr/>
              <p:nvPr/>
            </p:nvSpPr>
            <p:spPr bwMode="auto">
              <a:xfrm>
                <a:off x="6224969" y="2831530"/>
                <a:ext cx="105955" cy="113578"/>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6" name="Freeform 1208"/>
              <p:cNvSpPr/>
              <p:nvPr/>
            </p:nvSpPr>
            <p:spPr bwMode="auto">
              <a:xfrm>
                <a:off x="5970271" y="3552163"/>
                <a:ext cx="165044" cy="144910"/>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lnTo>
                      <a:pt x="1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7" name="Freeform 1209"/>
              <p:cNvSpPr/>
              <p:nvPr/>
            </p:nvSpPr>
            <p:spPr bwMode="auto">
              <a:xfrm>
                <a:off x="5970271" y="3552163"/>
                <a:ext cx="165044" cy="144910"/>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8" name="Freeform 1210"/>
              <p:cNvSpPr/>
              <p:nvPr/>
            </p:nvSpPr>
            <p:spPr bwMode="auto">
              <a:xfrm>
                <a:off x="6334998" y="3630493"/>
                <a:ext cx="171157" cy="148827"/>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lnTo>
                      <a:pt x="154" y="13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9" name="Freeform 1211"/>
              <p:cNvSpPr/>
              <p:nvPr/>
            </p:nvSpPr>
            <p:spPr bwMode="auto">
              <a:xfrm>
                <a:off x="6334998" y="3630493"/>
                <a:ext cx="171157" cy="148827"/>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0" name="Freeform 1212"/>
              <p:cNvSpPr/>
              <p:nvPr/>
            </p:nvSpPr>
            <p:spPr bwMode="auto">
              <a:xfrm>
                <a:off x="4499133" y="2704243"/>
                <a:ext cx="156894" cy="109662"/>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lnTo>
                      <a:pt x="126" y="9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1" name="Freeform 1213"/>
              <p:cNvSpPr/>
              <p:nvPr/>
            </p:nvSpPr>
            <p:spPr bwMode="auto">
              <a:xfrm>
                <a:off x="4499133" y="2704243"/>
                <a:ext cx="156894" cy="109662"/>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2" name="Freeform 1214"/>
              <p:cNvSpPr/>
              <p:nvPr/>
            </p:nvSpPr>
            <p:spPr bwMode="auto">
              <a:xfrm>
                <a:off x="4525621" y="2410507"/>
                <a:ext cx="22414" cy="19582"/>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18 w 20"/>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3" name="Freeform 1215"/>
              <p:cNvSpPr/>
              <p:nvPr/>
            </p:nvSpPr>
            <p:spPr bwMode="auto">
              <a:xfrm>
                <a:off x="4525621" y="2410507"/>
                <a:ext cx="22414" cy="19582"/>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4" name="Freeform 1216"/>
              <p:cNvSpPr/>
              <p:nvPr/>
            </p:nvSpPr>
            <p:spPr bwMode="auto">
              <a:xfrm>
                <a:off x="4527659" y="2394841"/>
                <a:ext cx="14262" cy="9792"/>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6 w 14"/>
                  <a:gd name="T33" fmla="*/ 4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5" name="Freeform 1217"/>
              <p:cNvSpPr/>
              <p:nvPr/>
            </p:nvSpPr>
            <p:spPr bwMode="auto">
              <a:xfrm>
                <a:off x="4527659" y="2394841"/>
                <a:ext cx="14262" cy="9792"/>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6" name="Freeform 1218"/>
              <p:cNvSpPr/>
              <p:nvPr/>
            </p:nvSpPr>
            <p:spPr bwMode="auto">
              <a:xfrm>
                <a:off x="4552110" y="2373301"/>
                <a:ext cx="79465" cy="68538"/>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32 w 72"/>
                  <a:gd name="T77" fmla="*/ 2 h 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7" name="Freeform 1219"/>
              <p:cNvSpPr/>
              <p:nvPr/>
            </p:nvSpPr>
            <p:spPr bwMode="auto">
              <a:xfrm>
                <a:off x="4552110" y="2373301"/>
                <a:ext cx="79465" cy="68538"/>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8" name="Freeform 1220"/>
              <p:cNvSpPr/>
              <p:nvPr/>
            </p:nvSpPr>
            <p:spPr bwMode="auto">
              <a:xfrm>
                <a:off x="4262773" y="2524085"/>
                <a:ext cx="146706" cy="201700"/>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71 w 133"/>
                  <a:gd name="T111" fmla="*/ 24 h 1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lnTo>
                      <a:pt x="71"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9" name="Freeform 1221"/>
              <p:cNvSpPr/>
              <p:nvPr/>
            </p:nvSpPr>
            <p:spPr bwMode="auto">
              <a:xfrm>
                <a:off x="4262773" y="2524085"/>
                <a:ext cx="146706" cy="201700"/>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0" name="Freeform 1222"/>
              <p:cNvSpPr/>
              <p:nvPr/>
            </p:nvSpPr>
            <p:spPr bwMode="auto">
              <a:xfrm>
                <a:off x="4380953" y="2531918"/>
                <a:ext cx="6112" cy="9792"/>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6 w 6"/>
                  <a:gd name="T39" fmla="*/ 4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1" name="Freeform 1223"/>
              <p:cNvSpPr/>
              <p:nvPr/>
            </p:nvSpPr>
            <p:spPr bwMode="auto">
              <a:xfrm>
                <a:off x="4380953" y="2531918"/>
                <a:ext cx="6112" cy="9792"/>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2" name="Freeform 1224"/>
              <p:cNvSpPr/>
              <p:nvPr/>
            </p:nvSpPr>
            <p:spPr bwMode="auto">
              <a:xfrm>
                <a:off x="3121724" y="3330881"/>
                <a:ext cx="2037" cy="1959"/>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3" name="Freeform 1225"/>
              <p:cNvSpPr/>
              <p:nvPr/>
            </p:nvSpPr>
            <p:spPr bwMode="auto">
              <a:xfrm>
                <a:off x="3121724" y="3330881"/>
                <a:ext cx="2037" cy="1959"/>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4" name="Freeform 1226"/>
              <p:cNvSpPr/>
              <p:nvPr/>
            </p:nvSpPr>
            <p:spPr bwMode="auto">
              <a:xfrm>
                <a:off x="3152287" y="3389629"/>
                <a:ext cx="2038" cy="3916"/>
              </a:xfrm>
              <a:custGeom>
                <a:avLst/>
                <a:gdLst>
                  <a:gd name="T0" fmla="*/ 2 w 2"/>
                  <a:gd name="T1" fmla="*/ 0 h 4"/>
                  <a:gd name="T2" fmla="*/ 0 w 2"/>
                  <a:gd name="T3" fmla="*/ 4 h 4"/>
                  <a:gd name="T4" fmla="*/ 2 w 2"/>
                  <a:gd name="T5" fmla="*/ 4 h 4"/>
                  <a:gd name="T6" fmla="*/ 2 w 2"/>
                  <a:gd name="T7" fmla="*/ 2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5" name="Freeform 1227"/>
              <p:cNvSpPr/>
              <p:nvPr/>
            </p:nvSpPr>
            <p:spPr bwMode="auto">
              <a:xfrm>
                <a:off x="3152287" y="3389629"/>
                <a:ext cx="2038" cy="3916"/>
              </a:xfrm>
              <a:custGeom>
                <a:avLst/>
                <a:gdLst>
                  <a:gd name="T0" fmla="*/ 2 w 2"/>
                  <a:gd name="T1" fmla="*/ 0 h 4"/>
                  <a:gd name="T2" fmla="*/ 0 w 2"/>
                  <a:gd name="T3" fmla="*/ 4 h 4"/>
                  <a:gd name="T4" fmla="*/ 2 w 2"/>
                  <a:gd name="T5" fmla="*/ 4 h 4"/>
                  <a:gd name="T6" fmla="*/ 2 w 2"/>
                  <a:gd name="T7" fmla="*/ 2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6" name="Freeform 1228"/>
              <p:cNvSpPr/>
              <p:nvPr/>
            </p:nvSpPr>
            <p:spPr bwMode="auto">
              <a:xfrm>
                <a:off x="4368727" y="3536497"/>
                <a:ext cx="313788" cy="311360"/>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lnTo>
                      <a:pt x="274" y="20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7" name="Freeform 1229"/>
              <p:cNvSpPr/>
              <p:nvPr/>
            </p:nvSpPr>
            <p:spPr bwMode="auto">
              <a:xfrm>
                <a:off x="4368727" y="3536497"/>
                <a:ext cx="313788" cy="311360"/>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8" name="Freeform 1230"/>
              <p:cNvSpPr/>
              <p:nvPr/>
            </p:nvSpPr>
            <p:spPr bwMode="auto">
              <a:xfrm>
                <a:off x="2989280" y="2862862"/>
                <a:ext cx="8150" cy="3916"/>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0"/>
                    </a:moveTo>
                    <a:lnTo>
                      <a:pt x="2" y="2"/>
                    </a:lnTo>
                    <a:lnTo>
                      <a:pt x="0" y="4"/>
                    </a:lnTo>
                    <a:lnTo>
                      <a:pt x="2" y="4"/>
                    </a:lnTo>
                    <a:lnTo>
                      <a:pt x="6" y="4"/>
                    </a:lnTo>
                    <a:lnTo>
                      <a:pt x="6"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9" name="Freeform 1231"/>
              <p:cNvSpPr/>
              <p:nvPr/>
            </p:nvSpPr>
            <p:spPr bwMode="auto">
              <a:xfrm>
                <a:off x="2989280" y="2862862"/>
                <a:ext cx="8150" cy="3916"/>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0"/>
                    </a:moveTo>
                    <a:lnTo>
                      <a:pt x="2" y="2"/>
                    </a:lnTo>
                    <a:lnTo>
                      <a:pt x="0" y="4"/>
                    </a:lnTo>
                    <a:lnTo>
                      <a:pt x="2" y="4"/>
                    </a:lnTo>
                    <a:lnTo>
                      <a:pt x="6" y="4"/>
                    </a:lnTo>
                    <a:lnTo>
                      <a:pt x="6"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0" name="Freeform 1232"/>
              <p:cNvSpPr/>
              <p:nvPr/>
            </p:nvSpPr>
            <p:spPr bwMode="auto">
              <a:xfrm>
                <a:off x="2999469" y="2864819"/>
                <a:ext cx="6112" cy="5875"/>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2"/>
                    </a:moveTo>
                    <a:lnTo>
                      <a:pt x="2" y="2"/>
                    </a:lnTo>
                    <a:lnTo>
                      <a:pt x="0" y="2"/>
                    </a:lnTo>
                    <a:lnTo>
                      <a:pt x="2" y="4"/>
                    </a:lnTo>
                    <a:lnTo>
                      <a:pt x="4" y="4"/>
                    </a:lnTo>
                    <a:lnTo>
                      <a:pt x="6" y="2"/>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1" name="Freeform 1233"/>
              <p:cNvSpPr/>
              <p:nvPr/>
            </p:nvSpPr>
            <p:spPr bwMode="auto">
              <a:xfrm>
                <a:off x="2999469" y="2864819"/>
                <a:ext cx="6112" cy="5875"/>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2"/>
                    </a:moveTo>
                    <a:lnTo>
                      <a:pt x="2" y="2"/>
                    </a:lnTo>
                    <a:lnTo>
                      <a:pt x="0" y="2"/>
                    </a:lnTo>
                    <a:lnTo>
                      <a:pt x="2" y="4"/>
                    </a:lnTo>
                    <a:lnTo>
                      <a:pt x="4" y="4"/>
                    </a:lnTo>
                    <a:lnTo>
                      <a:pt x="6"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2" name="Freeform 1234"/>
              <p:cNvSpPr/>
              <p:nvPr/>
            </p:nvSpPr>
            <p:spPr bwMode="auto">
              <a:xfrm>
                <a:off x="2096817" y="2674870"/>
                <a:ext cx="957666" cy="516976"/>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863 w 865"/>
                  <a:gd name="T125" fmla="*/ 100 h 4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lnTo>
                      <a:pt x="863" y="10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3" name="Freeform 1235"/>
              <p:cNvSpPr/>
              <p:nvPr/>
            </p:nvSpPr>
            <p:spPr bwMode="auto">
              <a:xfrm>
                <a:off x="2096817" y="2674870"/>
                <a:ext cx="957666" cy="516976"/>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4" name="Freeform 1236"/>
              <p:cNvSpPr/>
              <p:nvPr/>
            </p:nvSpPr>
            <p:spPr bwMode="auto">
              <a:xfrm>
                <a:off x="2885364" y="2917692"/>
                <a:ext cx="2037" cy="1958"/>
              </a:xfrm>
              <a:custGeom>
                <a:avLst/>
                <a:gdLst>
                  <a:gd name="T0" fmla="*/ 0 w 2"/>
                  <a:gd name="T1" fmla="*/ 2 h 2"/>
                  <a:gd name="T2" fmla="*/ 0 w 2"/>
                  <a:gd name="T3" fmla="*/ 0 h 2"/>
                  <a:gd name="T4" fmla="*/ 0 w 2"/>
                  <a:gd name="T5" fmla="*/ 0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5" name="Freeform 1237"/>
              <p:cNvSpPr/>
              <p:nvPr/>
            </p:nvSpPr>
            <p:spPr bwMode="auto">
              <a:xfrm>
                <a:off x="1522217" y="3248635"/>
                <a:ext cx="8150" cy="5875"/>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4" y="0"/>
                    </a:lnTo>
                    <a:lnTo>
                      <a:pt x="6" y="2"/>
                    </a:lnTo>
                    <a:lnTo>
                      <a:pt x="2" y="6"/>
                    </a:lnTo>
                    <a:lnTo>
                      <a:pt x="0" y="4"/>
                    </a:lnTo>
                    <a:lnTo>
                      <a:pt x="0" y="2"/>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6" name="Freeform 1238"/>
              <p:cNvSpPr/>
              <p:nvPr/>
            </p:nvSpPr>
            <p:spPr bwMode="auto">
              <a:xfrm>
                <a:off x="1522217" y="3248635"/>
                <a:ext cx="8150" cy="5875"/>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6">
                    <a:moveTo>
                      <a:pt x="0" y="0"/>
                    </a:moveTo>
                    <a:lnTo>
                      <a:pt x="4" y="0"/>
                    </a:lnTo>
                    <a:lnTo>
                      <a:pt x="6" y="2"/>
                    </a:lnTo>
                    <a:lnTo>
                      <a:pt x="2" y="6"/>
                    </a:lnTo>
                    <a:lnTo>
                      <a:pt x="0" y="4"/>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7" name="Freeform 1239"/>
              <p:cNvSpPr/>
              <p:nvPr/>
            </p:nvSpPr>
            <p:spPr bwMode="auto">
              <a:xfrm>
                <a:off x="1546668" y="3258427"/>
                <a:ext cx="10189" cy="587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2 w 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4">
                    <a:moveTo>
                      <a:pt x="2" y="2"/>
                    </a:moveTo>
                    <a:lnTo>
                      <a:pt x="2" y="0"/>
                    </a:lnTo>
                    <a:lnTo>
                      <a:pt x="8" y="4"/>
                    </a:lnTo>
                    <a:lnTo>
                      <a:pt x="4" y="4"/>
                    </a:lnTo>
                    <a:lnTo>
                      <a:pt x="2" y="4"/>
                    </a:lnTo>
                    <a:lnTo>
                      <a:pt x="0" y="2"/>
                    </a:lnTo>
                    <a:lnTo>
                      <a:pt x="0" y="0"/>
                    </a:lnTo>
                    <a:lnTo>
                      <a:pt x="0" y="2"/>
                    </a:lnTo>
                    <a:lnTo>
                      <a:pt x="2" y="2"/>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8" name="Freeform 1240"/>
              <p:cNvSpPr/>
              <p:nvPr/>
            </p:nvSpPr>
            <p:spPr bwMode="auto">
              <a:xfrm>
                <a:off x="1546668" y="3258427"/>
                <a:ext cx="10189" cy="587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2" y="2"/>
                    </a:moveTo>
                    <a:lnTo>
                      <a:pt x="2" y="0"/>
                    </a:lnTo>
                    <a:lnTo>
                      <a:pt x="8" y="4"/>
                    </a:lnTo>
                    <a:lnTo>
                      <a:pt x="4" y="4"/>
                    </a:lnTo>
                    <a:lnTo>
                      <a:pt x="2" y="4"/>
                    </a:lnTo>
                    <a:lnTo>
                      <a:pt x="0" y="2"/>
                    </a:lnTo>
                    <a:lnTo>
                      <a:pt x="0" y="0"/>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9" name="Freeform 1241"/>
              <p:cNvSpPr/>
              <p:nvPr/>
            </p:nvSpPr>
            <p:spPr bwMode="auto">
              <a:xfrm>
                <a:off x="1562969" y="3266260"/>
                <a:ext cx="4075" cy="1958"/>
              </a:xfrm>
              <a:custGeom>
                <a:avLst/>
                <a:gdLst>
                  <a:gd name="T0" fmla="*/ 0 w 4"/>
                  <a:gd name="T1" fmla="*/ 0 h 2"/>
                  <a:gd name="T2" fmla="*/ 4 w 4"/>
                  <a:gd name="T3" fmla="*/ 0 h 2"/>
                  <a:gd name="T4" fmla="*/ 4 w 4"/>
                  <a:gd name="T5" fmla="*/ 2 h 2"/>
                  <a:gd name="T6" fmla="*/ 2 w 4"/>
                  <a:gd name="T7" fmla="*/ 2 h 2"/>
                  <a:gd name="T8" fmla="*/ 0 w 4"/>
                  <a:gd name="T9" fmla="*/ 2 h 2"/>
                  <a:gd name="T10" fmla="*/ 0 w 4"/>
                  <a:gd name="T11" fmla="*/ 2 h 2"/>
                  <a:gd name="T12" fmla="*/ 0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0" y="0"/>
                    </a:moveTo>
                    <a:lnTo>
                      <a:pt x="4" y="0"/>
                    </a:lnTo>
                    <a:lnTo>
                      <a:pt x="4" y="2"/>
                    </a:lnTo>
                    <a:lnTo>
                      <a:pt x="2" y="2"/>
                    </a:lnTo>
                    <a:lnTo>
                      <a:pt x="0" y="2"/>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0" name="Freeform 1242"/>
              <p:cNvSpPr/>
              <p:nvPr/>
            </p:nvSpPr>
            <p:spPr bwMode="auto">
              <a:xfrm>
                <a:off x="1562969" y="3266260"/>
                <a:ext cx="4075" cy="1958"/>
              </a:xfrm>
              <a:custGeom>
                <a:avLst/>
                <a:gdLst>
                  <a:gd name="T0" fmla="*/ 0 w 4"/>
                  <a:gd name="T1" fmla="*/ 0 h 2"/>
                  <a:gd name="T2" fmla="*/ 0 w 4"/>
                  <a:gd name="T3" fmla="*/ 2 h 2"/>
                  <a:gd name="T4" fmla="*/ 0 w 4"/>
                  <a:gd name="T5" fmla="*/ 2 h 2"/>
                  <a:gd name="T6" fmla="*/ 4 w 4"/>
                  <a:gd name="T7" fmla="*/ 0 h 2"/>
                  <a:gd name="T8" fmla="*/ 4 w 4"/>
                  <a:gd name="T9" fmla="*/ 2 h 2"/>
                  <a:gd name="T10" fmla="*/ 2 w 4"/>
                  <a:gd name="T11" fmla="*/ 2 h 2"/>
                  <a:gd name="T12" fmla="*/ 0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0" y="2"/>
                    </a:lnTo>
                    <a:lnTo>
                      <a:pt x="4" y="0"/>
                    </a:lnTo>
                    <a:lnTo>
                      <a:pt x="4" y="2"/>
                    </a:lnTo>
                    <a:lnTo>
                      <a:pt x="2" y="2"/>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1" name="Freeform 1243"/>
              <p:cNvSpPr/>
              <p:nvPr/>
            </p:nvSpPr>
            <p:spPr bwMode="auto">
              <a:xfrm>
                <a:off x="1569082" y="3270176"/>
                <a:ext cx="8150" cy="5874"/>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2 w 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2" y="0"/>
                    </a:moveTo>
                    <a:lnTo>
                      <a:pt x="4" y="0"/>
                    </a:lnTo>
                    <a:lnTo>
                      <a:pt x="8" y="4"/>
                    </a:lnTo>
                    <a:lnTo>
                      <a:pt x="6" y="6"/>
                    </a:lnTo>
                    <a:lnTo>
                      <a:pt x="4" y="6"/>
                    </a:lnTo>
                    <a:lnTo>
                      <a:pt x="2" y="2"/>
                    </a:lnTo>
                    <a:lnTo>
                      <a:pt x="0" y="2"/>
                    </a:lnTo>
                    <a:lnTo>
                      <a:pt x="0" y="0"/>
                    </a:lnTo>
                    <a:lnTo>
                      <a:pt x="2"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2" name="Freeform 1244"/>
              <p:cNvSpPr/>
              <p:nvPr/>
            </p:nvSpPr>
            <p:spPr bwMode="auto">
              <a:xfrm>
                <a:off x="1569082" y="3270176"/>
                <a:ext cx="8150" cy="5874"/>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2" y="0"/>
                    </a:moveTo>
                    <a:lnTo>
                      <a:pt x="4" y="0"/>
                    </a:lnTo>
                    <a:lnTo>
                      <a:pt x="8" y="4"/>
                    </a:lnTo>
                    <a:lnTo>
                      <a:pt x="6" y="6"/>
                    </a:lnTo>
                    <a:lnTo>
                      <a:pt x="4" y="6"/>
                    </a:lnTo>
                    <a:lnTo>
                      <a:pt x="2" y="2"/>
                    </a:lnTo>
                    <a:lnTo>
                      <a:pt x="0" y="2"/>
                    </a:lnTo>
                    <a:lnTo>
                      <a:pt x="0"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3" name="Freeform 1245"/>
              <p:cNvSpPr/>
              <p:nvPr/>
            </p:nvSpPr>
            <p:spPr bwMode="auto">
              <a:xfrm>
                <a:off x="1581308" y="3283883"/>
                <a:ext cx="18338" cy="21541"/>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w 18"/>
                  <a:gd name="T45" fmla="*/ 0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4" name="Freeform 1246"/>
              <p:cNvSpPr/>
              <p:nvPr/>
            </p:nvSpPr>
            <p:spPr bwMode="auto">
              <a:xfrm>
                <a:off x="1581308" y="3283883"/>
                <a:ext cx="18338" cy="21541"/>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5" name="Freeform 1247"/>
              <p:cNvSpPr/>
              <p:nvPr/>
            </p:nvSpPr>
            <p:spPr bwMode="auto">
              <a:xfrm>
                <a:off x="1565007" y="3270176"/>
                <a:ext cx="0" cy="3916"/>
              </a:xfrm>
              <a:custGeom>
                <a:avLst/>
                <a:gdLst>
                  <a:gd name="T0" fmla="*/ 0 w 1"/>
                  <a:gd name="T1" fmla="*/ 2 h 4"/>
                  <a:gd name="T2" fmla="*/ 0 w 1"/>
                  <a:gd name="T3" fmla="*/ 0 h 4"/>
                  <a:gd name="T4" fmla="*/ 0 w 1"/>
                  <a:gd name="T5" fmla="*/ 0 h 4"/>
                  <a:gd name="T6" fmla="*/ 0 w 1"/>
                  <a:gd name="T7" fmla="*/ 4 h 4"/>
                  <a:gd name="T8" fmla="*/ 0 w 1"/>
                  <a:gd name="T9" fmla="*/ 4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4">
                    <a:moveTo>
                      <a:pt x="0" y="2"/>
                    </a:moveTo>
                    <a:lnTo>
                      <a:pt x="0" y="0"/>
                    </a:lnTo>
                    <a:lnTo>
                      <a:pt x="0" y="4"/>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6" name="Freeform 1248"/>
              <p:cNvSpPr/>
              <p:nvPr/>
            </p:nvSpPr>
            <p:spPr bwMode="auto">
              <a:xfrm>
                <a:off x="1475353" y="2103063"/>
                <a:ext cx="8150" cy="9791"/>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0" y="0"/>
                    </a:moveTo>
                    <a:lnTo>
                      <a:pt x="2" y="2"/>
                    </a:lnTo>
                    <a:lnTo>
                      <a:pt x="2" y="0"/>
                    </a:lnTo>
                    <a:lnTo>
                      <a:pt x="4" y="0"/>
                    </a:lnTo>
                    <a:lnTo>
                      <a:pt x="4" y="2"/>
                    </a:lnTo>
                    <a:lnTo>
                      <a:pt x="6" y="8"/>
                    </a:lnTo>
                    <a:lnTo>
                      <a:pt x="2" y="8"/>
                    </a:lnTo>
                    <a:lnTo>
                      <a:pt x="0" y="6"/>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7" name="Freeform 1249"/>
              <p:cNvSpPr/>
              <p:nvPr/>
            </p:nvSpPr>
            <p:spPr bwMode="auto">
              <a:xfrm>
                <a:off x="1475353" y="2103063"/>
                <a:ext cx="8150" cy="9791"/>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0" y="0"/>
                    </a:moveTo>
                    <a:lnTo>
                      <a:pt x="2" y="2"/>
                    </a:lnTo>
                    <a:lnTo>
                      <a:pt x="2" y="0"/>
                    </a:lnTo>
                    <a:lnTo>
                      <a:pt x="4" y="0"/>
                    </a:lnTo>
                    <a:lnTo>
                      <a:pt x="4" y="2"/>
                    </a:lnTo>
                    <a:lnTo>
                      <a:pt x="6" y="8"/>
                    </a:lnTo>
                    <a:lnTo>
                      <a:pt x="2" y="8"/>
                    </a:lnTo>
                    <a:lnTo>
                      <a:pt x="0" y="6"/>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8" name="Freeform 1250"/>
              <p:cNvSpPr/>
              <p:nvPr/>
            </p:nvSpPr>
            <p:spPr bwMode="auto">
              <a:xfrm>
                <a:off x="7280439" y="2230348"/>
                <a:ext cx="52977" cy="27415"/>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32 w 48"/>
                  <a:gd name="T83" fmla="*/ 24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lnTo>
                      <a:pt x="3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9" name="Freeform 1251"/>
              <p:cNvSpPr/>
              <p:nvPr/>
            </p:nvSpPr>
            <p:spPr bwMode="auto">
              <a:xfrm>
                <a:off x="7280439" y="2230348"/>
                <a:ext cx="52977" cy="27415"/>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0" name="Freeform 1252"/>
              <p:cNvSpPr/>
              <p:nvPr/>
            </p:nvSpPr>
            <p:spPr bwMode="auto">
              <a:xfrm>
                <a:off x="1915472" y="2443798"/>
                <a:ext cx="16301" cy="41122"/>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10 w 14"/>
                  <a:gd name="T75" fmla="*/ 8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lnTo>
                      <a:pt x="1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1" name="Freeform 1253"/>
              <p:cNvSpPr/>
              <p:nvPr/>
            </p:nvSpPr>
            <p:spPr bwMode="auto">
              <a:xfrm>
                <a:off x="1915472" y="2443798"/>
                <a:ext cx="16301" cy="41122"/>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2" name="Freeform 1254"/>
              <p:cNvSpPr/>
              <p:nvPr/>
            </p:nvSpPr>
            <p:spPr bwMode="auto">
              <a:xfrm>
                <a:off x="1929735" y="2424215"/>
                <a:ext cx="14264" cy="35248"/>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2 w 14"/>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lnTo>
                      <a:pt x="2"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3" name="Freeform 1255"/>
              <p:cNvSpPr/>
              <p:nvPr/>
            </p:nvSpPr>
            <p:spPr bwMode="auto">
              <a:xfrm>
                <a:off x="1929735" y="2424215"/>
                <a:ext cx="14264" cy="35248"/>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4" name="Freeform 1256"/>
              <p:cNvSpPr/>
              <p:nvPr/>
            </p:nvSpPr>
            <p:spPr bwMode="auto">
              <a:xfrm>
                <a:off x="1935848" y="2463380"/>
                <a:ext cx="8150" cy="23499"/>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4 w 8"/>
                  <a:gd name="T47" fmla="*/ 8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lnTo>
                      <a:pt x="4"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5" name="Freeform 1257"/>
              <p:cNvSpPr/>
              <p:nvPr/>
            </p:nvSpPr>
            <p:spPr bwMode="auto">
              <a:xfrm>
                <a:off x="1935848" y="2463380"/>
                <a:ext cx="8150" cy="23499"/>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6" name="Freeform 1258"/>
              <p:cNvSpPr/>
              <p:nvPr/>
            </p:nvSpPr>
            <p:spPr bwMode="auto">
              <a:xfrm>
                <a:off x="1941960" y="2457505"/>
                <a:ext cx="16301" cy="19582"/>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4 w 14"/>
                  <a:gd name="T43" fmla="*/ 6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lnTo>
                      <a:pt x="4"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7" name="Freeform 1259"/>
              <p:cNvSpPr/>
              <p:nvPr/>
            </p:nvSpPr>
            <p:spPr bwMode="auto">
              <a:xfrm>
                <a:off x="1941960" y="2457505"/>
                <a:ext cx="16301" cy="19582"/>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8" name="Freeform 1260"/>
              <p:cNvSpPr/>
              <p:nvPr/>
            </p:nvSpPr>
            <p:spPr bwMode="auto">
              <a:xfrm>
                <a:off x="1960299" y="2465338"/>
                <a:ext cx="4075" cy="9792"/>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2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2" y="0"/>
                    </a:moveTo>
                    <a:lnTo>
                      <a:pt x="4" y="6"/>
                    </a:lnTo>
                    <a:lnTo>
                      <a:pt x="4" y="8"/>
                    </a:lnTo>
                    <a:lnTo>
                      <a:pt x="4" y="6"/>
                    </a:lnTo>
                    <a:lnTo>
                      <a:pt x="2" y="8"/>
                    </a:lnTo>
                    <a:lnTo>
                      <a:pt x="0" y="6"/>
                    </a:lnTo>
                    <a:lnTo>
                      <a:pt x="0"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9" name="Freeform 1261"/>
              <p:cNvSpPr/>
              <p:nvPr/>
            </p:nvSpPr>
            <p:spPr bwMode="auto">
              <a:xfrm>
                <a:off x="1960299" y="2465338"/>
                <a:ext cx="4075" cy="9792"/>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2" y="0"/>
                    </a:moveTo>
                    <a:lnTo>
                      <a:pt x="4" y="6"/>
                    </a:lnTo>
                    <a:lnTo>
                      <a:pt x="4" y="8"/>
                    </a:lnTo>
                    <a:lnTo>
                      <a:pt x="4" y="6"/>
                    </a:lnTo>
                    <a:lnTo>
                      <a:pt x="2" y="8"/>
                    </a:lnTo>
                    <a:lnTo>
                      <a:pt x="0" y="6"/>
                    </a:lnTo>
                    <a:lnTo>
                      <a:pt x="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0" name="Freeform 1262"/>
              <p:cNvSpPr/>
              <p:nvPr/>
            </p:nvSpPr>
            <p:spPr bwMode="auto">
              <a:xfrm>
                <a:off x="1958261" y="2477087"/>
                <a:ext cx="6113" cy="3916"/>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4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4" y="2"/>
                    </a:moveTo>
                    <a:lnTo>
                      <a:pt x="6" y="2"/>
                    </a:lnTo>
                    <a:lnTo>
                      <a:pt x="6" y="4"/>
                    </a:lnTo>
                    <a:lnTo>
                      <a:pt x="4" y="4"/>
                    </a:lnTo>
                    <a:lnTo>
                      <a:pt x="0" y="4"/>
                    </a:lnTo>
                    <a:lnTo>
                      <a:pt x="0" y="2"/>
                    </a:lnTo>
                    <a:lnTo>
                      <a:pt x="0" y="0"/>
                    </a:lnTo>
                    <a:lnTo>
                      <a:pt x="4" y="0"/>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1" name="Freeform 1263"/>
              <p:cNvSpPr/>
              <p:nvPr/>
            </p:nvSpPr>
            <p:spPr bwMode="auto">
              <a:xfrm>
                <a:off x="1958261" y="2477087"/>
                <a:ext cx="6113" cy="3916"/>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2"/>
                    </a:moveTo>
                    <a:lnTo>
                      <a:pt x="6" y="2"/>
                    </a:lnTo>
                    <a:lnTo>
                      <a:pt x="6" y="4"/>
                    </a:lnTo>
                    <a:lnTo>
                      <a:pt x="4" y="4"/>
                    </a:lnTo>
                    <a:lnTo>
                      <a:pt x="0" y="4"/>
                    </a:lnTo>
                    <a:lnTo>
                      <a:pt x="0" y="2"/>
                    </a:lnTo>
                    <a:lnTo>
                      <a:pt x="0" y="0"/>
                    </a:lnTo>
                    <a:lnTo>
                      <a:pt x="4"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2" name="Freeform 1264"/>
              <p:cNvSpPr/>
              <p:nvPr/>
            </p:nvSpPr>
            <p:spPr bwMode="auto">
              <a:xfrm>
                <a:off x="1970486" y="2477087"/>
                <a:ext cx="6113" cy="9792"/>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2 w 4"/>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8">
                    <a:moveTo>
                      <a:pt x="2" y="4"/>
                    </a:moveTo>
                    <a:lnTo>
                      <a:pt x="4" y="6"/>
                    </a:lnTo>
                    <a:lnTo>
                      <a:pt x="2" y="6"/>
                    </a:lnTo>
                    <a:lnTo>
                      <a:pt x="4" y="6"/>
                    </a:lnTo>
                    <a:lnTo>
                      <a:pt x="2" y="8"/>
                    </a:lnTo>
                    <a:lnTo>
                      <a:pt x="0" y="4"/>
                    </a:lnTo>
                    <a:lnTo>
                      <a:pt x="0" y="0"/>
                    </a:lnTo>
                    <a:lnTo>
                      <a:pt x="0" y="2"/>
                    </a:lnTo>
                    <a:lnTo>
                      <a:pt x="2" y="2"/>
                    </a:lnTo>
                    <a:lnTo>
                      <a:pt x="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3" name="Freeform 1265"/>
              <p:cNvSpPr/>
              <p:nvPr/>
            </p:nvSpPr>
            <p:spPr bwMode="auto">
              <a:xfrm>
                <a:off x="1970486" y="2477087"/>
                <a:ext cx="6113" cy="9792"/>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2" y="4"/>
                    </a:moveTo>
                    <a:lnTo>
                      <a:pt x="4" y="6"/>
                    </a:lnTo>
                    <a:lnTo>
                      <a:pt x="2" y="6"/>
                    </a:lnTo>
                    <a:lnTo>
                      <a:pt x="4" y="6"/>
                    </a:lnTo>
                    <a:lnTo>
                      <a:pt x="2" y="8"/>
                    </a:lnTo>
                    <a:lnTo>
                      <a:pt x="0" y="4"/>
                    </a:lnTo>
                    <a:lnTo>
                      <a:pt x="0" y="0"/>
                    </a:lnTo>
                    <a:lnTo>
                      <a:pt x="0" y="2"/>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4" name="Freeform 1266"/>
              <p:cNvSpPr/>
              <p:nvPr/>
            </p:nvSpPr>
            <p:spPr bwMode="auto">
              <a:xfrm>
                <a:off x="1903247" y="2418340"/>
                <a:ext cx="24451" cy="29374"/>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20 w 22"/>
                  <a:gd name="T89" fmla="*/ 8 h 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lnTo>
                      <a:pt x="2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5" name="Freeform 1267"/>
              <p:cNvSpPr/>
              <p:nvPr/>
            </p:nvSpPr>
            <p:spPr bwMode="auto">
              <a:xfrm>
                <a:off x="1903247" y="2418340"/>
                <a:ext cx="24451" cy="29374"/>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6" name="Freeform 1268"/>
              <p:cNvSpPr/>
              <p:nvPr/>
            </p:nvSpPr>
            <p:spPr bwMode="auto">
              <a:xfrm>
                <a:off x="1946035" y="2479046"/>
                <a:ext cx="30564" cy="50914"/>
              </a:xfrm>
              <a:custGeom>
                <a:avLst/>
                <a:gdLst>
                  <a:gd name="T0" fmla="*/ 16 w 26"/>
                  <a:gd name="T1" fmla="*/ 12 h 44"/>
                  <a:gd name="T2" fmla="*/ 18 w 26"/>
                  <a:gd name="T3" fmla="*/ 18 h 44"/>
                  <a:gd name="T4" fmla="*/ 20 w 26"/>
                  <a:gd name="T5" fmla="*/ 18 h 44"/>
                  <a:gd name="T6" fmla="*/ 18 w 26"/>
                  <a:gd name="T7" fmla="*/ 20 h 44"/>
                  <a:gd name="T8" fmla="*/ 20 w 26"/>
                  <a:gd name="T9" fmla="*/ 24 h 44"/>
                  <a:gd name="T10" fmla="*/ 22 w 26"/>
                  <a:gd name="T11" fmla="*/ 26 h 44"/>
                  <a:gd name="T12" fmla="*/ 24 w 26"/>
                  <a:gd name="T13" fmla="*/ 30 h 44"/>
                  <a:gd name="T14" fmla="*/ 24 w 26"/>
                  <a:gd name="T15" fmla="*/ 30 h 44"/>
                  <a:gd name="T16" fmla="*/ 26 w 26"/>
                  <a:gd name="T17" fmla="*/ 34 h 44"/>
                  <a:gd name="T18" fmla="*/ 24 w 26"/>
                  <a:gd name="T19" fmla="*/ 38 h 44"/>
                  <a:gd name="T20" fmla="*/ 26 w 26"/>
                  <a:gd name="T21" fmla="*/ 38 h 44"/>
                  <a:gd name="T22" fmla="*/ 26 w 26"/>
                  <a:gd name="T23" fmla="*/ 44 h 44"/>
                  <a:gd name="T24" fmla="*/ 22 w 26"/>
                  <a:gd name="T25" fmla="*/ 44 h 44"/>
                  <a:gd name="T26" fmla="*/ 20 w 26"/>
                  <a:gd name="T27" fmla="*/ 38 h 44"/>
                  <a:gd name="T28" fmla="*/ 18 w 26"/>
                  <a:gd name="T29" fmla="*/ 34 h 44"/>
                  <a:gd name="T30" fmla="*/ 14 w 26"/>
                  <a:gd name="T31" fmla="*/ 30 h 44"/>
                  <a:gd name="T32" fmla="*/ 12 w 26"/>
                  <a:gd name="T33" fmla="*/ 28 h 44"/>
                  <a:gd name="T34" fmla="*/ 12 w 26"/>
                  <a:gd name="T35" fmla="*/ 26 h 44"/>
                  <a:gd name="T36" fmla="*/ 12 w 26"/>
                  <a:gd name="T37" fmla="*/ 22 h 44"/>
                  <a:gd name="T38" fmla="*/ 10 w 26"/>
                  <a:gd name="T39" fmla="*/ 20 h 44"/>
                  <a:gd name="T40" fmla="*/ 6 w 26"/>
                  <a:gd name="T41" fmla="*/ 20 h 44"/>
                  <a:gd name="T42" fmla="*/ 8 w 26"/>
                  <a:gd name="T43" fmla="*/ 16 h 44"/>
                  <a:gd name="T44" fmla="*/ 6 w 26"/>
                  <a:gd name="T45" fmla="*/ 6 h 44"/>
                  <a:gd name="T46" fmla="*/ 4 w 26"/>
                  <a:gd name="T47" fmla="*/ 10 h 44"/>
                  <a:gd name="T48" fmla="*/ 0 w 26"/>
                  <a:gd name="T49" fmla="*/ 12 h 44"/>
                  <a:gd name="T50" fmla="*/ 4 w 26"/>
                  <a:gd name="T51" fmla="*/ 4 h 44"/>
                  <a:gd name="T52" fmla="*/ 2 w 26"/>
                  <a:gd name="T53" fmla="*/ 2 h 44"/>
                  <a:gd name="T54" fmla="*/ 4 w 26"/>
                  <a:gd name="T55" fmla="*/ 0 h 44"/>
                  <a:gd name="T56" fmla="*/ 8 w 26"/>
                  <a:gd name="T57" fmla="*/ 2 h 44"/>
                  <a:gd name="T58" fmla="*/ 10 w 26"/>
                  <a:gd name="T59" fmla="*/ 6 h 44"/>
                  <a:gd name="T60" fmla="*/ 12 w 26"/>
                  <a:gd name="T61" fmla="*/ 8 h 44"/>
                  <a:gd name="T62" fmla="*/ 14 w 26"/>
                  <a:gd name="T63" fmla="*/ 10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lnTo>
                      <a:pt x="14"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7" name="Freeform 1269"/>
              <p:cNvSpPr/>
              <p:nvPr/>
            </p:nvSpPr>
            <p:spPr bwMode="auto">
              <a:xfrm>
                <a:off x="1946035" y="2479046"/>
                <a:ext cx="30564" cy="50914"/>
              </a:xfrm>
              <a:custGeom>
                <a:avLst/>
                <a:gdLst>
                  <a:gd name="T0" fmla="*/ 14 w 26"/>
                  <a:gd name="T1" fmla="*/ 10 h 44"/>
                  <a:gd name="T2" fmla="*/ 16 w 26"/>
                  <a:gd name="T3" fmla="*/ 12 h 44"/>
                  <a:gd name="T4" fmla="*/ 18 w 26"/>
                  <a:gd name="T5" fmla="*/ 16 h 44"/>
                  <a:gd name="T6" fmla="*/ 18 w 26"/>
                  <a:gd name="T7" fmla="*/ 18 h 44"/>
                  <a:gd name="T8" fmla="*/ 18 w 26"/>
                  <a:gd name="T9" fmla="*/ 20 h 44"/>
                  <a:gd name="T10" fmla="*/ 20 w 26"/>
                  <a:gd name="T11" fmla="*/ 18 h 44"/>
                  <a:gd name="T12" fmla="*/ 24 w 26"/>
                  <a:gd name="T13" fmla="*/ 24 h 44"/>
                  <a:gd name="T14" fmla="*/ 18 w 26"/>
                  <a:gd name="T15" fmla="*/ 20 h 44"/>
                  <a:gd name="T16" fmla="*/ 18 w 26"/>
                  <a:gd name="T17" fmla="*/ 24 h 44"/>
                  <a:gd name="T18" fmla="*/ 20 w 26"/>
                  <a:gd name="T19" fmla="*/ 24 h 44"/>
                  <a:gd name="T20" fmla="*/ 20 w 26"/>
                  <a:gd name="T21" fmla="*/ 26 h 44"/>
                  <a:gd name="T22" fmla="*/ 22 w 26"/>
                  <a:gd name="T23" fmla="*/ 26 h 44"/>
                  <a:gd name="T24" fmla="*/ 24 w 26"/>
                  <a:gd name="T25" fmla="*/ 28 h 44"/>
                  <a:gd name="T26" fmla="*/ 24 w 26"/>
                  <a:gd name="T27" fmla="*/ 30 h 44"/>
                  <a:gd name="T28" fmla="*/ 24 w 26"/>
                  <a:gd name="T29" fmla="*/ 32 h 44"/>
                  <a:gd name="T30" fmla="*/ 24 w 26"/>
                  <a:gd name="T31" fmla="*/ 30 h 44"/>
                  <a:gd name="T32" fmla="*/ 26 w 26"/>
                  <a:gd name="T33" fmla="*/ 32 h 44"/>
                  <a:gd name="T34" fmla="*/ 26 w 26"/>
                  <a:gd name="T35" fmla="*/ 34 h 44"/>
                  <a:gd name="T36" fmla="*/ 24 w 26"/>
                  <a:gd name="T37" fmla="*/ 34 h 44"/>
                  <a:gd name="T38" fmla="*/ 24 w 26"/>
                  <a:gd name="T39" fmla="*/ 38 h 44"/>
                  <a:gd name="T40" fmla="*/ 24 w 26"/>
                  <a:gd name="T41" fmla="*/ 36 h 44"/>
                  <a:gd name="T42" fmla="*/ 26 w 26"/>
                  <a:gd name="T43" fmla="*/ 38 h 44"/>
                  <a:gd name="T44" fmla="*/ 26 w 26"/>
                  <a:gd name="T45" fmla="*/ 40 h 44"/>
                  <a:gd name="T46" fmla="*/ 26 w 26"/>
                  <a:gd name="T47" fmla="*/ 44 h 44"/>
                  <a:gd name="T48" fmla="*/ 24 w 26"/>
                  <a:gd name="T49" fmla="*/ 42 h 44"/>
                  <a:gd name="T50" fmla="*/ 22 w 26"/>
                  <a:gd name="T51" fmla="*/ 44 h 44"/>
                  <a:gd name="T52" fmla="*/ 20 w 26"/>
                  <a:gd name="T53" fmla="*/ 36 h 44"/>
                  <a:gd name="T54" fmla="*/ 20 w 26"/>
                  <a:gd name="T55" fmla="*/ 38 h 44"/>
                  <a:gd name="T56" fmla="*/ 18 w 26"/>
                  <a:gd name="T57" fmla="*/ 38 h 44"/>
                  <a:gd name="T58" fmla="*/ 18 w 26"/>
                  <a:gd name="T59" fmla="*/ 34 h 44"/>
                  <a:gd name="T60" fmla="*/ 16 w 26"/>
                  <a:gd name="T61" fmla="*/ 32 h 44"/>
                  <a:gd name="T62" fmla="*/ 14 w 26"/>
                  <a:gd name="T63" fmla="*/ 30 h 44"/>
                  <a:gd name="T64" fmla="*/ 12 w 26"/>
                  <a:gd name="T65" fmla="*/ 30 h 44"/>
                  <a:gd name="T66" fmla="*/ 12 w 26"/>
                  <a:gd name="T67" fmla="*/ 28 h 44"/>
                  <a:gd name="T68" fmla="*/ 8 w 26"/>
                  <a:gd name="T69" fmla="*/ 28 h 44"/>
                  <a:gd name="T70" fmla="*/ 12 w 26"/>
                  <a:gd name="T71" fmla="*/ 26 h 44"/>
                  <a:gd name="T72" fmla="*/ 10 w 26"/>
                  <a:gd name="T73" fmla="*/ 22 h 44"/>
                  <a:gd name="T74" fmla="*/ 12 w 26"/>
                  <a:gd name="T75" fmla="*/ 22 h 44"/>
                  <a:gd name="T76" fmla="*/ 12 w 26"/>
                  <a:gd name="T77" fmla="*/ 20 h 44"/>
                  <a:gd name="T78" fmla="*/ 10 w 26"/>
                  <a:gd name="T79" fmla="*/ 20 h 44"/>
                  <a:gd name="T80" fmla="*/ 8 w 26"/>
                  <a:gd name="T81" fmla="*/ 20 h 44"/>
                  <a:gd name="T82" fmla="*/ 6 w 26"/>
                  <a:gd name="T83" fmla="*/ 20 h 44"/>
                  <a:gd name="T84" fmla="*/ 6 w 26"/>
                  <a:gd name="T85" fmla="*/ 18 h 44"/>
                  <a:gd name="T86" fmla="*/ 8 w 26"/>
                  <a:gd name="T87" fmla="*/ 16 h 44"/>
                  <a:gd name="T88" fmla="*/ 8 w 26"/>
                  <a:gd name="T89" fmla="*/ 6 h 44"/>
                  <a:gd name="T90" fmla="*/ 6 w 26"/>
                  <a:gd name="T91" fmla="*/ 6 h 44"/>
                  <a:gd name="T92" fmla="*/ 6 w 26"/>
                  <a:gd name="T93" fmla="*/ 10 h 44"/>
                  <a:gd name="T94" fmla="*/ 4 w 26"/>
                  <a:gd name="T95" fmla="*/ 10 h 44"/>
                  <a:gd name="T96" fmla="*/ 2 w 26"/>
                  <a:gd name="T97" fmla="*/ 12 h 44"/>
                  <a:gd name="T98" fmla="*/ 0 w 26"/>
                  <a:gd name="T99" fmla="*/ 12 h 44"/>
                  <a:gd name="T100" fmla="*/ 0 w 26"/>
                  <a:gd name="T101" fmla="*/ 10 h 44"/>
                  <a:gd name="T102" fmla="*/ 4 w 26"/>
                  <a:gd name="T103" fmla="*/ 4 h 44"/>
                  <a:gd name="T104" fmla="*/ 2 w 26"/>
                  <a:gd name="T105" fmla="*/ 4 h 44"/>
                  <a:gd name="T106" fmla="*/ 2 w 26"/>
                  <a:gd name="T107" fmla="*/ 2 h 44"/>
                  <a:gd name="T108" fmla="*/ 2 w 26"/>
                  <a:gd name="T109" fmla="*/ 0 h 44"/>
                  <a:gd name="T110" fmla="*/ 4 w 26"/>
                  <a:gd name="T111" fmla="*/ 0 h 44"/>
                  <a:gd name="T112" fmla="*/ 6 w 26"/>
                  <a:gd name="T113" fmla="*/ 2 h 44"/>
                  <a:gd name="T114" fmla="*/ 8 w 26"/>
                  <a:gd name="T115" fmla="*/ 2 h 44"/>
                  <a:gd name="T116" fmla="*/ 10 w 26"/>
                  <a:gd name="T117" fmla="*/ 4 h 44"/>
                  <a:gd name="T118" fmla="*/ 10 w 26"/>
                  <a:gd name="T119" fmla="*/ 6 h 44"/>
                  <a:gd name="T120" fmla="*/ 10 w 26"/>
                  <a:gd name="T121" fmla="*/ 8 h 44"/>
                  <a:gd name="T122" fmla="*/ 12 w 26"/>
                  <a:gd name="T123" fmla="*/ 8 h 44"/>
                  <a:gd name="T124" fmla="*/ 12 w 26"/>
                  <a:gd name="T125" fmla="*/ 10 h 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8" name="Freeform 1270"/>
              <p:cNvSpPr/>
              <p:nvPr/>
            </p:nvSpPr>
            <p:spPr bwMode="auto">
              <a:xfrm>
                <a:off x="1980675" y="2492753"/>
                <a:ext cx="12226" cy="25458"/>
              </a:xfrm>
              <a:custGeom>
                <a:avLst/>
                <a:gdLst>
                  <a:gd name="T0" fmla="*/ 6 w 12"/>
                  <a:gd name="T1" fmla="*/ 16 h 22"/>
                  <a:gd name="T2" fmla="*/ 6 w 12"/>
                  <a:gd name="T3" fmla="*/ 14 h 22"/>
                  <a:gd name="T4" fmla="*/ 8 w 12"/>
                  <a:gd name="T5" fmla="*/ 16 h 22"/>
                  <a:gd name="T6" fmla="*/ 8 w 12"/>
                  <a:gd name="T7" fmla="*/ 18 h 22"/>
                  <a:gd name="T8" fmla="*/ 8 w 12"/>
                  <a:gd name="T9" fmla="*/ 20 h 22"/>
                  <a:gd name="T10" fmla="*/ 10 w 12"/>
                  <a:gd name="T11" fmla="*/ 22 h 22"/>
                  <a:gd name="T12" fmla="*/ 12 w 12"/>
                  <a:gd name="T13" fmla="*/ 20 h 22"/>
                  <a:gd name="T14" fmla="*/ 12 w 12"/>
                  <a:gd name="T15" fmla="*/ 18 h 22"/>
                  <a:gd name="T16" fmla="*/ 12 w 12"/>
                  <a:gd name="T17" fmla="*/ 16 h 22"/>
                  <a:gd name="T18" fmla="*/ 12 w 12"/>
                  <a:gd name="T19" fmla="*/ 8 h 22"/>
                  <a:gd name="T20" fmla="*/ 8 w 12"/>
                  <a:gd name="T21" fmla="*/ 0 h 22"/>
                  <a:gd name="T22" fmla="*/ 4 w 12"/>
                  <a:gd name="T23" fmla="*/ 0 h 22"/>
                  <a:gd name="T24" fmla="*/ 4 w 12"/>
                  <a:gd name="T25" fmla="*/ 2 h 22"/>
                  <a:gd name="T26" fmla="*/ 2 w 12"/>
                  <a:gd name="T27" fmla="*/ 4 h 22"/>
                  <a:gd name="T28" fmla="*/ 2 w 12"/>
                  <a:gd name="T29" fmla="*/ 6 h 22"/>
                  <a:gd name="T30" fmla="*/ 0 w 12"/>
                  <a:gd name="T31" fmla="*/ 10 h 22"/>
                  <a:gd name="T32" fmla="*/ 0 w 12"/>
                  <a:gd name="T33" fmla="*/ 12 h 22"/>
                  <a:gd name="T34" fmla="*/ 0 w 12"/>
                  <a:gd name="T35" fmla="*/ 14 h 22"/>
                  <a:gd name="T36" fmla="*/ 0 w 12"/>
                  <a:gd name="T37" fmla="*/ 16 h 22"/>
                  <a:gd name="T38" fmla="*/ 2 w 12"/>
                  <a:gd name="T39" fmla="*/ 16 h 22"/>
                  <a:gd name="T40" fmla="*/ 4 w 12"/>
                  <a:gd name="T41" fmla="*/ 14 h 22"/>
                  <a:gd name="T42" fmla="*/ 4 w 12"/>
                  <a:gd name="T43" fmla="*/ 12 h 22"/>
                  <a:gd name="T44" fmla="*/ 4 w 12"/>
                  <a:gd name="T45" fmla="*/ 14 h 22"/>
                  <a:gd name="T46" fmla="*/ 6 w 12"/>
                  <a:gd name="T47" fmla="*/ 12 h 22"/>
                  <a:gd name="T48" fmla="*/ 6 w 12"/>
                  <a:gd name="T49" fmla="*/ 8 h 22"/>
                  <a:gd name="T50" fmla="*/ 6 w 12"/>
                  <a:gd name="T51" fmla="*/ 12 h 22"/>
                  <a:gd name="T52" fmla="*/ 6 w 12"/>
                  <a:gd name="T53" fmla="*/ 14 h 22"/>
                  <a:gd name="T54" fmla="*/ 6 w 12"/>
                  <a:gd name="T55" fmla="*/ 14 h 22"/>
                  <a:gd name="T56" fmla="*/ 6 w 12"/>
                  <a:gd name="T57" fmla="*/ 16 h 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 h="22">
                    <a:moveTo>
                      <a:pt x="6" y="16"/>
                    </a:move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lnTo>
                      <a:pt x="6"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9" name="Freeform 1271"/>
              <p:cNvSpPr/>
              <p:nvPr/>
            </p:nvSpPr>
            <p:spPr bwMode="auto">
              <a:xfrm>
                <a:off x="1980675" y="2492753"/>
                <a:ext cx="12226" cy="25458"/>
              </a:xfrm>
              <a:custGeom>
                <a:avLst/>
                <a:gdLst>
                  <a:gd name="T0" fmla="*/ 6 w 12"/>
                  <a:gd name="T1" fmla="*/ 16 h 22"/>
                  <a:gd name="T2" fmla="*/ 6 w 12"/>
                  <a:gd name="T3" fmla="*/ 18 h 22"/>
                  <a:gd name="T4" fmla="*/ 6 w 12"/>
                  <a:gd name="T5" fmla="*/ 18 h 22"/>
                  <a:gd name="T6" fmla="*/ 6 w 12"/>
                  <a:gd name="T7" fmla="*/ 14 h 22"/>
                  <a:gd name="T8" fmla="*/ 8 w 12"/>
                  <a:gd name="T9" fmla="*/ 16 h 22"/>
                  <a:gd name="T10" fmla="*/ 8 w 12"/>
                  <a:gd name="T11" fmla="*/ 18 h 22"/>
                  <a:gd name="T12" fmla="*/ 8 w 12"/>
                  <a:gd name="T13" fmla="*/ 20 h 22"/>
                  <a:gd name="T14" fmla="*/ 10 w 12"/>
                  <a:gd name="T15" fmla="*/ 22 h 22"/>
                  <a:gd name="T16" fmla="*/ 12 w 12"/>
                  <a:gd name="T17" fmla="*/ 20 h 22"/>
                  <a:gd name="T18" fmla="*/ 12 w 12"/>
                  <a:gd name="T19" fmla="*/ 18 h 22"/>
                  <a:gd name="T20" fmla="*/ 12 w 12"/>
                  <a:gd name="T21" fmla="*/ 16 h 22"/>
                  <a:gd name="T22" fmla="*/ 12 w 12"/>
                  <a:gd name="T23" fmla="*/ 8 h 22"/>
                  <a:gd name="T24" fmla="*/ 8 w 12"/>
                  <a:gd name="T25" fmla="*/ 0 h 22"/>
                  <a:gd name="T26" fmla="*/ 4 w 12"/>
                  <a:gd name="T27" fmla="*/ 0 h 22"/>
                  <a:gd name="T28" fmla="*/ 4 w 12"/>
                  <a:gd name="T29" fmla="*/ 2 h 22"/>
                  <a:gd name="T30" fmla="*/ 2 w 12"/>
                  <a:gd name="T31" fmla="*/ 4 h 22"/>
                  <a:gd name="T32" fmla="*/ 2 w 12"/>
                  <a:gd name="T33" fmla="*/ 6 h 22"/>
                  <a:gd name="T34" fmla="*/ 0 w 12"/>
                  <a:gd name="T35" fmla="*/ 10 h 22"/>
                  <a:gd name="T36" fmla="*/ 0 w 12"/>
                  <a:gd name="T37" fmla="*/ 12 h 22"/>
                  <a:gd name="T38" fmla="*/ 0 w 12"/>
                  <a:gd name="T39" fmla="*/ 14 h 22"/>
                  <a:gd name="T40" fmla="*/ 0 w 12"/>
                  <a:gd name="T41" fmla="*/ 16 h 22"/>
                  <a:gd name="T42" fmla="*/ 2 w 12"/>
                  <a:gd name="T43" fmla="*/ 16 h 22"/>
                  <a:gd name="T44" fmla="*/ 4 w 12"/>
                  <a:gd name="T45" fmla="*/ 14 h 22"/>
                  <a:gd name="T46" fmla="*/ 4 w 12"/>
                  <a:gd name="T47" fmla="*/ 12 h 22"/>
                  <a:gd name="T48" fmla="*/ 4 w 12"/>
                  <a:gd name="T49" fmla="*/ 14 h 22"/>
                  <a:gd name="T50" fmla="*/ 6 w 12"/>
                  <a:gd name="T51" fmla="*/ 12 h 22"/>
                  <a:gd name="T52" fmla="*/ 6 w 12"/>
                  <a:gd name="T53" fmla="*/ 8 h 22"/>
                  <a:gd name="T54" fmla="*/ 6 w 12"/>
                  <a:gd name="T55" fmla="*/ 12 h 22"/>
                  <a:gd name="T56" fmla="*/ 6 w 12"/>
                  <a:gd name="T57" fmla="*/ 14 h 22"/>
                  <a:gd name="T58" fmla="*/ 6 w 12"/>
                  <a:gd name="T59" fmla="*/ 14 h 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 h="22">
                    <a:moveTo>
                      <a:pt x="6" y="16"/>
                    </a:moveTo>
                    <a:lnTo>
                      <a:pt x="6" y="18"/>
                    </a:ln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0" name="Freeform 1272"/>
              <p:cNvSpPr/>
              <p:nvPr/>
            </p:nvSpPr>
            <p:spPr bwMode="auto">
              <a:xfrm>
                <a:off x="1956224" y="2514294"/>
                <a:ext cx="6112" cy="15666"/>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2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4">
                    <a:moveTo>
                      <a:pt x="2" y="6"/>
                    </a:moveTo>
                    <a:lnTo>
                      <a:pt x="4" y="6"/>
                    </a:lnTo>
                    <a:lnTo>
                      <a:pt x="6" y="14"/>
                    </a:lnTo>
                    <a:lnTo>
                      <a:pt x="4" y="12"/>
                    </a:lnTo>
                    <a:lnTo>
                      <a:pt x="0" y="4"/>
                    </a:lnTo>
                    <a:lnTo>
                      <a:pt x="0" y="2"/>
                    </a:lnTo>
                    <a:lnTo>
                      <a:pt x="0" y="0"/>
                    </a:lnTo>
                    <a:lnTo>
                      <a:pt x="2" y="2"/>
                    </a:lnTo>
                    <a:lnTo>
                      <a:pt x="2" y="4"/>
                    </a:lnTo>
                    <a:lnTo>
                      <a:pt x="2"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1" name="Freeform 1273"/>
              <p:cNvSpPr/>
              <p:nvPr/>
            </p:nvSpPr>
            <p:spPr bwMode="auto">
              <a:xfrm>
                <a:off x="1956224" y="2514294"/>
                <a:ext cx="6112" cy="15666"/>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2" y="6"/>
                    </a:moveTo>
                    <a:lnTo>
                      <a:pt x="4" y="6"/>
                    </a:lnTo>
                    <a:lnTo>
                      <a:pt x="6" y="14"/>
                    </a:lnTo>
                    <a:lnTo>
                      <a:pt x="4" y="12"/>
                    </a:lnTo>
                    <a:lnTo>
                      <a:pt x="0" y="4"/>
                    </a:lnTo>
                    <a:lnTo>
                      <a:pt x="0" y="2"/>
                    </a:lnTo>
                    <a:lnTo>
                      <a:pt x="0" y="0"/>
                    </a:lnTo>
                    <a:lnTo>
                      <a:pt x="2" y="2"/>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2" name="Freeform 1274"/>
              <p:cNvSpPr/>
              <p:nvPr/>
            </p:nvSpPr>
            <p:spPr bwMode="auto">
              <a:xfrm>
                <a:off x="1982712" y="2510378"/>
                <a:ext cx="4075" cy="9791"/>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0" y="0"/>
                    </a:moveTo>
                    <a:lnTo>
                      <a:pt x="2" y="4"/>
                    </a:lnTo>
                    <a:lnTo>
                      <a:pt x="4" y="8"/>
                    </a:lnTo>
                    <a:lnTo>
                      <a:pt x="2" y="8"/>
                    </a:lnTo>
                    <a:lnTo>
                      <a:pt x="0" y="6"/>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3" name="Freeform 1275"/>
              <p:cNvSpPr/>
              <p:nvPr/>
            </p:nvSpPr>
            <p:spPr bwMode="auto">
              <a:xfrm>
                <a:off x="1982712" y="2510378"/>
                <a:ext cx="4075" cy="9791"/>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8">
                    <a:moveTo>
                      <a:pt x="0" y="0"/>
                    </a:moveTo>
                    <a:lnTo>
                      <a:pt x="2" y="4"/>
                    </a:lnTo>
                    <a:lnTo>
                      <a:pt x="4" y="8"/>
                    </a:lnTo>
                    <a:lnTo>
                      <a:pt x="2" y="8"/>
                    </a:lnTo>
                    <a:lnTo>
                      <a:pt x="0" y="6"/>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4" name="Freeform 1276"/>
              <p:cNvSpPr/>
              <p:nvPr/>
            </p:nvSpPr>
            <p:spPr bwMode="auto">
              <a:xfrm>
                <a:off x="1210467" y="2606331"/>
                <a:ext cx="10187" cy="9792"/>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2 w 10"/>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5" name="Freeform 1277"/>
              <p:cNvSpPr/>
              <p:nvPr/>
            </p:nvSpPr>
            <p:spPr bwMode="auto">
              <a:xfrm>
                <a:off x="1210467" y="2606331"/>
                <a:ext cx="10187" cy="9792"/>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6" name="Freeform 1278"/>
              <p:cNvSpPr/>
              <p:nvPr/>
            </p:nvSpPr>
            <p:spPr bwMode="auto">
              <a:xfrm>
                <a:off x="1220654" y="2606331"/>
                <a:ext cx="10189" cy="7833"/>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w 8"/>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6">
                    <a:moveTo>
                      <a:pt x="0" y="6"/>
                    </a:moveTo>
                    <a:lnTo>
                      <a:pt x="6" y="4"/>
                    </a:lnTo>
                    <a:lnTo>
                      <a:pt x="8" y="0"/>
                    </a:lnTo>
                    <a:lnTo>
                      <a:pt x="8" y="2"/>
                    </a:lnTo>
                    <a:lnTo>
                      <a:pt x="6" y="4"/>
                    </a:lnTo>
                    <a:lnTo>
                      <a:pt x="2" y="6"/>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7" name="Freeform 1279"/>
              <p:cNvSpPr/>
              <p:nvPr/>
            </p:nvSpPr>
            <p:spPr bwMode="auto">
              <a:xfrm>
                <a:off x="1220654" y="2606331"/>
                <a:ext cx="10189" cy="7833"/>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6">
                    <a:moveTo>
                      <a:pt x="0" y="6"/>
                    </a:moveTo>
                    <a:lnTo>
                      <a:pt x="6" y="4"/>
                    </a:lnTo>
                    <a:lnTo>
                      <a:pt x="8" y="0"/>
                    </a:lnTo>
                    <a:lnTo>
                      <a:pt x="8" y="2"/>
                    </a:lnTo>
                    <a:lnTo>
                      <a:pt x="6" y="4"/>
                    </a:lnTo>
                    <a:lnTo>
                      <a:pt x="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8" name="Freeform 1280"/>
              <p:cNvSpPr/>
              <p:nvPr/>
            </p:nvSpPr>
            <p:spPr bwMode="auto">
              <a:xfrm>
                <a:off x="1234918" y="2604374"/>
                <a:ext cx="8150" cy="11749"/>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w 8"/>
                  <a:gd name="T25" fmla="*/ 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0">
                    <a:moveTo>
                      <a:pt x="0" y="6"/>
                    </a:moveTo>
                    <a:lnTo>
                      <a:pt x="2" y="4"/>
                    </a:lnTo>
                    <a:lnTo>
                      <a:pt x="0" y="2"/>
                    </a:lnTo>
                    <a:lnTo>
                      <a:pt x="4" y="0"/>
                    </a:lnTo>
                    <a:lnTo>
                      <a:pt x="4" y="4"/>
                    </a:lnTo>
                    <a:lnTo>
                      <a:pt x="8" y="4"/>
                    </a:lnTo>
                    <a:lnTo>
                      <a:pt x="8" y="6"/>
                    </a:lnTo>
                    <a:lnTo>
                      <a:pt x="4" y="8"/>
                    </a:lnTo>
                    <a:lnTo>
                      <a:pt x="2" y="8"/>
                    </a:lnTo>
                    <a:lnTo>
                      <a:pt x="2" y="10"/>
                    </a:lnTo>
                    <a:lnTo>
                      <a:pt x="0" y="8"/>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9" name="Freeform 1281"/>
              <p:cNvSpPr/>
              <p:nvPr/>
            </p:nvSpPr>
            <p:spPr bwMode="auto">
              <a:xfrm>
                <a:off x="1234918" y="2604374"/>
                <a:ext cx="8150" cy="11749"/>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6"/>
                    </a:moveTo>
                    <a:lnTo>
                      <a:pt x="2" y="4"/>
                    </a:lnTo>
                    <a:lnTo>
                      <a:pt x="0" y="2"/>
                    </a:lnTo>
                    <a:lnTo>
                      <a:pt x="4" y="0"/>
                    </a:lnTo>
                    <a:lnTo>
                      <a:pt x="4" y="4"/>
                    </a:lnTo>
                    <a:lnTo>
                      <a:pt x="8" y="4"/>
                    </a:lnTo>
                    <a:lnTo>
                      <a:pt x="8" y="6"/>
                    </a:lnTo>
                    <a:lnTo>
                      <a:pt x="4" y="8"/>
                    </a:lnTo>
                    <a:lnTo>
                      <a:pt x="2" y="8"/>
                    </a:lnTo>
                    <a:lnTo>
                      <a:pt x="2" y="10"/>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0" name="Freeform 1282"/>
              <p:cNvSpPr/>
              <p:nvPr/>
            </p:nvSpPr>
            <p:spPr bwMode="auto">
              <a:xfrm>
                <a:off x="1271595" y="2592624"/>
                <a:ext cx="10187" cy="9791"/>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4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4" y="2"/>
                    </a:moveTo>
                    <a:lnTo>
                      <a:pt x="6" y="0"/>
                    </a:lnTo>
                    <a:lnTo>
                      <a:pt x="8" y="2"/>
                    </a:lnTo>
                    <a:lnTo>
                      <a:pt x="8" y="4"/>
                    </a:lnTo>
                    <a:lnTo>
                      <a:pt x="6" y="4"/>
                    </a:lnTo>
                    <a:lnTo>
                      <a:pt x="6" y="8"/>
                    </a:lnTo>
                    <a:lnTo>
                      <a:pt x="4" y="8"/>
                    </a:lnTo>
                    <a:lnTo>
                      <a:pt x="2" y="8"/>
                    </a:lnTo>
                    <a:lnTo>
                      <a:pt x="0" y="8"/>
                    </a:lnTo>
                    <a:lnTo>
                      <a:pt x="4" y="4"/>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1" name="Freeform 1283"/>
              <p:cNvSpPr/>
              <p:nvPr/>
            </p:nvSpPr>
            <p:spPr bwMode="auto">
              <a:xfrm>
                <a:off x="1271595" y="2592624"/>
                <a:ext cx="10187" cy="9791"/>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8">
                    <a:moveTo>
                      <a:pt x="4" y="2"/>
                    </a:moveTo>
                    <a:lnTo>
                      <a:pt x="6" y="0"/>
                    </a:lnTo>
                    <a:lnTo>
                      <a:pt x="8" y="2"/>
                    </a:lnTo>
                    <a:lnTo>
                      <a:pt x="8" y="4"/>
                    </a:lnTo>
                    <a:lnTo>
                      <a:pt x="6" y="4"/>
                    </a:lnTo>
                    <a:lnTo>
                      <a:pt x="6" y="8"/>
                    </a:lnTo>
                    <a:lnTo>
                      <a:pt x="4" y="8"/>
                    </a:lnTo>
                    <a:lnTo>
                      <a:pt x="2" y="8"/>
                    </a:lnTo>
                    <a:lnTo>
                      <a:pt x="0" y="8"/>
                    </a:lnTo>
                    <a:lnTo>
                      <a:pt x="4"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2" name="Freeform 1284"/>
              <p:cNvSpPr/>
              <p:nvPr/>
            </p:nvSpPr>
            <p:spPr bwMode="auto">
              <a:xfrm>
                <a:off x="1281782" y="2600457"/>
                <a:ext cx="14264" cy="3916"/>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w 1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4">
                    <a:moveTo>
                      <a:pt x="0" y="0"/>
                    </a:moveTo>
                    <a:lnTo>
                      <a:pt x="6" y="0"/>
                    </a:lnTo>
                    <a:lnTo>
                      <a:pt x="10" y="2"/>
                    </a:lnTo>
                    <a:lnTo>
                      <a:pt x="14" y="2"/>
                    </a:lnTo>
                    <a:lnTo>
                      <a:pt x="14" y="4"/>
                    </a:lnTo>
                    <a:lnTo>
                      <a:pt x="4"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3" name="Freeform 1285"/>
              <p:cNvSpPr/>
              <p:nvPr/>
            </p:nvSpPr>
            <p:spPr bwMode="auto">
              <a:xfrm>
                <a:off x="1281782" y="2600457"/>
                <a:ext cx="14264" cy="3916"/>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4">
                    <a:moveTo>
                      <a:pt x="0" y="0"/>
                    </a:moveTo>
                    <a:lnTo>
                      <a:pt x="6" y="0"/>
                    </a:lnTo>
                    <a:lnTo>
                      <a:pt x="10" y="2"/>
                    </a:lnTo>
                    <a:lnTo>
                      <a:pt x="14" y="2"/>
                    </a:lnTo>
                    <a:lnTo>
                      <a:pt x="14" y="4"/>
                    </a:lnTo>
                    <a:lnTo>
                      <a:pt x="4"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4" name="Freeform 1286"/>
              <p:cNvSpPr/>
              <p:nvPr/>
            </p:nvSpPr>
            <p:spPr bwMode="auto">
              <a:xfrm>
                <a:off x="1306233" y="2592624"/>
                <a:ext cx="4075" cy="587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2"/>
                    </a:lnTo>
                    <a:lnTo>
                      <a:pt x="4" y="2"/>
                    </a:lnTo>
                    <a:lnTo>
                      <a:pt x="2" y="4"/>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5" name="Freeform 1287"/>
              <p:cNvSpPr/>
              <p:nvPr/>
            </p:nvSpPr>
            <p:spPr bwMode="auto">
              <a:xfrm>
                <a:off x="1306233" y="2592624"/>
                <a:ext cx="4075" cy="587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2"/>
                    </a:lnTo>
                    <a:lnTo>
                      <a:pt x="4" y="2"/>
                    </a:lnTo>
                    <a:lnTo>
                      <a:pt x="2" y="4"/>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6" name="Freeform 1288"/>
              <p:cNvSpPr/>
              <p:nvPr/>
            </p:nvSpPr>
            <p:spPr bwMode="auto">
              <a:xfrm>
                <a:off x="1363285" y="2563250"/>
                <a:ext cx="20376" cy="21541"/>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w 18"/>
                  <a:gd name="T29" fmla="*/ 1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lnTo>
                      <a:pt x="0" y="17"/>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7" name="Freeform 1289"/>
              <p:cNvSpPr/>
              <p:nvPr/>
            </p:nvSpPr>
            <p:spPr bwMode="auto">
              <a:xfrm>
                <a:off x="1363285" y="2563250"/>
                <a:ext cx="20376" cy="21541"/>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8" name="Freeform 1290"/>
              <p:cNvSpPr/>
              <p:nvPr/>
            </p:nvSpPr>
            <p:spPr bwMode="auto">
              <a:xfrm>
                <a:off x="1385700" y="2549543"/>
                <a:ext cx="24451" cy="19582"/>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2 w 2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lnTo>
                      <a:pt x="2"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9" name="Freeform 1291"/>
              <p:cNvSpPr/>
              <p:nvPr/>
            </p:nvSpPr>
            <p:spPr bwMode="auto">
              <a:xfrm>
                <a:off x="1385700" y="2549543"/>
                <a:ext cx="24451" cy="19582"/>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0" name="Freeform 1292"/>
              <p:cNvSpPr/>
              <p:nvPr/>
            </p:nvSpPr>
            <p:spPr bwMode="auto">
              <a:xfrm>
                <a:off x="1414226" y="2541710"/>
                <a:ext cx="4075" cy="7833"/>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2" y="0"/>
                    </a:moveTo>
                    <a:lnTo>
                      <a:pt x="4" y="0"/>
                    </a:lnTo>
                    <a:lnTo>
                      <a:pt x="4" y="4"/>
                    </a:lnTo>
                    <a:lnTo>
                      <a:pt x="2" y="6"/>
                    </a:lnTo>
                    <a:lnTo>
                      <a:pt x="0" y="4"/>
                    </a:lnTo>
                    <a:lnTo>
                      <a:pt x="0" y="2"/>
                    </a:lnTo>
                    <a:lnTo>
                      <a:pt x="0"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1" name="Freeform 1293"/>
              <p:cNvSpPr/>
              <p:nvPr/>
            </p:nvSpPr>
            <p:spPr bwMode="auto">
              <a:xfrm>
                <a:off x="1414226" y="2541710"/>
                <a:ext cx="4075" cy="7833"/>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0"/>
                    </a:moveTo>
                    <a:lnTo>
                      <a:pt x="4" y="0"/>
                    </a:lnTo>
                    <a:lnTo>
                      <a:pt x="4" y="4"/>
                    </a:lnTo>
                    <a:lnTo>
                      <a:pt x="2" y="6"/>
                    </a:lnTo>
                    <a:lnTo>
                      <a:pt x="0" y="4"/>
                    </a:lnTo>
                    <a:lnTo>
                      <a:pt x="0" y="2"/>
                    </a:lnTo>
                    <a:lnTo>
                      <a:pt x="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2" name="Freeform 1294"/>
              <p:cNvSpPr/>
              <p:nvPr/>
            </p:nvSpPr>
            <p:spPr bwMode="auto">
              <a:xfrm>
                <a:off x="1434602" y="2518211"/>
                <a:ext cx="28526" cy="19582"/>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w 26"/>
                  <a:gd name="T37" fmla="*/ 12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lnTo>
                      <a:pt x="0" y="1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3" name="Freeform 1295"/>
              <p:cNvSpPr/>
              <p:nvPr/>
            </p:nvSpPr>
            <p:spPr bwMode="auto">
              <a:xfrm>
                <a:off x="1434602" y="2518211"/>
                <a:ext cx="28526" cy="19582"/>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4" name="Freeform 1296"/>
              <p:cNvSpPr/>
              <p:nvPr/>
            </p:nvSpPr>
            <p:spPr bwMode="auto">
              <a:xfrm>
                <a:off x="1469240" y="2535834"/>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5" name="Freeform 1297"/>
              <p:cNvSpPr/>
              <p:nvPr/>
            </p:nvSpPr>
            <p:spPr bwMode="auto">
              <a:xfrm>
                <a:off x="1469240" y="2535834"/>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6" name="Freeform 1298"/>
              <p:cNvSpPr/>
              <p:nvPr/>
            </p:nvSpPr>
            <p:spPr bwMode="auto">
              <a:xfrm>
                <a:off x="1501841" y="2508419"/>
                <a:ext cx="6113" cy="7833"/>
              </a:xfrm>
              <a:custGeom>
                <a:avLst/>
                <a:gdLst>
                  <a:gd name="T0" fmla="*/ 2 w 4"/>
                  <a:gd name="T1" fmla="*/ 2 h 6"/>
                  <a:gd name="T2" fmla="*/ 2 w 4"/>
                  <a:gd name="T3" fmla="*/ 0 h 6"/>
                  <a:gd name="T4" fmla="*/ 4 w 4"/>
                  <a:gd name="T5" fmla="*/ 0 h 6"/>
                  <a:gd name="T6" fmla="*/ 4 w 4"/>
                  <a:gd name="T7" fmla="*/ 2 h 6"/>
                  <a:gd name="T8" fmla="*/ 4 w 4"/>
                  <a:gd name="T9" fmla="*/ 4 h 6"/>
                  <a:gd name="T10" fmla="*/ 4 w 4"/>
                  <a:gd name="T11" fmla="*/ 6 h 6"/>
                  <a:gd name="T12" fmla="*/ 2 w 4"/>
                  <a:gd name="T13" fmla="*/ 4 h 6"/>
                  <a:gd name="T14" fmla="*/ 0 w 4"/>
                  <a:gd name="T15" fmla="*/ 6 h 6"/>
                  <a:gd name="T16" fmla="*/ 0 w 4"/>
                  <a:gd name="T17" fmla="*/ 0 h 6"/>
                  <a:gd name="T18" fmla="*/ 0 w 4"/>
                  <a:gd name="T19" fmla="*/ 2 h 6"/>
                  <a:gd name="T20" fmla="*/ 0 w 4"/>
                  <a:gd name="T21" fmla="*/ 2 h 6"/>
                  <a:gd name="T22" fmla="*/ 2 w 4"/>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6">
                    <a:moveTo>
                      <a:pt x="2" y="2"/>
                    </a:moveTo>
                    <a:lnTo>
                      <a:pt x="2" y="0"/>
                    </a:lnTo>
                    <a:lnTo>
                      <a:pt x="4" y="0"/>
                    </a:lnTo>
                    <a:lnTo>
                      <a:pt x="4" y="2"/>
                    </a:lnTo>
                    <a:lnTo>
                      <a:pt x="4" y="4"/>
                    </a:lnTo>
                    <a:lnTo>
                      <a:pt x="4" y="6"/>
                    </a:lnTo>
                    <a:lnTo>
                      <a:pt x="2" y="4"/>
                    </a:lnTo>
                    <a:lnTo>
                      <a:pt x="0" y="6"/>
                    </a:lnTo>
                    <a:lnTo>
                      <a:pt x="0" y="0"/>
                    </a:lnTo>
                    <a:lnTo>
                      <a:pt x="0" y="2"/>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7" name="Freeform 1299"/>
              <p:cNvSpPr/>
              <p:nvPr/>
            </p:nvSpPr>
            <p:spPr bwMode="auto">
              <a:xfrm>
                <a:off x="1501841" y="2508419"/>
                <a:ext cx="6113" cy="7833"/>
              </a:xfrm>
              <a:custGeom>
                <a:avLst/>
                <a:gdLst>
                  <a:gd name="T0" fmla="*/ 2 w 4"/>
                  <a:gd name="T1" fmla="*/ 2 h 6"/>
                  <a:gd name="T2" fmla="*/ 0 w 4"/>
                  <a:gd name="T3" fmla="*/ 0 h 6"/>
                  <a:gd name="T4" fmla="*/ 0 w 4"/>
                  <a:gd name="T5" fmla="*/ 2 h 6"/>
                  <a:gd name="T6" fmla="*/ 2 w 4"/>
                  <a:gd name="T7" fmla="*/ 0 h 6"/>
                  <a:gd name="T8" fmla="*/ 4 w 4"/>
                  <a:gd name="T9" fmla="*/ 0 h 6"/>
                  <a:gd name="T10" fmla="*/ 4 w 4"/>
                  <a:gd name="T11" fmla="*/ 2 h 6"/>
                  <a:gd name="T12" fmla="*/ 4 w 4"/>
                  <a:gd name="T13" fmla="*/ 4 h 6"/>
                  <a:gd name="T14" fmla="*/ 4 w 4"/>
                  <a:gd name="T15" fmla="*/ 6 h 6"/>
                  <a:gd name="T16" fmla="*/ 2 w 4"/>
                  <a:gd name="T17" fmla="*/ 4 h 6"/>
                  <a:gd name="T18" fmla="*/ 0 w 4"/>
                  <a:gd name="T19" fmla="*/ 6 h 6"/>
                  <a:gd name="T20" fmla="*/ 0 w 4"/>
                  <a:gd name="T21" fmla="*/ 0 h 6"/>
                  <a:gd name="T22" fmla="*/ 0 w 4"/>
                  <a:gd name="T23" fmla="*/ 2 h 6"/>
                  <a:gd name="T24" fmla="*/ 0 w 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6">
                    <a:moveTo>
                      <a:pt x="2" y="2"/>
                    </a:moveTo>
                    <a:lnTo>
                      <a:pt x="0" y="0"/>
                    </a:lnTo>
                    <a:lnTo>
                      <a:pt x="0" y="2"/>
                    </a:lnTo>
                    <a:lnTo>
                      <a:pt x="2" y="0"/>
                    </a:lnTo>
                    <a:lnTo>
                      <a:pt x="4" y="0"/>
                    </a:lnTo>
                    <a:lnTo>
                      <a:pt x="4" y="2"/>
                    </a:lnTo>
                    <a:lnTo>
                      <a:pt x="4" y="4"/>
                    </a:lnTo>
                    <a:lnTo>
                      <a:pt x="4" y="6"/>
                    </a:lnTo>
                    <a:lnTo>
                      <a:pt x="2" y="4"/>
                    </a:lnTo>
                    <a:lnTo>
                      <a:pt x="0" y="6"/>
                    </a:lnTo>
                    <a:lnTo>
                      <a:pt x="0" y="0"/>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8" name="Freeform 1300"/>
              <p:cNvSpPr/>
              <p:nvPr/>
            </p:nvSpPr>
            <p:spPr bwMode="auto">
              <a:xfrm>
                <a:off x="1540556" y="2479046"/>
                <a:ext cx="4075" cy="11749"/>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w 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0">
                    <a:moveTo>
                      <a:pt x="0" y="0"/>
                    </a:moveTo>
                    <a:lnTo>
                      <a:pt x="0" y="2"/>
                    </a:lnTo>
                    <a:lnTo>
                      <a:pt x="2" y="2"/>
                    </a:lnTo>
                    <a:lnTo>
                      <a:pt x="4" y="2"/>
                    </a:lnTo>
                    <a:lnTo>
                      <a:pt x="2" y="4"/>
                    </a:lnTo>
                    <a:lnTo>
                      <a:pt x="2" y="10"/>
                    </a:lnTo>
                    <a:lnTo>
                      <a:pt x="0" y="8"/>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9" name="Freeform 1301"/>
              <p:cNvSpPr/>
              <p:nvPr/>
            </p:nvSpPr>
            <p:spPr bwMode="auto">
              <a:xfrm>
                <a:off x="1540556" y="2479046"/>
                <a:ext cx="4075" cy="11749"/>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2"/>
                    </a:lnTo>
                    <a:lnTo>
                      <a:pt x="2" y="2"/>
                    </a:lnTo>
                    <a:lnTo>
                      <a:pt x="4" y="2"/>
                    </a:lnTo>
                    <a:lnTo>
                      <a:pt x="2" y="4"/>
                    </a:lnTo>
                    <a:lnTo>
                      <a:pt x="2" y="10"/>
                    </a:lnTo>
                    <a:lnTo>
                      <a:pt x="0" y="8"/>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0" name="Freeform 1302"/>
              <p:cNvSpPr/>
              <p:nvPr/>
            </p:nvSpPr>
            <p:spPr bwMode="auto">
              <a:xfrm>
                <a:off x="1599646" y="2473171"/>
                <a:ext cx="2038" cy="5875"/>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2" y="0"/>
                    </a:lnTo>
                    <a:lnTo>
                      <a:pt x="2" y="2"/>
                    </a:lnTo>
                    <a:lnTo>
                      <a:pt x="0" y="6"/>
                    </a:lnTo>
                    <a:lnTo>
                      <a:pt x="0" y="4"/>
                    </a:lnTo>
                    <a:lnTo>
                      <a:pt x="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1" name="Freeform 1303"/>
              <p:cNvSpPr/>
              <p:nvPr/>
            </p:nvSpPr>
            <p:spPr bwMode="auto">
              <a:xfrm>
                <a:off x="1599646" y="2473171"/>
                <a:ext cx="2038" cy="5875"/>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2" y="0"/>
                    </a:lnTo>
                    <a:lnTo>
                      <a:pt x="2" y="2"/>
                    </a:lnTo>
                    <a:lnTo>
                      <a:pt x="0" y="6"/>
                    </a:lnTo>
                    <a:lnTo>
                      <a:pt x="0"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2" name="Freeform 1304"/>
              <p:cNvSpPr/>
              <p:nvPr/>
            </p:nvSpPr>
            <p:spPr bwMode="auto">
              <a:xfrm>
                <a:off x="1607796" y="2473171"/>
                <a:ext cx="2038" cy="1959"/>
              </a:xfrm>
              <a:custGeom>
                <a:avLst/>
                <a:gdLst>
                  <a:gd name="T0" fmla="*/ 2 w 2"/>
                  <a:gd name="T1" fmla="*/ 2 h 2"/>
                  <a:gd name="T2" fmla="*/ 0 w 2"/>
                  <a:gd name="T3" fmla="*/ 2 h 2"/>
                  <a:gd name="T4" fmla="*/ 0 w 2"/>
                  <a:gd name="T5" fmla="*/ 0 h 2"/>
                  <a:gd name="T6" fmla="*/ 2 w 2"/>
                  <a:gd name="T7" fmla="*/ 0 h 2"/>
                  <a:gd name="T8" fmla="*/ 2 w 2"/>
                  <a:gd name="T9" fmla="*/ 0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0" y="2"/>
                    </a:lnTo>
                    <a:lnTo>
                      <a:pt x="0" y="0"/>
                    </a:lnTo>
                    <a:lnTo>
                      <a:pt x="2" y="0"/>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3" name="Freeform 1305"/>
              <p:cNvSpPr/>
              <p:nvPr/>
            </p:nvSpPr>
            <p:spPr bwMode="auto">
              <a:xfrm>
                <a:off x="1607796" y="2473171"/>
                <a:ext cx="2038" cy="1959"/>
              </a:xfrm>
              <a:custGeom>
                <a:avLst/>
                <a:gdLst>
                  <a:gd name="T0" fmla="*/ 2 w 2"/>
                  <a:gd name="T1" fmla="*/ 2 h 2"/>
                  <a:gd name="T2" fmla="*/ 0 w 2"/>
                  <a:gd name="T3" fmla="*/ 2 h 2"/>
                  <a:gd name="T4" fmla="*/ 0 w 2"/>
                  <a:gd name="T5" fmla="*/ 0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0" y="2"/>
                    </a:lnTo>
                    <a:lnTo>
                      <a:pt x="0" y="0"/>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4" name="Freeform 1306"/>
              <p:cNvSpPr/>
              <p:nvPr/>
            </p:nvSpPr>
            <p:spPr bwMode="auto">
              <a:xfrm>
                <a:off x="1622060" y="2455547"/>
                <a:ext cx="6112" cy="3916"/>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2"/>
                    </a:moveTo>
                    <a:lnTo>
                      <a:pt x="0" y="4"/>
                    </a:lnTo>
                    <a:lnTo>
                      <a:pt x="0" y="2"/>
                    </a:lnTo>
                    <a:lnTo>
                      <a:pt x="0" y="0"/>
                    </a:lnTo>
                    <a:lnTo>
                      <a:pt x="2" y="0"/>
                    </a:lnTo>
                    <a:lnTo>
                      <a:pt x="6" y="0"/>
                    </a:lnTo>
                    <a:lnTo>
                      <a:pt x="6" y="2"/>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5" name="Freeform 1307"/>
              <p:cNvSpPr/>
              <p:nvPr/>
            </p:nvSpPr>
            <p:spPr bwMode="auto">
              <a:xfrm>
                <a:off x="1622060" y="2455547"/>
                <a:ext cx="6112" cy="3916"/>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2"/>
                    </a:moveTo>
                    <a:lnTo>
                      <a:pt x="0" y="4"/>
                    </a:lnTo>
                    <a:lnTo>
                      <a:pt x="0" y="2"/>
                    </a:lnTo>
                    <a:lnTo>
                      <a:pt x="0" y="0"/>
                    </a:lnTo>
                    <a:lnTo>
                      <a:pt x="2" y="0"/>
                    </a:lnTo>
                    <a:lnTo>
                      <a:pt x="6" y="0"/>
                    </a:lnTo>
                    <a:lnTo>
                      <a:pt x="6"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6" name="Freeform 1308"/>
              <p:cNvSpPr/>
              <p:nvPr/>
            </p:nvSpPr>
            <p:spPr bwMode="auto">
              <a:xfrm>
                <a:off x="1597609" y="2430089"/>
                <a:ext cx="44827" cy="39165"/>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w 40"/>
                  <a:gd name="T69" fmla="*/ 18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lnTo>
                      <a:pt x="0"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7" name="Freeform 1309"/>
              <p:cNvSpPr/>
              <p:nvPr/>
            </p:nvSpPr>
            <p:spPr bwMode="auto">
              <a:xfrm>
                <a:off x="1597609" y="2430089"/>
                <a:ext cx="44827" cy="39165"/>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8" name="Freeform 1310"/>
              <p:cNvSpPr/>
              <p:nvPr/>
            </p:nvSpPr>
            <p:spPr bwMode="auto">
              <a:xfrm>
                <a:off x="1620021" y="2426173"/>
                <a:ext cx="6113" cy="1959"/>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w 6"/>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0"/>
                    </a:moveTo>
                    <a:lnTo>
                      <a:pt x="2" y="0"/>
                    </a:lnTo>
                    <a:lnTo>
                      <a:pt x="4" y="0"/>
                    </a:lnTo>
                    <a:lnTo>
                      <a:pt x="6" y="2"/>
                    </a:lnTo>
                    <a:lnTo>
                      <a:pt x="4" y="0"/>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9" name="Freeform 1311"/>
              <p:cNvSpPr/>
              <p:nvPr/>
            </p:nvSpPr>
            <p:spPr bwMode="auto">
              <a:xfrm>
                <a:off x="1620021" y="2426173"/>
                <a:ext cx="6113" cy="1959"/>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6" y="2"/>
                    </a:lnTo>
                    <a:lnTo>
                      <a:pt x="4" y="0"/>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0" name="Freeform 1312"/>
              <p:cNvSpPr/>
              <p:nvPr/>
            </p:nvSpPr>
            <p:spPr bwMode="auto">
              <a:xfrm>
                <a:off x="1383661" y="1895489"/>
                <a:ext cx="486984" cy="628596"/>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lnTo>
                      <a:pt x="401" y="39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1" name="Freeform 1313"/>
              <p:cNvSpPr/>
              <p:nvPr/>
            </p:nvSpPr>
            <p:spPr bwMode="auto">
              <a:xfrm>
                <a:off x="1383661" y="1895489"/>
                <a:ext cx="486984" cy="628596"/>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2" name="Freeform 1314"/>
              <p:cNvSpPr/>
              <p:nvPr/>
            </p:nvSpPr>
            <p:spPr bwMode="auto">
              <a:xfrm>
                <a:off x="4737530" y="3056727"/>
                <a:ext cx="350465" cy="29177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252 w 316"/>
                  <a:gd name="T125" fmla="*/ 127 h 2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lnTo>
                      <a:pt x="252"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3" name="Freeform 1315"/>
              <p:cNvSpPr/>
              <p:nvPr/>
            </p:nvSpPr>
            <p:spPr bwMode="auto">
              <a:xfrm>
                <a:off x="4737530" y="3056727"/>
                <a:ext cx="350465" cy="29177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4" name="Freeform 1316"/>
              <p:cNvSpPr/>
              <p:nvPr/>
            </p:nvSpPr>
            <p:spPr bwMode="auto">
              <a:xfrm>
                <a:off x="6210706" y="3773444"/>
                <a:ext cx="26488" cy="25458"/>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24 w 24"/>
                  <a:gd name="T63" fmla="*/ 8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lnTo>
                      <a:pt x="2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5" name="Freeform 1317"/>
              <p:cNvSpPr/>
              <p:nvPr/>
            </p:nvSpPr>
            <p:spPr bwMode="auto">
              <a:xfrm>
                <a:off x="6210706" y="3773444"/>
                <a:ext cx="26488" cy="25458"/>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6" name="Freeform 1318"/>
              <p:cNvSpPr/>
              <p:nvPr/>
            </p:nvSpPr>
            <p:spPr bwMode="auto">
              <a:xfrm>
                <a:off x="4613238" y="4122012"/>
                <a:ext cx="38714" cy="39165"/>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34 w 34"/>
                  <a:gd name="T33" fmla="*/ 14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lnTo>
                      <a:pt x="34"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7" name="Freeform 1319"/>
              <p:cNvSpPr/>
              <p:nvPr/>
            </p:nvSpPr>
            <p:spPr bwMode="auto">
              <a:xfrm>
                <a:off x="4613238" y="4122012"/>
                <a:ext cx="38714" cy="39165"/>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8" name="Freeform 1320"/>
              <p:cNvSpPr/>
              <p:nvPr/>
            </p:nvSpPr>
            <p:spPr bwMode="auto">
              <a:xfrm>
                <a:off x="4700853" y="2996022"/>
                <a:ext cx="30564" cy="13707"/>
              </a:xfrm>
              <a:custGeom>
                <a:avLst/>
                <a:gdLst>
                  <a:gd name="T0" fmla="*/ 22 w 28"/>
                  <a:gd name="T1" fmla="*/ 0 h 12"/>
                  <a:gd name="T2" fmla="*/ 18 w 28"/>
                  <a:gd name="T3" fmla="*/ 0 h 12"/>
                  <a:gd name="T4" fmla="*/ 16 w 28"/>
                  <a:gd name="T5" fmla="*/ 0 h 12"/>
                  <a:gd name="T6" fmla="*/ 14 w 28"/>
                  <a:gd name="T7" fmla="*/ 0 h 12"/>
                  <a:gd name="T8" fmla="*/ 10 w 28"/>
                  <a:gd name="T9" fmla="*/ 2 h 12"/>
                  <a:gd name="T10" fmla="*/ 8 w 28"/>
                  <a:gd name="T11" fmla="*/ 0 h 12"/>
                  <a:gd name="T12" fmla="*/ 0 w 28"/>
                  <a:gd name="T13" fmla="*/ 4 h 12"/>
                  <a:gd name="T14" fmla="*/ 4 w 28"/>
                  <a:gd name="T15" fmla="*/ 10 h 12"/>
                  <a:gd name="T16" fmla="*/ 8 w 28"/>
                  <a:gd name="T17" fmla="*/ 10 h 12"/>
                  <a:gd name="T18" fmla="*/ 12 w 28"/>
                  <a:gd name="T19" fmla="*/ 12 h 12"/>
                  <a:gd name="T20" fmla="*/ 14 w 28"/>
                  <a:gd name="T21" fmla="*/ 10 h 12"/>
                  <a:gd name="T22" fmla="*/ 18 w 28"/>
                  <a:gd name="T23" fmla="*/ 8 h 12"/>
                  <a:gd name="T24" fmla="*/ 22 w 28"/>
                  <a:gd name="T25" fmla="*/ 6 h 12"/>
                  <a:gd name="T26" fmla="*/ 26 w 28"/>
                  <a:gd name="T27" fmla="*/ 4 h 12"/>
                  <a:gd name="T28" fmla="*/ 28 w 28"/>
                  <a:gd name="T29" fmla="*/ 2 h 12"/>
                  <a:gd name="T30" fmla="*/ 26 w 28"/>
                  <a:gd name="T31" fmla="*/ 2 h 12"/>
                  <a:gd name="T32" fmla="*/ 24 w 28"/>
                  <a:gd name="T33" fmla="*/ 0 h 12"/>
                  <a:gd name="T34" fmla="*/ 22 w 28"/>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12">
                    <a:moveTo>
                      <a:pt x="22" y="0"/>
                    </a:moveTo>
                    <a:lnTo>
                      <a:pt x="18" y="0"/>
                    </a:lnTo>
                    <a:lnTo>
                      <a:pt x="16" y="0"/>
                    </a:lnTo>
                    <a:lnTo>
                      <a:pt x="14" y="0"/>
                    </a:lnTo>
                    <a:lnTo>
                      <a:pt x="10" y="2"/>
                    </a:lnTo>
                    <a:lnTo>
                      <a:pt x="8" y="0"/>
                    </a:lnTo>
                    <a:lnTo>
                      <a:pt x="0" y="4"/>
                    </a:lnTo>
                    <a:lnTo>
                      <a:pt x="4" y="10"/>
                    </a:lnTo>
                    <a:lnTo>
                      <a:pt x="8" y="10"/>
                    </a:lnTo>
                    <a:lnTo>
                      <a:pt x="12" y="12"/>
                    </a:lnTo>
                    <a:lnTo>
                      <a:pt x="14" y="10"/>
                    </a:lnTo>
                    <a:lnTo>
                      <a:pt x="18" y="8"/>
                    </a:lnTo>
                    <a:lnTo>
                      <a:pt x="22" y="6"/>
                    </a:lnTo>
                    <a:lnTo>
                      <a:pt x="26" y="4"/>
                    </a:lnTo>
                    <a:lnTo>
                      <a:pt x="28" y="2"/>
                    </a:lnTo>
                    <a:lnTo>
                      <a:pt x="26" y="2"/>
                    </a:lnTo>
                    <a:lnTo>
                      <a:pt x="24" y="0"/>
                    </a:lnTo>
                    <a:lnTo>
                      <a:pt x="22" y="0"/>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9" name="Freeform 1321"/>
              <p:cNvSpPr/>
              <p:nvPr/>
            </p:nvSpPr>
            <p:spPr bwMode="auto">
              <a:xfrm>
                <a:off x="4709004" y="2986230"/>
                <a:ext cx="28526" cy="13708"/>
              </a:xfrm>
              <a:custGeom>
                <a:avLst/>
                <a:gdLst>
                  <a:gd name="T0" fmla="*/ 24 w 26"/>
                  <a:gd name="T1" fmla="*/ 6 h 12"/>
                  <a:gd name="T2" fmla="*/ 26 w 26"/>
                  <a:gd name="T3" fmla="*/ 4 h 12"/>
                  <a:gd name="T4" fmla="*/ 26 w 26"/>
                  <a:gd name="T5" fmla="*/ 0 h 12"/>
                  <a:gd name="T6" fmla="*/ 26 w 26"/>
                  <a:gd name="T7" fmla="*/ 2 h 12"/>
                  <a:gd name="T8" fmla="*/ 18 w 26"/>
                  <a:gd name="T9" fmla="*/ 6 h 12"/>
                  <a:gd name="T10" fmla="*/ 4 w 26"/>
                  <a:gd name="T11" fmla="*/ 8 h 12"/>
                  <a:gd name="T12" fmla="*/ 2 w 26"/>
                  <a:gd name="T13" fmla="*/ 8 h 12"/>
                  <a:gd name="T14" fmla="*/ 2 w 26"/>
                  <a:gd name="T15" fmla="*/ 10 h 12"/>
                  <a:gd name="T16" fmla="*/ 0 w 26"/>
                  <a:gd name="T17" fmla="*/ 10 h 12"/>
                  <a:gd name="T18" fmla="*/ 2 w 26"/>
                  <a:gd name="T19" fmla="*/ 12 h 12"/>
                  <a:gd name="T20" fmla="*/ 6 w 26"/>
                  <a:gd name="T21" fmla="*/ 10 h 12"/>
                  <a:gd name="T22" fmla="*/ 8 w 26"/>
                  <a:gd name="T23" fmla="*/ 10 h 12"/>
                  <a:gd name="T24" fmla="*/ 10 w 26"/>
                  <a:gd name="T25" fmla="*/ 10 h 12"/>
                  <a:gd name="T26" fmla="*/ 14 w 26"/>
                  <a:gd name="T27" fmla="*/ 10 h 12"/>
                  <a:gd name="T28" fmla="*/ 16 w 26"/>
                  <a:gd name="T29" fmla="*/ 10 h 12"/>
                  <a:gd name="T30" fmla="*/ 18 w 26"/>
                  <a:gd name="T31" fmla="*/ 12 h 12"/>
                  <a:gd name="T32" fmla="*/ 22 w 26"/>
                  <a:gd name="T33" fmla="*/ 6 h 12"/>
                  <a:gd name="T34" fmla="*/ 24 w 26"/>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2">
                    <a:moveTo>
                      <a:pt x="24" y="6"/>
                    </a:moveTo>
                    <a:lnTo>
                      <a:pt x="26" y="4"/>
                    </a:lnTo>
                    <a:lnTo>
                      <a:pt x="26" y="0"/>
                    </a:lnTo>
                    <a:lnTo>
                      <a:pt x="26" y="2"/>
                    </a:lnTo>
                    <a:lnTo>
                      <a:pt x="18" y="6"/>
                    </a:lnTo>
                    <a:lnTo>
                      <a:pt x="4" y="8"/>
                    </a:lnTo>
                    <a:lnTo>
                      <a:pt x="2" y="8"/>
                    </a:lnTo>
                    <a:lnTo>
                      <a:pt x="2" y="10"/>
                    </a:lnTo>
                    <a:lnTo>
                      <a:pt x="0" y="10"/>
                    </a:lnTo>
                    <a:lnTo>
                      <a:pt x="2" y="12"/>
                    </a:lnTo>
                    <a:lnTo>
                      <a:pt x="6" y="10"/>
                    </a:lnTo>
                    <a:lnTo>
                      <a:pt x="8" y="10"/>
                    </a:lnTo>
                    <a:lnTo>
                      <a:pt x="10" y="10"/>
                    </a:lnTo>
                    <a:lnTo>
                      <a:pt x="14" y="10"/>
                    </a:lnTo>
                    <a:lnTo>
                      <a:pt x="16" y="10"/>
                    </a:lnTo>
                    <a:lnTo>
                      <a:pt x="18" y="12"/>
                    </a:lnTo>
                    <a:lnTo>
                      <a:pt x="22" y="6"/>
                    </a:lnTo>
                    <a:lnTo>
                      <a:pt x="24" y="6"/>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grpSp>
        <p:sp>
          <p:nvSpPr>
            <p:cNvPr id="1383" name="Rectangle 203"/>
            <p:cNvSpPr/>
            <p:nvPr/>
          </p:nvSpPr>
          <p:spPr bwMode="gray">
            <a:xfrm>
              <a:off x="1104803" y="3783274"/>
              <a:ext cx="144000" cy="144000"/>
            </a:xfrm>
            <a:prstGeom prst="rect">
              <a:avLst/>
            </a:prstGeom>
            <a:solidFill>
              <a:srgbClr val="000D45"/>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4" name="Rectangle 204"/>
            <p:cNvSpPr/>
            <p:nvPr/>
          </p:nvSpPr>
          <p:spPr bwMode="gray">
            <a:xfrm>
              <a:off x="1279428" y="3783274"/>
              <a:ext cx="144000" cy="144000"/>
            </a:xfrm>
            <a:prstGeom prst="rect">
              <a:avLst/>
            </a:prstGeom>
            <a:solidFill>
              <a:srgbClr val="899FFF"/>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5" name="Rectangle 205"/>
            <p:cNvSpPr/>
            <p:nvPr/>
          </p:nvSpPr>
          <p:spPr bwMode="gray">
            <a:xfrm>
              <a:off x="1104803" y="3978537"/>
              <a:ext cx="144000" cy="144000"/>
            </a:xfrm>
            <a:prstGeom prst="rect">
              <a:avLst/>
            </a:prstGeom>
            <a:solidFill>
              <a:srgbClr val="08C886"/>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6" name="Rectangle 206"/>
            <p:cNvSpPr/>
            <p:nvPr/>
          </p:nvSpPr>
          <p:spPr bwMode="gray">
            <a:xfrm>
              <a:off x="1279428" y="3978537"/>
              <a:ext cx="144000" cy="144000"/>
            </a:xfrm>
            <a:prstGeom prst="rect">
              <a:avLst/>
            </a:prstGeom>
            <a:solidFill>
              <a:srgbClr val="9BFBDB"/>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7" name="Rectangle 207"/>
            <p:cNvSpPr/>
            <p:nvPr/>
          </p:nvSpPr>
          <p:spPr bwMode="gray">
            <a:xfrm>
              <a:off x="1104803" y="4180149"/>
              <a:ext cx="144000" cy="144000"/>
            </a:xfrm>
            <a:prstGeom prst="rect">
              <a:avLst/>
            </a:prstGeom>
            <a:solidFill>
              <a:srgbClr val="C782FF">
                <a:lumMod val="75000"/>
              </a:srgbClr>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8" name="Rectangle 208"/>
            <p:cNvSpPr/>
            <p:nvPr/>
          </p:nvSpPr>
          <p:spPr bwMode="gray">
            <a:xfrm>
              <a:off x="1279428" y="4180149"/>
              <a:ext cx="144000" cy="144000"/>
            </a:xfrm>
            <a:prstGeom prst="rect">
              <a:avLst/>
            </a:prstGeom>
            <a:solidFill>
              <a:srgbClr val="C782FF">
                <a:lumMod val="40000"/>
                <a:lumOff val="60000"/>
              </a:srgbClr>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9" name="TextBox 209"/>
            <p:cNvSpPr txBox="1"/>
            <p:nvPr/>
          </p:nvSpPr>
          <p:spPr bwMode="gray">
            <a:xfrm>
              <a:off x="1463578" y="3776130"/>
              <a:ext cx="427135"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NDM</a:t>
              </a:r>
              <a:endParaRPr kumimoji="0" lang="en-US" sz="1200" b="0" i="0" u="none" strike="noStrike" kern="0" cap="none" spc="0" normalizeH="0" baseline="0" noProof="0" dirty="0">
                <a:ln>
                  <a:noFill/>
                </a:ln>
                <a:solidFill>
                  <a:srgbClr val="000000"/>
                </a:solidFill>
                <a:effectLst/>
                <a:uLnTx/>
                <a:uFillTx/>
              </a:endParaRPr>
            </a:p>
          </p:txBody>
        </p:sp>
        <p:sp>
          <p:nvSpPr>
            <p:cNvPr id="1390" name="TextBox 210"/>
            <p:cNvSpPr txBox="1"/>
            <p:nvPr/>
          </p:nvSpPr>
          <p:spPr bwMode="gray">
            <a:xfrm>
              <a:off x="1463578" y="3971393"/>
              <a:ext cx="427135"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VIM</a:t>
              </a:r>
              <a:endParaRPr kumimoji="0" lang="en-US" sz="1200" b="0" i="0" u="none" strike="noStrike" kern="0" cap="none" spc="0" normalizeH="0" baseline="0" noProof="0" dirty="0">
                <a:ln>
                  <a:noFill/>
                </a:ln>
                <a:solidFill>
                  <a:srgbClr val="000000"/>
                </a:solidFill>
                <a:effectLst/>
                <a:uLnTx/>
                <a:uFillTx/>
              </a:endParaRPr>
            </a:p>
          </p:txBody>
        </p:sp>
        <p:sp>
          <p:nvSpPr>
            <p:cNvPr id="1391" name="TextBox 211"/>
            <p:cNvSpPr txBox="1"/>
            <p:nvPr/>
          </p:nvSpPr>
          <p:spPr bwMode="gray">
            <a:xfrm>
              <a:off x="1466753" y="4173005"/>
              <a:ext cx="428187"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IMP</a:t>
              </a:r>
              <a:endParaRPr kumimoji="0" lang="en-US" sz="1200" b="0" i="0" u="none" strike="noStrike" kern="0" cap="none" spc="0" normalizeH="0" baseline="0" noProof="0" dirty="0">
                <a:ln>
                  <a:noFill/>
                </a:ln>
                <a:solidFill>
                  <a:srgbClr val="000000"/>
                </a:solidFill>
                <a:effectLst/>
                <a:uLnTx/>
                <a:uFillTx/>
              </a:endParaRPr>
            </a:p>
          </p:txBody>
        </p:sp>
      </p:grpSp>
      <p:sp>
        <p:nvSpPr>
          <p:cNvPr id="2700" name="文本框 2699"/>
          <p:cNvSpPr txBox="1"/>
          <p:nvPr/>
        </p:nvSpPr>
        <p:spPr>
          <a:xfrm>
            <a:off x="814242" y="4866480"/>
            <a:ext cx="4922665" cy="123111"/>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rPr>
              <a:t>深色表示</a:t>
            </a:r>
            <a:r>
              <a:rPr kumimoji="0" lang="en-US" altLang="zh-CN" sz="800" b="0" i="0" u="none" strike="noStrike" kern="0" cap="none" spc="0" normalizeH="0" baseline="0" noProof="0" dirty="0" err="1">
                <a:ln>
                  <a:noFill/>
                </a:ln>
                <a:solidFill>
                  <a:prstClr val="black">
                    <a:lumMod val="75000"/>
                    <a:lumOff val="25000"/>
                  </a:prstClr>
                </a:solidFill>
                <a:effectLst/>
                <a:uLnTx/>
                <a:uFillTx/>
              </a:rPr>
              <a:t>MBL</a:t>
            </a:r>
            <a:r>
              <a:rPr kumimoji="0" lang="zh-CN" altLang="en-US" sz="800" b="0" i="0" u="none" strike="noStrike" kern="0" cap="none" spc="0" normalizeH="0" baseline="0" noProof="0" dirty="0">
                <a:ln>
                  <a:noFill/>
                </a:ln>
                <a:solidFill>
                  <a:prstClr val="black">
                    <a:lumMod val="75000"/>
                    <a:lumOff val="25000"/>
                  </a:prstClr>
                </a:solidFill>
                <a:effectLst/>
                <a:uLnTx/>
                <a:uFillTx/>
              </a:rPr>
              <a:t>是该国最流行的碳青霉烯酶。浅色表示在丝氨酸酶（KPC或OXA-48-like）更流行的国家</a:t>
            </a:r>
            <a:endParaRPr kumimoji="0" lang="zh-CN" altLang="en-US" sz="800" b="0" i="0" u="none" strike="noStrike" kern="0" cap="none" spc="0" normalizeH="0" baseline="0" noProof="0" dirty="0">
              <a:ln>
                <a:noFill/>
              </a:ln>
              <a:solidFill>
                <a:prstClr val="black">
                  <a:lumMod val="75000"/>
                  <a:lumOff val="25000"/>
                </a:prstClr>
              </a:solidFill>
              <a:effectLst/>
              <a:uLnTx/>
              <a:uFillTx/>
            </a:endParaRPr>
          </a:p>
        </p:txBody>
      </p:sp>
      <p:grpSp>
        <p:nvGrpSpPr>
          <p:cNvPr id="2701" name="组合 2700"/>
          <p:cNvGrpSpPr/>
          <p:nvPr/>
        </p:nvGrpSpPr>
        <p:grpSpPr>
          <a:xfrm>
            <a:off x="519966" y="1384087"/>
            <a:ext cx="5361999" cy="432000"/>
            <a:chOff x="714529" y="1161733"/>
            <a:chExt cx="5105246" cy="432000"/>
          </a:xfrm>
        </p:grpSpPr>
        <p:sp>
          <p:nvSpPr>
            <p:cNvPr id="2702" name="文本框 1326"/>
            <p:cNvSpPr txBox="1">
              <a:spLocks noChangeArrowheads="1"/>
            </p:cNvSpPr>
            <p:nvPr/>
          </p:nvSpPr>
          <p:spPr bwMode="auto">
            <a:xfrm>
              <a:off x="714529" y="1161733"/>
              <a:ext cx="510524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panose="020B0604020202090204"/>
                  <a:ea typeface="微软雅黑"/>
                </a:rPr>
                <a:t>肠杆菌中获得性</a:t>
              </a:r>
              <a:r>
                <a:rPr kumimoji="1" lang="en-US" altLang="zh-CN" sz="1600" b="1" dirty="0" err="1">
                  <a:solidFill>
                    <a:prstClr val="white"/>
                  </a:solidFill>
                  <a:latin typeface="Arial" panose="020B0604020202090204"/>
                  <a:ea typeface="微软雅黑"/>
                </a:rPr>
                <a:t>MBL</a:t>
              </a:r>
              <a:r>
                <a:rPr kumimoji="1" lang="zh-CN" altLang="en-US" sz="1600" b="1" dirty="0">
                  <a:solidFill>
                    <a:prstClr val="white"/>
                  </a:solidFill>
                  <a:latin typeface="Arial" panose="020B0604020202090204"/>
                  <a:ea typeface="微软雅黑"/>
                </a:rPr>
                <a:t>的全球分布</a:t>
              </a:r>
              <a:r>
                <a:rPr kumimoji="1" lang="en-US" altLang="zh-CN" sz="1600" b="1" baseline="30000" dirty="0">
                  <a:solidFill>
                    <a:prstClr val="white"/>
                  </a:solidFill>
                  <a:latin typeface="Arial" panose="020B0604020202090204"/>
                  <a:ea typeface="微软雅黑"/>
                </a:rPr>
                <a:t>1</a:t>
              </a:r>
              <a:endParaRPr kumimoji="1" lang="zh-CN" altLang="en-US" sz="1600" b="1" baseline="30000" dirty="0">
                <a:solidFill>
                  <a:prstClr val="white"/>
                </a:solidFill>
                <a:latin typeface="Arial" panose="020B0604020202090204"/>
                <a:ea typeface="微软雅黑"/>
              </a:endParaRPr>
            </a:p>
          </p:txBody>
        </p:sp>
        <p:pic>
          <p:nvPicPr>
            <p:cNvPr id="2703" name="图片 2702"/>
            <p:cNvPicPr>
              <a:picLocks noChangeAspect="1"/>
            </p:cNvPicPr>
            <p:nvPr/>
          </p:nvPicPr>
          <p:blipFill>
            <a:blip r:embed="rId4"/>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473393" y="674385"/>
            <a:ext cx="10950045" cy="452432"/>
          </a:xfrm>
          <a:prstGeom prst="rect">
            <a:avLst/>
          </a:prstGeom>
        </p:spPr>
        <p:txBody>
          <a:bodyPr vert="horz" anchor="b" anchorCtr="0">
            <a:noAutofit/>
          </a:bodyPr>
          <a:lstStyle>
            <a:lvl1pPr>
              <a:lnSpc>
                <a:spcPct val="90000"/>
              </a:lnSpc>
              <a:spcBef>
                <a:spcPct val="0"/>
              </a:spcBef>
              <a:buNone/>
              <a:defRPr lang="en-US" sz="2600" b="1" i="0" smtClean="0">
                <a:solidFill>
                  <a:srgbClr val="000D45"/>
                </a:solidFill>
                <a:latin typeface="+mn-ea"/>
                <a:cs typeface="+mn-ea"/>
              </a:defRPr>
            </a:lvl1pPr>
          </a:lstStyle>
          <a:p>
            <a:r>
              <a:rPr lang="zh-CN" altLang="zh-CN" dirty="0">
                <a:sym typeface="+mn-lt"/>
              </a:rPr>
              <a:t>MBL</a:t>
            </a:r>
            <a:r>
              <a:rPr lang="zh-CN" altLang="en-US" dirty="0">
                <a:sym typeface="+mn-lt"/>
              </a:rPr>
              <a:t>（金属</a:t>
            </a:r>
            <a:r>
              <a:rPr lang="en-US" altLang="zh-CN" dirty="0">
                <a:sym typeface="+mn-lt"/>
              </a:rPr>
              <a:t>β-</a:t>
            </a:r>
            <a:r>
              <a:rPr lang="zh-CN" altLang="en-US" dirty="0">
                <a:sym typeface="+mn-lt"/>
              </a:rPr>
              <a:t>内酰胺酶）分类和底物特异性</a:t>
            </a:r>
            <a:endParaRPr lang="zh-CN" altLang="en-US" dirty="0">
              <a:sym typeface="+mn-lt"/>
            </a:endParaRPr>
          </a:p>
        </p:txBody>
      </p:sp>
      <p:sp>
        <p:nvSpPr>
          <p:cNvPr id="3" name="文本框 2"/>
          <p:cNvSpPr txBox="1"/>
          <p:nvPr/>
        </p:nvSpPr>
        <p:spPr>
          <a:xfrm>
            <a:off x="649432" y="6469987"/>
            <a:ext cx="10624704" cy="461665"/>
          </a:xfrm>
          <a:prstGeom prst="rect">
            <a:avLst/>
          </a:prstGeom>
          <a:noFill/>
        </p:spPr>
        <p:txBody>
          <a:bodyPr wrap="square" numCol="1">
            <a:spAutoFit/>
          </a:bodyPr>
          <a:lstStyle>
            <a:defPPr>
              <a:defRPr lang="zh-CN"/>
            </a:defPPr>
            <a:lvl1pPr marL="228600" indent="-228600">
              <a:buFont typeface="+mj-lt"/>
              <a:buAutoNum type="arabicPeriod"/>
              <a:defRPr sz="800">
                <a:solidFill>
                  <a:schemeClr val="bg1">
                    <a:lumMod val="50000"/>
                  </a:schemeClr>
                </a:solidFill>
                <a:effectLst/>
                <a:latin typeface="微软雅黑" panose="020B0503020204020204" charset="-122"/>
                <a:ea typeface="微软雅黑" panose="020B0503020204020204" charset="-122"/>
              </a:defRPr>
            </a:lvl1pPr>
          </a:lstStyle>
          <a:p>
            <a:r>
              <a:rPr lang="zh-CN" altLang="en-US" dirty="0">
                <a:latin typeface="+mn-lt"/>
                <a:ea typeface="+mn-ea"/>
                <a:cs typeface="+mn-ea"/>
                <a:sym typeface="+mn-lt"/>
              </a:rPr>
              <a:t>Yang Y, </a:t>
            </a:r>
            <a:r>
              <a:rPr lang="en-US" altLang="zh-CN" dirty="0">
                <a:latin typeface="+mn-lt"/>
                <a:ea typeface="+mn-ea"/>
                <a:cs typeface="+mn-ea"/>
                <a:sym typeface="+mn-lt"/>
              </a:rPr>
              <a:t>et al</a:t>
            </a:r>
            <a:r>
              <a:rPr lang="zh-CN" altLang="en-US" dirty="0">
                <a:latin typeface="+mn-lt"/>
                <a:ea typeface="+mn-ea"/>
                <a:cs typeface="+mn-ea"/>
                <a:sym typeface="+mn-lt"/>
              </a:rPr>
              <a:t>. Metallo-β-lactamase-mediated antimicrobial resistance and progress in inhibitor discovery. Trends Microbiol. 2023 Jul;31(7):735-748.</a:t>
            </a:r>
            <a:endParaRPr lang="en-US" altLang="zh-CN" dirty="0">
              <a:latin typeface="+mn-lt"/>
              <a:ea typeface="+mn-ea"/>
              <a:cs typeface="+mn-ea"/>
              <a:sym typeface="+mn-lt"/>
            </a:endParaRPr>
          </a:p>
          <a:p>
            <a:r>
              <a:rPr lang="en-US" altLang="zh-CN" dirty="0" err="1">
                <a:latin typeface="+mn-lt"/>
                <a:ea typeface="+mn-ea"/>
                <a:cs typeface="+mn-ea"/>
                <a:sym typeface="+mn-lt"/>
              </a:rPr>
              <a:t>Zakhour</a:t>
            </a:r>
            <a:r>
              <a:rPr lang="en-US" altLang="zh-CN" dirty="0">
                <a:latin typeface="+mn-lt"/>
                <a:ea typeface="+mn-ea"/>
                <a:cs typeface="+mn-ea"/>
                <a:sym typeface="+mn-lt"/>
              </a:rPr>
              <a:t> J, et al. </a:t>
            </a:r>
            <a:r>
              <a:rPr lang="en-US" altLang="zh-CN" dirty="0" err="1">
                <a:latin typeface="+mn-lt"/>
                <a:ea typeface="+mn-ea"/>
                <a:cs typeface="+mn-ea"/>
                <a:sym typeface="+mn-lt"/>
              </a:rPr>
              <a:t>Metallo</a:t>
            </a:r>
            <a:r>
              <a:rPr lang="en-US" altLang="zh-CN" dirty="0">
                <a:latin typeface="+mn-lt"/>
                <a:ea typeface="+mn-ea"/>
                <a:cs typeface="+mn-ea"/>
                <a:sym typeface="+mn-lt"/>
              </a:rPr>
              <a:t>-beta-lactamases: mechanisms, treatment challenges, and future prospects. Expert Rev Anti Infect </a:t>
            </a:r>
            <a:r>
              <a:rPr lang="en-US" altLang="zh-CN" dirty="0" err="1">
                <a:latin typeface="+mn-lt"/>
                <a:ea typeface="+mn-ea"/>
                <a:cs typeface="+mn-ea"/>
                <a:sym typeface="+mn-lt"/>
              </a:rPr>
              <a:t>Ther</a:t>
            </a:r>
            <a:r>
              <a:rPr lang="en-US" altLang="zh-CN" dirty="0">
                <a:latin typeface="+mn-lt"/>
                <a:ea typeface="+mn-ea"/>
                <a:cs typeface="+mn-ea"/>
                <a:sym typeface="+mn-lt"/>
              </a:rPr>
              <a:t>. 2024 Jan 26:1-13. </a:t>
            </a:r>
            <a:endParaRPr lang="en-US" altLang="zh-CN" dirty="0">
              <a:latin typeface="+mn-lt"/>
              <a:ea typeface="+mn-ea"/>
              <a:cs typeface="+mn-ea"/>
              <a:sym typeface="+mn-lt"/>
            </a:endParaRPr>
          </a:p>
          <a:p>
            <a:endParaRPr lang="zh-CN" altLang="en-US" dirty="0">
              <a:latin typeface="+mn-lt"/>
              <a:ea typeface="+mn-ea"/>
              <a:cs typeface="+mn-ea"/>
              <a:sym typeface="+mn-lt"/>
            </a:endParaRPr>
          </a:p>
        </p:txBody>
      </p:sp>
      <p:grpSp>
        <p:nvGrpSpPr>
          <p:cNvPr id="4" name="组合 3"/>
          <p:cNvGrpSpPr/>
          <p:nvPr/>
        </p:nvGrpSpPr>
        <p:grpSpPr>
          <a:xfrm>
            <a:off x="5838180" y="1367404"/>
            <a:ext cx="5884628" cy="2578477"/>
            <a:chOff x="6055038" y="1041023"/>
            <a:chExt cx="5575300" cy="2677005"/>
          </a:xfrm>
        </p:grpSpPr>
        <p:sp>
          <p:nvSpPr>
            <p:cNvPr id="6"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8" name="直接连接符 7"/>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14" name="直接连接符 1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16" name="矩形: 剪去对角 15"/>
          <p:cNvSpPr/>
          <p:nvPr/>
        </p:nvSpPr>
        <p:spPr bwMode="auto">
          <a:xfrm>
            <a:off x="473393" y="1367404"/>
            <a:ext cx="5193389" cy="5102583"/>
          </a:xfrm>
          <a:prstGeom prst="snip2DiagRect">
            <a:avLst>
              <a:gd name="adj1" fmla="val 0"/>
              <a:gd name="adj2" fmla="val 255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9" name="组合 18"/>
          <p:cNvGrpSpPr/>
          <p:nvPr/>
        </p:nvGrpSpPr>
        <p:grpSpPr>
          <a:xfrm>
            <a:off x="574706" y="1465254"/>
            <a:ext cx="4990763" cy="432000"/>
            <a:chOff x="1067989" y="1161733"/>
            <a:chExt cx="4751786" cy="432000"/>
          </a:xfrm>
        </p:grpSpPr>
        <p:sp>
          <p:nvSpPr>
            <p:cNvPr id="20" name="文本框 1326"/>
            <p:cNvSpPr txBox="1">
              <a:spLocks noChangeArrowheads="1"/>
            </p:cNvSpPr>
            <p:nvPr/>
          </p:nvSpPr>
          <p:spPr bwMode="auto">
            <a:xfrm>
              <a:off x="1067989" y="1161733"/>
              <a:ext cx="475178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panose="020B0604020202090204"/>
                  <a:ea typeface="微软雅黑"/>
                </a:rPr>
                <a:t>基于氨基酸序列的</a:t>
              </a:r>
              <a:r>
                <a:rPr kumimoji="1" lang="en-US" altLang="zh-CN" sz="1600" b="1" dirty="0">
                  <a:solidFill>
                    <a:prstClr val="white"/>
                  </a:solidFill>
                  <a:latin typeface="Arial" panose="020B0604020202090204"/>
                  <a:ea typeface="微软雅黑"/>
                </a:rPr>
                <a:t>94</a:t>
              </a:r>
              <a:r>
                <a:rPr kumimoji="1" lang="zh-CN" altLang="en-US" sz="1600" b="1" dirty="0">
                  <a:solidFill>
                    <a:prstClr val="white"/>
                  </a:solidFill>
                  <a:latin typeface="Arial" panose="020B0604020202090204"/>
                  <a:ea typeface="微软雅黑"/>
                </a:rPr>
                <a:t>个</a:t>
              </a:r>
              <a:r>
                <a:rPr kumimoji="1" lang="en-US" altLang="zh-CN" sz="1600" b="1" dirty="0">
                  <a:solidFill>
                    <a:prstClr val="white"/>
                  </a:solidFill>
                  <a:latin typeface="Arial" panose="020B0604020202090204"/>
                  <a:ea typeface="微软雅黑"/>
                </a:rPr>
                <a:t>MBLs</a:t>
              </a:r>
              <a:r>
                <a:rPr kumimoji="1" lang="zh-CN" altLang="en-US" sz="1600" b="1" dirty="0">
                  <a:solidFill>
                    <a:prstClr val="white"/>
                  </a:solidFill>
                  <a:latin typeface="Arial" panose="020B0604020202090204"/>
                  <a:ea typeface="微软雅黑"/>
                </a:rPr>
                <a:t>的最大似然系统发育树</a:t>
              </a:r>
              <a:r>
                <a:rPr kumimoji="1" lang="en-US" altLang="zh-CN" sz="1600" b="1" baseline="30000" dirty="0">
                  <a:solidFill>
                    <a:prstClr val="white"/>
                  </a:solidFill>
                  <a:latin typeface="Arial" panose="020B0604020202090204"/>
                  <a:ea typeface="微软雅黑"/>
                </a:rPr>
                <a:t>1</a:t>
              </a:r>
              <a:endParaRPr kumimoji="1" lang="en-US" altLang="zh-CN" sz="1600" b="1" baseline="30000" dirty="0">
                <a:solidFill>
                  <a:prstClr val="white"/>
                </a:solidFill>
                <a:latin typeface="Arial" panose="020B0604020202090204"/>
                <a:ea typeface="微软雅黑"/>
              </a:endParaRPr>
            </a:p>
          </p:txBody>
        </p:sp>
        <p:pic>
          <p:nvPicPr>
            <p:cNvPr id="21" name="图片 20"/>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sp>
        <p:nvSpPr>
          <p:cNvPr id="22" name="文本框 21"/>
          <p:cNvSpPr txBox="1"/>
          <p:nvPr/>
        </p:nvSpPr>
        <p:spPr>
          <a:xfrm>
            <a:off x="6038101" y="1821616"/>
            <a:ext cx="4850398" cy="608243"/>
          </a:xfrm>
          <a:prstGeom prst="rect">
            <a:avLst/>
          </a:prstGeom>
          <a:noFill/>
        </p:spPr>
        <p:txBody>
          <a:bodyPr wrap="square" lIns="0" tIns="0" rIns="0" bIns="0">
            <a:spAutoFit/>
          </a:bodyPr>
          <a:lstStyle/>
          <a:p>
            <a:pPr marL="179705" indent="-179705">
              <a:lnSpc>
                <a:spcPct val="150000"/>
              </a:lnSpc>
              <a:buFont typeface="Arial" panose="020B0604020202090204" pitchFamily="34" charset="0"/>
              <a:buChar char="•"/>
            </a:pPr>
            <a:r>
              <a:rPr lang="zh-CN" altLang="en-US" sz="1400" dirty="0">
                <a:solidFill>
                  <a:prstClr val="black"/>
                </a:solidFill>
                <a:latin typeface="微软雅黑" panose="020B0503020204020204" charset="-122"/>
              </a:rPr>
              <a:t>分别对应 </a:t>
            </a:r>
            <a:r>
              <a:rPr lang="en-US" altLang="zh-CN" sz="1400" dirty="0">
                <a:solidFill>
                  <a:prstClr val="black"/>
                </a:solidFill>
                <a:latin typeface="微软雅黑" panose="020B0503020204020204" charset="-122"/>
              </a:rPr>
              <a:t>Ambler </a:t>
            </a:r>
            <a:r>
              <a:rPr lang="zh-CN" altLang="en-US" sz="1400" dirty="0">
                <a:solidFill>
                  <a:prstClr val="black"/>
                </a:solidFill>
                <a:latin typeface="微软雅黑" panose="020B0503020204020204" charset="-122"/>
              </a:rPr>
              <a:t>亚类</a:t>
            </a:r>
            <a:r>
              <a:rPr lang="en-US" altLang="zh-CN" sz="1400" dirty="0">
                <a:solidFill>
                  <a:prstClr val="black"/>
                </a:solidFill>
                <a:latin typeface="微软雅黑" panose="020B0503020204020204" charset="-122"/>
              </a:rPr>
              <a:t>B1</a:t>
            </a:r>
            <a:r>
              <a:rPr lang="zh-CN" altLang="en-US" sz="1400" dirty="0">
                <a:solidFill>
                  <a:prstClr val="black"/>
                </a:solidFill>
                <a:latin typeface="微软雅黑" panose="020B0503020204020204" charset="-122"/>
              </a:rPr>
              <a:t>、</a:t>
            </a:r>
            <a:r>
              <a:rPr lang="en-US" altLang="zh-CN" sz="1400" dirty="0">
                <a:solidFill>
                  <a:prstClr val="black"/>
                </a:solidFill>
                <a:latin typeface="微软雅黑" panose="020B0503020204020204" charset="-122"/>
              </a:rPr>
              <a:t>B2</a:t>
            </a:r>
            <a:r>
              <a:rPr lang="zh-CN" altLang="en-US" sz="1400" dirty="0">
                <a:solidFill>
                  <a:prstClr val="black"/>
                </a:solidFill>
                <a:latin typeface="微软雅黑" panose="020B0503020204020204" charset="-122"/>
              </a:rPr>
              <a:t>和</a:t>
            </a:r>
            <a:r>
              <a:rPr lang="en-US" altLang="zh-CN" sz="1400" dirty="0">
                <a:solidFill>
                  <a:prstClr val="black"/>
                </a:solidFill>
                <a:latin typeface="微软雅黑" panose="020B0503020204020204" charset="-122"/>
              </a:rPr>
              <a:t>B3</a:t>
            </a:r>
            <a:r>
              <a:rPr lang="zh-CN" altLang="en-US" sz="1400" dirty="0">
                <a:solidFill>
                  <a:prstClr val="black"/>
                </a:solidFill>
                <a:latin typeface="微软雅黑" panose="020B0503020204020204" charset="-122"/>
              </a:rPr>
              <a:t>，其中</a:t>
            </a:r>
            <a:r>
              <a:rPr lang="en-US" altLang="zh-CN" sz="1400" dirty="0">
                <a:solidFill>
                  <a:prstClr val="black"/>
                </a:solidFill>
                <a:latin typeface="微软雅黑" panose="020B0503020204020204" charset="-122"/>
              </a:rPr>
              <a:t>B1 </a:t>
            </a:r>
            <a:r>
              <a:rPr lang="zh-CN" altLang="en-US" sz="1400" dirty="0">
                <a:solidFill>
                  <a:prstClr val="black"/>
                </a:solidFill>
                <a:latin typeface="微软雅黑" panose="020B0503020204020204" charset="-122"/>
              </a:rPr>
              <a:t>类（如</a:t>
            </a:r>
            <a:r>
              <a:rPr lang="en-US" altLang="zh-CN" sz="1400" dirty="0">
                <a:solidFill>
                  <a:prstClr val="black"/>
                </a:solidFill>
                <a:latin typeface="微软雅黑" panose="020B0503020204020204" charset="-122"/>
              </a:rPr>
              <a:t>IMP</a:t>
            </a:r>
            <a:r>
              <a:rPr lang="zh-CN" altLang="en-US" sz="1400" dirty="0">
                <a:solidFill>
                  <a:prstClr val="black"/>
                </a:solidFill>
                <a:latin typeface="微软雅黑" panose="020B0503020204020204" charset="-122"/>
              </a:rPr>
              <a:t>、</a:t>
            </a:r>
            <a:r>
              <a:rPr lang="en-US" altLang="zh-CN" sz="1400" dirty="0">
                <a:solidFill>
                  <a:prstClr val="black"/>
                </a:solidFill>
                <a:latin typeface="微软雅黑" panose="020B0503020204020204" charset="-122"/>
              </a:rPr>
              <a:t>VIM</a:t>
            </a:r>
            <a:r>
              <a:rPr lang="zh-CN" altLang="en-US" sz="1400" dirty="0">
                <a:solidFill>
                  <a:prstClr val="black"/>
                </a:solidFill>
                <a:latin typeface="微软雅黑" panose="020B0503020204020204" charset="-122"/>
              </a:rPr>
              <a:t>和</a:t>
            </a:r>
            <a:r>
              <a:rPr lang="en-US" altLang="zh-CN" sz="1400" dirty="0">
                <a:solidFill>
                  <a:prstClr val="black"/>
                </a:solidFill>
                <a:latin typeface="微软雅黑" panose="020B0503020204020204" charset="-122"/>
              </a:rPr>
              <a:t>NDM</a:t>
            </a:r>
            <a:r>
              <a:rPr lang="zh-CN" altLang="en-US" sz="1400" dirty="0">
                <a:solidFill>
                  <a:prstClr val="black"/>
                </a:solidFill>
                <a:latin typeface="微软雅黑" panose="020B0503020204020204" charset="-122"/>
              </a:rPr>
              <a:t>等）是目前临床最流行的</a:t>
            </a:r>
            <a:r>
              <a:rPr lang="en-US" altLang="zh-CN" sz="1400" dirty="0">
                <a:solidFill>
                  <a:prstClr val="black"/>
                </a:solidFill>
                <a:latin typeface="微软雅黑" panose="020B0503020204020204" charset="-122"/>
              </a:rPr>
              <a:t>MBL</a:t>
            </a:r>
            <a:endParaRPr lang="zh-CN" altLang="en-US" sz="1400" dirty="0">
              <a:solidFill>
                <a:prstClr val="black"/>
              </a:solidFill>
              <a:latin typeface="微软雅黑" panose="020B0503020204020204" charset="-122"/>
            </a:endParaRPr>
          </a:p>
        </p:txBody>
      </p:sp>
      <p:pic>
        <p:nvPicPr>
          <p:cNvPr id="23" name="图片 22"/>
          <p:cNvPicPr>
            <a:picLocks noChangeAspect="1"/>
          </p:cNvPicPr>
          <p:nvPr/>
        </p:nvPicPr>
        <p:blipFill>
          <a:blip r:embed="rId2"/>
          <a:stretch>
            <a:fillRect/>
          </a:stretch>
        </p:blipFill>
        <p:spPr>
          <a:xfrm>
            <a:off x="788975" y="2016889"/>
            <a:ext cx="4562225" cy="4308365"/>
          </a:xfrm>
          <a:prstGeom prst="rect">
            <a:avLst/>
          </a:prstGeom>
        </p:spPr>
      </p:pic>
      <p:graphicFrame>
        <p:nvGraphicFramePr>
          <p:cNvPr id="24" name="Group 3"/>
          <p:cNvGraphicFramePr/>
          <p:nvPr/>
        </p:nvGraphicFramePr>
        <p:xfrm>
          <a:off x="6038101" y="2512031"/>
          <a:ext cx="4443414" cy="1245892"/>
        </p:xfrm>
        <a:graphic>
          <a:graphicData uri="http://schemas.openxmlformats.org/drawingml/2006/table">
            <a:tbl>
              <a:tblPr/>
              <a:tblGrid>
                <a:gridCol w="982405"/>
                <a:gridCol w="3461009"/>
              </a:tblGrid>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zh-CN" altLang="en-US" sz="1400" b="1" i="0" u="none" strike="noStrike" cap="none" normalizeH="0" baseline="0" dirty="0">
                          <a:ln>
                            <a:noFill/>
                          </a:ln>
                          <a:solidFill>
                            <a:schemeClr val="bg1"/>
                          </a:solidFill>
                          <a:effectLst/>
                          <a:latin typeface="微软雅黑" panose="020B0503020204020204" charset="-122"/>
                          <a:ea typeface="微软雅黑" panose="020B0503020204020204" charset="-122"/>
                        </a:rPr>
                        <a:t>分类</a:t>
                      </a:r>
                      <a:endParaRPr kumimoji="0" lang="en-GB" sz="1400" b="1" i="0" u="none" strike="noStrike" cap="none" normalizeH="0" baseline="0" dirty="0">
                        <a:ln>
                          <a:noFill/>
                        </a:ln>
                        <a:solidFill>
                          <a:schemeClr val="bg1"/>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rgbClr val="000D45"/>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zh-CN" altLang="en-US" sz="1400" b="1" i="0" u="none" strike="noStrike" cap="none" normalizeH="0" baseline="0" dirty="0">
                          <a:ln>
                            <a:noFill/>
                          </a:ln>
                          <a:solidFill>
                            <a:schemeClr val="bg1"/>
                          </a:solidFill>
                          <a:effectLst/>
                          <a:latin typeface="微软雅黑" panose="020B0503020204020204" charset="-122"/>
                          <a:ea typeface="微软雅黑" panose="020B0503020204020204" charset="-122"/>
                        </a:rPr>
                        <a:t>常见酶</a:t>
                      </a:r>
                      <a:endParaRPr kumimoji="0" lang="en-GB" sz="1400" b="1" i="0" u="none" strike="noStrike" cap="none" normalizeH="0" baseline="0" dirty="0">
                        <a:ln>
                          <a:noFill/>
                        </a:ln>
                        <a:solidFill>
                          <a:schemeClr val="bg1"/>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rgbClr val="000D45"/>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1"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1</a:t>
                      </a:r>
                      <a:endParaRPr kumimoji="0" lang="en-US" sz="1400" b="1"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IMP, VIM, NDM, SPM-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2</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sz="1400" b="0" i="0" u="none" strike="noStrike" cap="none" normalizeH="0" baseline="0" dirty="0" err="1">
                          <a:ln>
                            <a:noFill/>
                          </a:ln>
                          <a:solidFill>
                            <a:schemeClr val="bg2">
                              <a:lumMod val="10000"/>
                            </a:schemeClr>
                          </a:solidFill>
                          <a:effectLst/>
                          <a:latin typeface="微软雅黑" panose="020B0503020204020204" charset="-122"/>
                          <a:ea typeface="微软雅黑" panose="020B0503020204020204" charset="-122"/>
                        </a:rPr>
                        <a:t>CphA</a:t>
                      </a:r>
                      <a:r>
                        <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 Sfh-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3</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L1, FEZ-1, CAU-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ysClr val="window" lastClr="FFFFFF"/>
                    </a:solidFill>
                  </a:tcPr>
                </a:tc>
              </a:tr>
            </a:tbl>
          </a:graphicData>
        </a:graphic>
      </p:graphicFrame>
      <p:sp>
        <p:nvSpPr>
          <p:cNvPr id="25" name="文本框 24"/>
          <p:cNvSpPr txBox="1"/>
          <p:nvPr/>
        </p:nvSpPr>
        <p:spPr>
          <a:xfrm>
            <a:off x="6038101" y="1447968"/>
            <a:ext cx="1987341" cy="338554"/>
          </a:xfrm>
          <a:prstGeom prst="rect">
            <a:avLst/>
          </a:prstGeom>
          <a:noFill/>
        </p:spPr>
        <p:txBody>
          <a:bodyPr wrap="square" lIns="0" tIns="0" rIns="0" bIns="0" anchor="ctr" anchorCtr="0">
            <a:noAutofit/>
          </a:bodyPr>
          <a:lstStyle/>
          <a:p>
            <a:r>
              <a:rPr lang="en-US" altLang="zh-CN" sz="1600" b="1" dirty="0">
                <a:solidFill>
                  <a:srgbClr val="000D45"/>
                </a:solidFill>
                <a:latin typeface="微软雅黑" panose="020B0503020204020204" charset="-122"/>
              </a:rPr>
              <a:t>MBL</a:t>
            </a:r>
            <a:r>
              <a:rPr lang="zh-CN" altLang="en-US" sz="1600" b="1" dirty="0">
                <a:solidFill>
                  <a:srgbClr val="000D45"/>
                </a:solidFill>
                <a:latin typeface="微软雅黑" panose="020B0503020204020204" charset="-122"/>
              </a:rPr>
              <a:t>可分为三大类</a:t>
            </a:r>
            <a:r>
              <a:rPr kumimoji="1" lang="en-US" altLang="zh-CN" sz="1600" b="1" kern="0" baseline="30000" noProof="0" dirty="0">
                <a:ln>
                  <a:noFill/>
                </a:ln>
                <a:solidFill>
                  <a:srgbClr val="00033E"/>
                </a:solidFill>
                <a:effectLst/>
                <a:uLnTx/>
                <a:uFillTx/>
                <a:latin typeface="Arial" panose="020B0604020202090204"/>
                <a:ea typeface="微软雅黑"/>
                <a:sym typeface="+mn-ea"/>
              </a:rPr>
              <a:t>2</a:t>
            </a:r>
            <a:endParaRPr kumimoji="1" lang="en-US" altLang="zh-CN" sz="1600" b="1" kern="0" baseline="30000" noProof="0" dirty="0">
              <a:ln>
                <a:noFill/>
              </a:ln>
              <a:solidFill>
                <a:srgbClr val="00033E"/>
              </a:solidFill>
              <a:effectLst/>
              <a:uLnTx/>
              <a:uFillTx/>
              <a:latin typeface="Arial" panose="020B0604020202090204"/>
              <a:ea typeface="微软雅黑"/>
              <a:sym typeface="+mn-ea"/>
            </a:endParaRPr>
          </a:p>
        </p:txBody>
      </p:sp>
      <p:cxnSp>
        <p:nvCxnSpPr>
          <p:cNvPr id="26" name="直接连接符 25"/>
          <p:cNvCxnSpPr/>
          <p:nvPr/>
        </p:nvCxnSpPr>
        <p:spPr>
          <a:xfrm>
            <a:off x="6038101" y="1792872"/>
            <a:ext cx="5543335" cy="0"/>
          </a:xfrm>
          <a:prstGeom prst="line">
            <a:avLst/>
          </a:prstGeom>
          <a:noFill/>
          <a:ln w="9525" cap="flat" cmpd="sng" algn="ctr">
            <a:gradFill flip="none" rotWithShape="1">
              <a:gsLst>
                <a:gs pos="0">
                  <a:srgbClr val="08C886"/>
                </a:gs>
                <a:gs pos="100000">
                  <a:srgbClr val="08C886">
                    <a:alpha val="0"/>
                  </a:srgbClr>
                </a:gs>
              </a:gsLst>
              <a:lin ang="0" scaled="1"/>
              <a:tileRect/>
            </a:gradFill>
            <a:prstDash val="solid"/>
            <a:miter lim="800000"/>
          </a:ln>
          <a:effectLst/>
        </p:spPr>
      </p:cxnSp>
      <p:grpSp>
        <p:nvGrpSpPr>
          <p:cNvPr id="27" name="组合 26"/>
          <p:cNvGrpSpPr/>
          <p:nvPr/>
        </p:nvGrpSpPr>
        <p:grpSpPr>
          <a:xfrm>
            <a:off x="5838180" y="4055250"/>
            <a:ext cx="5884628" cy="2414737"/>
            <a:chOff x="5807700" y="3655863"/>
            <a:chExt cx="5884628" cy="2414737"/>
          </a:xfrm>
        </p:grpSpPr>
        <p:grpSp>
          <p:nvGrpSpPr>
            <p:cNvPr id="28" name="组合 27"/>
            <p:cNvGrpSpPr/>
            <p:nvPr/>
          </p:nvGrpSpPr>
          <p:grpSpPr>
            <a:xfrm>
              <a:off x="5807700" y="3655863"/>
              <a:ext cx="5884628" cy="2414737"/>
              <a:chOff x="6055038" y="1041023"/>
              <a:chExt cx="5575300" cy="2677005"/>
            </a:xfrm>
          </p:grpSpPr>
          <p:sp>
            <p:nvSpPr>
              <p:cNvPr id="32"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33" name="直接连接符 32"/>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34" name="直接连接符 3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29" name="文本框 28"/>
            <p:cNvSpPr txBox="1"/>
            <p:nvPr/>
          </p:nvSpPr>
          <p:spPr>
            <a:xfrm>
              <a:off x="6007621" y="4577757"/>
              <a:ext cx="5543335" cy="1254574"/>
            </a:xfrm>
            <a:prstGeom prst="rect">
              <a:avLst/>
            </a:prstGeom>
            <a:noFill/>
          </p:spPr>
          <p:txBody>
            <a:bodyPr wrap="square" lIns="0" tIns="0" rIns="0" bIns="0">
              <a:spAutoFit/>
            </a:bodyPr>
            <a:lstStyle/>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可催化双环</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内酰胺的水解，如青霉素、头孢菌素和碳青霉烯类药物</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可水解</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内酰胺</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SBL</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抑制剂，包括克拉维酸、舒巴坦和他唑巴坦</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弱水解阿维巴坦</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不水解单环</a:t>
              </a:r>
              <a:r>
                <a:rPr kumimoji="0" lang="en-US" altLang="zh-CN" sz="14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内酰胺类</a:t>
              </a:r>
              <a:r>
                <a:rPr kumimoji="0" lang="en-US" altLang="zh-CN" sz="1400" b="1" i="0" u="none" strike="noStrike" kern="0" cap="none" spc="0" normalizeH="0" baseline="0" noProof="0" dirty="0">
                  <a:ln>
                    <a:noFill/>
                  </a:ln>
                  <a:solidFill>
                    <a:srgbClr val="000D45"/>
                  </a:solidFill>
                  <a:effectLst/>
                  <a:uLnTx/>
                  <a:uFillTx/>
                  <a:latin typeface="微软雅黑" panose="020B0503020204020204" charset="-122"/>
                </a:rPr>
                <a:t>-</a:t>
              </a: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氨曲南</a:t>
              </a:r>
              <a:endParaRPr kumimoji="0" lang="zh-CN" altLang="en-US" sz="1400" b="1" i="0" u="none" strike="noStrike" kern="0" cap="none" spc="0" normalizeH="0" baseline="0" noProof="0" dirty="0">
                <a:ln>
                  <a:noFill/>
                </a:ln>
                <a:solidFill>
                  <a:srgbClr val="000D45"/>
                </a:solidFill>
                <a:effectLst/>
                <a:uLnTx/>
                <a:uFillTx/>
                <a:latin typeface="微软雅黑" panose="020B0503020204020204" charset="-122"/>
              </a:endParaRPr>
            </a:p>
          </p:txBody>
        </p:sp>
        <p:sp>
          <p:nvSpPr>
            <p:cNvPr id="30" name="文本框 29"/>
            <p:cNvSpPr txBox="1"/>
            <p:nvPr/>
          </p:nvSpPr>
          <p:spPr>
            <a:xfrm>
              <a:off x="6007622" y="3791320"/>
              <a:ext cx="4654340" cy="565924"/>
            </a:xfrm>
            <a:prstGeom prst="rect">
              <a:avLst/>
            </a:prstGeom>
            <a:noFill/>
          </p:spPr>
          <p:txBody>
            <a:bodyPr wrap="square" lIns="0" tIns="0" rIns="0" bIns="0">
              <a:spAutoFit/>
            </a:bodyPr>
            <a:lstStyle>
              <a:defPPr>
                <a:defRPr lang="zh-CN"/>
              </a:defPPr>
              <a:lvl1pPr algn="ctr">
                <a:lnSpc>
                  <a:spcPct val="150000"/>
                </a:lnSpc>
                <a:defRPr b="1">
                  <a:latin typeface="微软雅黑" panose="020B0503020204020204" charset="-122"/>
                  <a:ea typeface="微软雅黑" panose="020B0503020204020204" charset="-122"/>
                </a:defRPr>
              </a:lvl1pPr>
            </a:lstStyle>
            <a:p>
              <a:pPr marL="0" marR="0" lvl="0" indent="0" algn="l" defTabSz="914400" eaLnBrk="1" fontAlgn="auto" latinLnBrk="0" hangingPunct="1">
                <a:lnSpc>
                  <a:spcPct val="120000"/>
                </a:lnSpc>
                <a:spcBef>
                  <a:spcPts val="0"/>
                </a:spcBef>
                <a:spcAft>
                  <a:spcPts val="0"/>
                </a:spcAft>
                <a:buClrTx/>
                <a:buSzTx/>
                <a:buFontTx/>
                <a:buNone/>
                <a:defRPr/>
              </a:pP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MBL </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具有广泛的底物特异性，能够</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cs typeface="Times New Roman" panose="02020503050405090304" pitchFamily="18" charset="0"/>
                </a:rPr>
                <a:t>水解碳青霉烯类在内的</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大多数</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内酰胺类抗生素</a:t>
              </a:r>
              <a:endPar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endParaRPr>
            </a:p>
          </p:txBody>
        </p:sp>
        <p:cxnSp>
          <p:nvCxnSpPr>
            <p:cNvPr id="31" name="直接连接符 30"/>
            <p:cNvCxnSpPr/>
            <p:nvPr/>
          </p:nvCxnSpPr>
          <p:spPr>
            <a:xfrm>
              <a:off x="6007621" y="4467501"/>
              <a:ext cx="5543335" cy="0"/>
            </a:xfrm>
            <a:prstGeom prst="line">
              <a:avLst/>
            </a:prstGeom>
            <a:noFill/>
            <a:ln w="9525" cap="flat" cmpd="sng" algn="ctr">
              <a:gradFill flip="none" rotWithShape="1">
                <a:gsLst>
                  <a:gs pos="0">
                    <a:srgbClr val="08C886"/>
                  </a:gs>
                  <a:gs pos="100000">
                    <a:srgbClr val="08C886">
                      <a:alpha val="0"/>
                    </a:srgbClr>
                  </a:gs>
                </a:gsLst>
                <a:lin ang="0" scaled="1"/>
                <a:tileRect/>
              </a:gradFill>
              <a:prstDash val="solid"/>
              <a:miter lim="800000"/>
            </a:ln>
            <a:effectLst/>
          </p:spPr>
        </p:cxnSp>
      </p:grpSp>
      <p:pic>
        <p:nvPicPr>
          <p:cNvPr id="2" name="图片 1"/>
          <p:cNvPicPr>
            <a:picLocks noChangeAspect="1"/>
          </p:cNvPicPr>
          <p:nvPr/>
        </p:nvPicPr>
        <p:blipFill>
          <a:blip r:embed="rId1"/>
          <a:srcRect r="13522"/>
          <a:stretch>
            <a:fillRect/>
          </a:stretch>
        </p:blipFill>
        <p:spPr>
          <a:xfrm>
            <a:off x="5337385" y="1592254"/>
            <a:ext cx="355084"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sp>
        <p:nvSpPr>
          <p:cNvPr id="5" name="文本框 4"/>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ALREADY-CHECKED" val="TRUE"/>
</p:tagLst>
</file>

<file path=ppt/tags/tag12.xml><?xml version="1.0" encoding="utf-8"?>
<p:tagLst xmlns:p="http://schemas.openxmlformats.org/presentationml/2006/main">
  <p:tag name="ALREADY-CHECKED" val="TRUE"/>
</p:tagLst>
</file>

<file path=ppt/tags/tag13.xml><?xml version="1.0" encoding="utf-8"?>
<p:tagLst xmlns:p="http://schemas.openxmlformats.org/presentationml/2006/main">
  <p:tag name="ALREADY-CHECKED" val="TRUE"/>
</p:tagLst>
</file>

<file path=ppt/tags/tag14.xml><?xml version="1.0" encoding="utf-8"?>
<p:tagLst xmlns:p="http://schemas.openxmlformats.org/presentationml/2006/main">
  <p:tag name="ALREADY-CHECKED" val="TRU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KSO_WM_UNIT_BLOCK" val="0"/>
  <p:tag name="KSO_WM_UNIT_DEC_AREA_ID" val="f3f4823a2bbc4dbcb377275d9cefd171"/>
  <p:tag name="KSO_WM_UNIT_HIGHLIGHT" val="0"/>
  <p:tag name="KSO_WM_UNIT_COMPATIBLE" val="0"/>
  <p:tag name="KSO_WM_UNIT_DIAGRAM_ISNUMVISUAL" val="0"/>
  <p:tag name="KSO_WM_UNIT_DIAGRAM_ISREFERUNIT" val="0"/>
  <p:tag name="KSO_WM_UNIT_TYPE" val="i"/>
  <p:tag name="KSO_WM_UNIT_INDEX" val="2"/>
  <p:tag name="KSO_WM_UNIT_ID" val="custom20225173_2*i*2"/>
  <p:tag name="KSO_WM_TEMPLATE_CATEGORY" val="custom"/>
  <p:tag name="KSO_WM_TEMPLATE_INDEX" val="20225173"/>
  <p:tag name="KSO_WM_UNIT_LAYERLEVEL" val="1"/>
  <p:tag name="KSO_WM_TAG_VERSION" val="1.0"/>
  <p:tag name="KSO_WM_BEAUTIFY_FLAG" val=""/>
  <p:tag name="KSO_WM_DIAGRAM_GROUP_CODE" val="l1-1"/>
  <p:tag name="KSO_WM_CHIP_GROUPID" val="625cceb5fa96911f219256ed"/>
  <p:tag name="KSO_WM_CHIP_XID" val="625cceb5fa96911f219256ea"/>
  <p:tag name="KSO_WM_CHIP_FILLAREA_FILL_RULE" val="{&quot;fill_align&quot;:&quot;cm&quot;,&quot;fill_mode&quot;:&quot;fix&quot;,&quot;sacle_strategy&quot;:&quot;stretch&quot;}"/>
  <p:tag name="KSO_WM_UNIT_DEC_SUPPORTCHANGEPIC" val="0"/>
  <p:tag name="KSO_WM_UNIT_DEC_CHANGEPICRESERVED" val="0"/>
  <p:tag name="KSO_WM_ASSEMBLE_CHIP_INDEX" val="a404c93a40a44f73aa59e216eac45fb5"/>
  <p:tag name="KSO_WM_UNIT_LINE_FORE_SCHEMECOLOR_INDEX_BRIGHTNESS" val="-0.25"/>
  <p:tag name="KSO_WM_UNIT_LINE_FORE_SCHEMECOLOR_INDEX" val="5"/>
  <p:tag name="KSO_WM_UNIT_LINE_FILL_TYPE" val="2"/>
</p:tagLst>
</file>

<file path=ppt/tags/tag1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8.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xml><?xml version="1.0" encoding="utf-8"?>
<p:tagLst xmlns:p="http://schemas.openxmlformats.org/presentationml/2006/main">
  <p:tag name="ALREADY-CHECKED" val="TRUE"/>
</p:tagLst>
</file>

<file path=ppt/tags/tag3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8.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xml><?xml version="1.0" encoding="utf-8"?>
<p:tagLst xmlns:p="http://schemas.openxmlformats.org/presentationml/2006/main">
  <p:tag name="ALREADY-CHECKED" val="TRUE"/>
</p:tagLst>
</file>

<file path=ppt/tags/tag4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8.xml><?xml version="1.0" encoding="utf-8"?>
<p:tagLst xmlns:p="http://schemas.openxmlformats.org/presentationml/2006/main">
  <p:tag name="ISLIDE.DIAGRAM" val="#949776;"/>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ALREADY-CHECKED" val="TRUE"/>
</p:tagLst>
</file>

<file path=ppt/tags/tag50.xml><?xml version="1.0" encoding="utf-8"?>
<p:tagLst xmlns:p="http://schemas.openxmlformats.org/presentationml/2006/main">
  <p:tag name="MH" val="20160118133943"/>
  <p:tag name="MH_LIBRARY" val="GRAPHIC"/>
  <p:tag name="MH_TYPE" val="Text"/>
  <p:tag name="MH_ORDER" val="1"/>
</p:tagLst>
</file>

<file path=ppt/tags/tag51.xml><?xml version="1.0" encoding="utf-8"?>
<p:tagLst xmlns:p="http://schemas.openxmlformats.org/presentationml/2006/main">
  <p:tag name="MH" val="20160118133943"/>
  <p:tag name="MH_LIBRARY" val="GRAPHIC"/>
  <p:tag name="MH_TYPE" val="SubTitle"/>
  <p:tag name="MH_ORDER" val="1"/>
</p:tagLst>
</file>

<file path=ppt/tags/tag52.xml><?xml version="1.0" encoding="utf-8"?>
<p:tagLst xmlns:p="http://schemas.openxmlformats.org/presentationml/2006/main">
  <p:tag name="MH" val="20160118133943"/>
  <p:tag name="MH_LIBRARY" val="GRAPHIC"/>
  <p:tag name="MH_TYPE" val="SubTitle"/>
  <p:tag name="MH_ORDER" val="1"/>
</p:tagLst>
</file>

<file path=ppt/tags/tag53.xml><?xml version="1.0" encoding="utf-8"?>
<p:tagLst xmlns:p="http://schemas.openxmlformats.org/presentationml/2006/main">
  <p:tag name="MH" val="20160118133943"/>
  <p:tag name="MH_LIBRARY" val="GRAPHIC"/>
  <p:tag name="MH_TYPE" val="Text"/>
  <p:tag name="MH_ORDER" val="1"/>
</p:tagLst>
</file>

<file path=ppt/tags/tag54.xml><?xml version="1.0" encoding="utf-8"?>
<p:tagLst xmlns:p="http://schemas.openxmlformats.org/presentationml/2006/main">
  <p:tag name="MH" val="20160118133943"/>
  <p:tag name="MH_LIBRARY" val="GRAPHIC"/>
  <p:tag name="MH_TYPE" val="SubTitle"/>
  <p:tag name="MH_ORDER" val="1"/>
</p:tagLst>
</file>

<file path=ppt/tags/tag55.xml><?xml version="1.0" encoding="utf-8"?>
<p:tagLst xmlns:p="http://schemas.openxmlformats.org/presentationml/2006/main">
  <p:tag name="MH" val="20160118133943"/>
  <p:tag name="MH_LIBRARY" val="GRAPHIC"/>
  <p:tag name="MH_TYPE" val="SubTitle"/>
  <p:tag name="MH_ORDER" val="1"/>
</p:tagLst>
</file>

<file path=ppt/tags/tag56.xml><?xml version="1.0" encoding="utf-8"?>
<p:tagLst xmlns:p="http://schemas.openxmlformats.org/presentationml/2006/main">
  <p:tag name="MH" val="20160118133943"/>
  <p:tag name="MH_LIBRARY" val="GRAPHIC"/>
  <p:tag name="MH_TYPE" val="Text"/>
  <p:tag name="MH_ORDER" val="1"/>
</p:tagLst>
</file>

<file path=ppt/tags/tag57.xml><?xml version="1.0" encoding="utf-8"?>
<p:tagLst xmlns:p="http://schemas.openxmlformats.org/presentationml/2006/main">
  <p:tag name="MH" val="20160118133943"/>
  <p:tag name="MH_LIBRARY" val="GRAPHIC"/>
  <p:tag name="MH_TYPE" val="SubTitle"/>
  <p:tag name="MH_ORDER" val="1"/>
</p:tagLst>
</file>

<file path=ppt/tags/tag58.xml><?xml version="1.0" encoding="utf-8"?>
<p:tagLst xmlns:p="http://schemas.openxmlformats.org/presentationml/2006/main">
  <p:tag name="MH" val="20160118133943"/>
  <p:tag name="MH_LIBRARY" val="GRAPHIC"/>
  <p:tag name="MH_TYPE" val="SubTitle"/>
  <p:tag name="MH_ORDER" val="1"/>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ALREADY-CHECKED" val="TRUE"/>
</p:tagLst>
</file>

<file path=ppt/tags/tag60.xml><?xml version="1.0" encoding="utf-8"?>
<p:tagLst xmlns:p="http://schemas.openxmlformats.org/presentationml/2006/main">
  <p:tag name="ISLIDE.ICON" val="#55919;"/>
</p:tagLst>
</file>

<file path=ppt/tags/tag61.xml><?xml version="1.0" encoding="utf-8"?>
<p:tagLst xmlns:p="http://schemas.openxmlformats.org/presentationml/2006/main">
  <p:tag name="THINKCELLSHAPEDONOTDELETE" val="thinkcellActiveDocDoNotDelete"/>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MH" val="20160118133943"/>
  <p:tag name="MH_LIBRARY" val="GRAPHIC"/>
  <p:tag name="MH_TYPE" val="Text"/>
  <p:tag name="MH_ORDER" val="1"/>
</p:tagLst>
</file>

<file path=ppt/tags/tag64.xml><?xml version="1.0" encoding="utf-8"?>
<p:tagLst xmlns:p="http://schemas.openxmlformats.org/presentationml/2006/main">
  <p:tag name="MH" val="20160118133943"/>
  <p:tag name="MH_LIBRARY" val="GRAPHIC"/>
  <p:tag name="MH_TYPE" val="SubTitle"/>
  <p:tag name="MH_ORDER" val="1"/>
</p:tagLst>
</file>

<file path=ppt/tags/tag65.xml><?xml version="1.0" encoding="utf-8"?>
<p:tagLst xmlns:p="http://schemas.openxmlformats.org/presentationml/2006/main">
  <p:tag name="MH" val="20160118133943"/>
  <p:tag name="MH_LIBRARY" val="GRAPHIC"/>
  <p:tag name="MH_TYPE" val="SubTitle"/>
  <p:tag name="MH_ORDER" val="1"/>
</p:tagLst>
</file>

<file path=ppt/tags/tag66.xml><?xml version="1.0" encoding="utf-8"?>
<p:tagLst xmlns:p="http://schemas.openxmlformats.org/presentationml/2006/main">
  <p:tag name="KSO_WM_UNIT_BLOCK" val="0"/>
  <p:tag name="KSO_WM_UNIT_DEC_AREA_ID" val="f3f4823a2bbc4dbcb377275d9cefd171"/>
  <p:tag name="KSO_WM_UNIT_HIGHLIGHT" val="0"/>
  <p:tag name="KSO_WM_UNIT_COMPATIBLE" val="0"/>
  <p:tag name="KSO_WM_UNIT_DIAGRAM_ISNUMVISUAL" val="0"/>
  <p:tag name="KSO_WM_UNIT_DIAGRAM_ISREFERUNIT" val="0"/>
  <p:tag name="KSO_WM_UNIT_TYPE" val="i"/>
  <p:tag name="KSO_WM_UNIT_INDEX" val="2"/>
  <p:tag name="KSO_WM_UNIT_ID" val="custom20225173_2*i*2"/>
  <p:tag name="KSO_WM_TEMPLATE_CATEGORY" val="custom"/>
  <p:tag name="KSO_WM_TEMPLATE_INDEX" val="20225173"/>
  <p:tag name="KSO_WM_UNIT_LAYERLEVEL" val="1"/>
  <p:tag name="KSO_WM_TAG_VERSION" val="1.0"/>
  <p:tag name="KSO_WM_BEAUTIFY_FLAG" val=""/>
  <p:tag name="KSO_WM_DIAGRAM_GROUP_CODE" val="l1-1"/>
  <p:tag name="KSO_WM_CHIP_GROUPID" val="625cceb5fa96911f219256ed"/>
  <p:tag name="KSO_WM_CHIP_XID" val="625cceb5fa96911f219256ea"/>
  <p:tag name="KSO_WM_CHIP_FILLAREA_FILL_RULE" val="{&quot;fill_align&quot;:&quot;cm&quot;,&quot;fill_mode&quot;:&quot;fix&quot;,&quot;sacle_strategy&quot;:&quot;stretch&quot;}"/>
  <p:tag name="KSO_WM_UNIT_DEC_SUPPORTCHANGEPIC" val="0"/>
  <p:tag name="KSO_WM_UNIT_DEC_CHANGEPICRESERVED" val="0"/>
  <p:tag name="KSO_WM_ASSEMBLE_CHIP_INDEX" val="a404c93a40a44f73aa59e216eac45fb5"/>
  <p:tag name="KSO_WM_UNIT_LINE_FORE_SCHEMECOLOR_INDEX_BRIGHTNESS" val="-0.25"/>
  <p:tag name="KSO_WM_UNIT_LINE_FORE_SCHEMECOLOR_INDEX" val="5"/>
  <p:tag name="KSO_WM_UNIT_LINE_FILL_TYPE" val="2"/>
</p:tagLst>
</file>

<file path=ppt/tags/tag67.xml><?xml version="1.0" encoding="utf-8"?>
<p:tagLst xmlns:p="http://schemas.openxmlformats.org/presentationml/2006/main">
  <p:tag name="ISLIDE.DIAGRAM" val="#949776;"/>
</p:tagLst>
</file>

<file path=ppt/tags/tag68.xml><?xml version="1.0" encoding="utf-8"?>
<p:tagLst xmlns:p="http://schemas.openxmlformats.org/presentationml/2006/main">
  <p:tag name="TOP" val="184.197"/>
  <p:tag name="LEFT" val="116.5713"/>
  <p:tag name="WIDTH" val="144.7899"/>
  <p:tag name="HEIGHT" val="174.4875"/>
  <p:tag name="SHADOWVISIBLE" val="0"/>
  <p:tag name="LINEVISIBLE" val="0"/>
  <p:tag name="SHAPEREFLECTION" val="-2.147484E+09"/>
  <p:tag name="SHAPEGLOW" val="0"/>
  <p:tag name="SOFTEDGE" val="0"/>
  <p:tag name="SHAPETHREEDVISIBLE" val="1"/>
  <p:tag name="HASTEXT" val="1"/>
  <p:tag name="TEXT" val="1"/>
  <p:tag name="FONTSIZE" val="138"/>
  <p:tag name="FONTCOLOR" val="16758270"/>
  <p:tag name="FONTBOLD" val="0"/>
  <p:tag name="FONTITALIC" val="-1"/>
  <p:tag name="FONTNAME" val="Bebas Neue"/>
  <p:tag name="NAMEASCII" val="Bebas Neue"/>
  <p:tag name="NAMECOMPLEXSCRIPT" val="+mn-cs"/>
  <p:tag name="NAMEFAREAST" val="微软雅黑"/>
  <p:tag name="FONTNAMEASCII" val="Bebas Neue"/>
  <p:tag name="TEXTALIGNMENT" val="2"/>
  <p:tag name="FONTSPACING" val="0"/>
  <p:tag name="SPACEWITHIN" val="1"/>
  <p:tag name="SPACEBEFORE" val="0"/>
  <p:tag name="SPACEAFTER" val="0"/>
  <p:tag name="MARGINBOTTOM" val="3.6"/>
  <p:tag name="MARGINLEFT" val="7.2"/>
  <p:tag name="MARGINRIGHT" val="7.2"/>
  <p:tag name="MARGINTOP" val="3.6"/>
  <p:tag name="LINERULEAFTER" val="0"/>
  <p:tag name="ALIGNMENT" val="2"/>
  <p:tag name="WORDWRAP" val="-1"/>
  <p:tag name="AUTOSIZE" val="1"/>
  <p:tag name="TEXTREFLECTION" val="0"/>
  <p:tag name="TEXTGLOW" val="0"/>
  <p:tag name="T_HASTEXT" val="1"/>
  <p:tag name="T_LEFT" val="116.5713"/>
  <p:tag name="T_TOP" val="184.197"/>
  <p:tag name="T_WIDTH" val="144.7899"/>
  <p:tag name="T_HEIGTH" val="174.4875"/>
  <p:tag name="T_TEXT" val="1"/>
  <p:tag name="T_FONTCOLOR" val="16758270"/>
  <p:tag name="T_FONTNAME" val="Bebas Neue"/>
  <p:tag name="T_FONTNAMEASCII" val="Bebas Neue"/>
  <p:tag name="T_NAMECOMPLEXSCRIPT" val="+mn-cs"/>
  <p:tag name="T_NAMEFAREAST" val="微软雅黑"/>
  <p:tag name="T_FONTBOLD" val="0"/>
  <p:tag name="T_FONTSIZE" val="138"/>
  <p:tag name="T_FONTUNDERLINE" val="0"/>
  <p:tag name="T_FONTITALIC" val="-1"/>
  <p:tag name="T_FONTSPACING" val="0"/>
  <p:tag name="T_MARGINTOP" val="3.6"/>
  <p:tag name="T_MARGINRIGHT" val="7.2"/>
  <p:tag name="T_MARGINBOTTOM" val="3.6"/>
  <p:tag name="T_MARGINLEFT" val="7.2"/>
  <p:tag name="T_TEXTLINEDASHSTYLE" val="-2"/>
  <p:tag name="T_TEXTLINEWEIGHT" val="-2.147484E+09"/>
  <p:tag name="T_TEXTLINEFORECOLOR" val="16777215"/>
  <p:tag name="T_TEXTLINEFILLBACKCOLOR" val="16758270"/>
  <p:tag name="T_TEXTLINEFILLTRANSPARENCY" val="-2.147484E+09"/>
  <p:tag name="T_TEXTALIGNMENT" val="2"/>
  <p:tag name="T_SPACEBEFORE" val="0"/>
  <p:tag name="T_SPACEWITHIN" val="1"/>
  <p:tag name="T_SPACEAFTER" val="0"/>
  <p:tag name="T_LINERULEBEFORE" val="-1"/>
  <p:tag name="T_TEXTREFLECTION" val="0"/>
  <p:tag name="T_TEXTGLOW" val="0"/>
  <p:tag name="OFFSETTOP" val="31.50867"/>
  <p:tag name="OFFSETLEFT" val="71.35158"/>
  <p:tag name="OFFSETWIDTH" val="32.19323"/>
  <p:tag name="OFFSETHEIGHT" val="96.58276"/>
</p:tagLst>
</file>

<file path=ppt/tags/tag7.xml><?xml version="1.0" encoding="utf-8"?>
<p:tagLst xmlns:p="http://schemas.openxmlformats.org/presentationml/2006/main">
  <p:tag name="ALREADY-CHECKED" val="TRUE"/>
</p:tagLst>
</file>

<file path=ppt/tags/tag8.xml><?xml version="1.0" encoding="utf-8"?>
<p:tagLst xmlns:p="http://schemas.openxmlformats.org/presentationml/2006/main">
  <p:tag name="ALREADY-CHECKED" val="TRUE"/>
</p:tagLst>
</file>

<file path=ppt/tags/tag9.xml><?xml version="1.0" encoding="utf-8"?>
<p:tagLst xmlns:p="http://schemas.openxmlformats.org/presentationml/2006/main">
  <p:tag name="ALREADY-CHECKED" val="TRUE"/>
</p:tagLst>
</file>

<file path=ppt/theme/theme1.xml><?xml version="1.0" encoding="utf-8"?>
<a:theme xmlns:a="http://schemas.openxmlformats.org/drawingml/2006/main" name="1_自定义设计方案">
  <a:themeElements>
    <a:clrScheme name="自定义 870">
      <a:dk1>
        <a:sysClr val="windowText" lastClr="000000"/>
      </a:dk1>
      <a:lt1>
        <a:sysClr val="window" lastClr="FFFFFF"/>
      </a:lt1>
      <a:dk2>
        <a:srgbClr val="0E2841"/>
      </a:dk2>
      <a:lt2>
        <a:srgbClr val="E8E8E8"/>
      </a:lt2>
      <a:accent1>
        <a:srgbClr val="08C886"/>
      </a:accent1>
      <a:accent2>
        <a:srgbClr val="00033E"/>
      </a:accent2>
      <a:accent3>
        <a:srgbClr val="196B24"/>
      </a:accent3>
      <a:accent4>
        <a:srgbClr val="0F9ED5"/>
      </a:accent4>
      <a:accent5>
        <a:srgbClr val="A02B93"/>
      </a:accent5>
      <a:accent6>
        <a:srgbClr val="4EA72E"/>
      </a:accent6>
      <a:hlink>
        <a:srgbClr val="467886"/>
      </a:hlink>
      <a:folHlink>
        <a:srgbClr val="96607D"/>
      </a:folHlink>
    </a:clrScheme>
    <a:fontScheme name="自定义 202">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MBLAVEO Template">
  <a:themeElements>
    <a:clrScheme name="Office Theme">
      <a:dk1>
        <a:srgbClr val="000000"/>
      </a:dk1>
      <a:lt1>
        <a:sysClr val="window" lastClr="FFFFFF"/>
      </a:lt1>
      <a:dk2>
        <a:srgbClr val="000D45"/>
      </a:dk2>
      <a:lt2>
        <a:srgbClr val="00C987"/>
      </a:lt2>
      <a:accent1>
        <a:srgbClr val="89E9C1"/>
      </a:accent1>
      <a:accent2>
        <a:srgbClr val="EBF1F6"/>
      </a:accent2>
      <a:accent3>
        <a:srgbClr val="BEEF96"/>
      </a:accent3>
      <a:accent4>
        <a:srgbClr val="6ADCDD"/>
      </a:accent4>
      <a:accent5>
        <a:srgbClr val="696ABE"/>
      </a:accent5>
      <a:accent6>
        <a:srgbClr val="405D87"/>
      </a:accent6>
      <a:hlink>
        <a:srgbClr val="00C987"/>
      </a:hlink>
      <a:folHlink>
        <a:srgbClr val="000D45"/>
      </a:folHlink>
    </a:clrScheme>
    <a:fontScheme name="自定义 24">
      <a:majorFont>
        <a:latin typeface="Pfizer Tomorrow"/>
        <a:ea typeface="微软雅黑"/>
        <a:cs typeface=""/>
      </a:majorFont>
      <a:minorFont>
        <a:latin typeface="Pfizer Tomorrow"/>
        <a:ea typeface="微软雅黑"/>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常规">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28">
    <a:dk1>
      <a:sysClr val="windowText" lastClr="000000"/>
    </a:dk1>
    <a:lt1>
      <a:sysClr val="window" lastClr="FFFFFF"/>
    </a:lt1>
    <a:dk2>
      <a:srgbClr val="44546A"/>
    </a:dk2>
    <a:lt2>
      <a:srgbClr val="E7E6E6"/>
    </a:lt2>
    <a:accent1>
      <a:srgbClr val="007FB7"/>
    </a:accent1>
    <a:accent2>
      <a:srgbClr val="ECB81C"/>
    </a:accent2>
    <a:accent3>
      <a:srgbClr val="1A8AAB"/>
    </a:accent3>
    <a:accent4>
      <a:srgbClr val="FFC000"/>
    </a:accent4>
    <a:accent5>
      <a:srgbClr val="4472C4"/>
    </a:accent5>
    <a:accent6>
      <a:srgbClr val="70AD47"/>
    </a:accent6>
    <a:hlink>
      <a:srgbClr val="0563C1"/>
    </a:hlink>
    <a:folHlink>
      <a:srgbClr val="954F72"/>
    </a:folHlink>
  </a:clrScheme>
  <a:fontScheme name="i1xkxy4w">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常规">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71.xml"/></Relationships>
</file>

<file path=customXml/item1.xml><?xml version="1.0" encoding="utf-8"?>
<ct:contentTypeSchema xmlns:ct="http://schemas.microsoft.com/office/2006/metadata/contentType" xmlns:ma="http://schemas.microsoft.com/office/2006/metadata/properties/metaAttributes" ma:versionID="9a888cb89624579fe1b082821c501771" ma:contentTypeVersion="8" ma:contentTypeDescription="Create a new document." ma:contentTypeScope="" ma:contentTypeName="Document" ct:_="" ma:_="" ma:contentTypeID="0x01010070E5262D80869940B94492218C67F940">
  <xsd:schema xmlns:ns2="9f5159de-7097-4af7-adbf-ccfa7fd64e63" xmlns:xs="http://www.w3.org/2001/XMLSchema" xmlns:xsd="http://www.w3.org/2001/XMLSchema" xmlns:p="http://schemas.microsoft.com/office/2006/metadata/properties" ma:fieldsID="5fe7c9101bb87d49c229a355dabaf4fd" ns2:_="" targetNamespace="http://schemas.microsoft.com/office/2006/metadata/properties" ma:root="true">
    <xsd:import namespace="9f5159de-7097-4af7-adbf-ccfa7fd64e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http://www.w3.org/2001/XMLSchema" xmlns:xsd="http://www.w3.org/2001/XMLSchema" xmlns:pc="http://schemas.microsoft.com/office/infopath/2007/PartnerControls" xmlns:dms="http://schemas.microsoft.com/office/2006/documentManagement/types" elementFormDefault="qualified" targetNamespace="9f5159de-7097-4af7-adbf-ccfa7fd64e63">
    <xsd:import namespace="http://schemas.microsoft.com/office/2006/documentManagement/types"/>
    <xsd:import namespace="http://schemas.microsoft.com/office/infopath/2007/PartnerControls"/>
    <xsd:element ma:internalName="MediaServiceMetadata" ma:hidden="true" ma:readOnly="true" name="MediaServiceMetadata" nillable="true" ma:index="8" ma:displayName="MediaServiceMetadata">
      <xsd:simpleType>
        <xsd:restriction base="dms:Note"/>
      </xsd:simpleType>
    </xsd:element>
    <xsd:element ma:internalName="MediaServiceFastMetadata" ma:hidden="true" ma:readOnly="true" name="MediaServiceFastMetadata" nillable="true" ma:index="9" ma:displayName="MediaServiceFastMetadata">
      <xsd:simpleType>
        <xsd:restriction base="dms:Note"/>
      </xsd:simpleType>
    </xsd:element>
    <xsd:element ma:internalName="MediaServiceSearchProperties" ma:hidden="true" ma:readOnly="true" name="MediaServiceSearchProperties" nillable="true" ma:index="10" ma:displayName="MediaServiceSearchProperties">
      <xsd:simpleType>
        <xsd:restriction base="dms:Note"/>
      </xsd:simpleType>
    </xsd:element>
    <xsd:element ma:internalName="MediaServiceDateTaken" ma:hidden="true" ma:readOnly="true" name="MediaServiceDateTaken" nillable="true" ma:index="11" ma:indexed="true" ma:displayName="MediaServiceDateTaken">
      <xsd:simpleType>
        <xsd:restriction base="dms:Text"/>
      </xsd:simpleType>
    </xsd:element>
    <xsd:element ma:internalName="MediaServiceOCR" ma:readOnly="true" name="MediaServiceOCR" nillable="true" ma:index="12" ma:displayName="Extracted Text">
      <xsd:simpleType>
        <xsd:restriction base="dms:Note">
          <xsd:maxLength value="255"/>
        </xsd:restriction>
      </xsd:simpleType>
    </xsd:element>
    <xsd:element ma:internalName="MediaServiceGenerationTime" ma:hidden="true" ma:readOnly="true" name="MediaServiceGenerationTime" nillable="true" ma:index="13" ma:displayName="MediaServiceGenerationTime">
      <xsd:simpleType>
        <xsd:restriction base="dms:Text"/>
      </xsd:simpleType>
    </xsd:element>
    <xsd:element ma:internalName="MediaServiceEventHashCode" ma:hidden="true" ma:readOnly="true" name="MediaServiceEventHashCode" nillable="true" ma:index="14" ma:displayName="MediaServiceEventHashCode">
      <xsd:simpleType>
        <xsd:restriction base="dms:Text"/>
      </xsd:simpleType>
    </xsd:element>
    <xsd:element ma:internalName="MediaLengthInSeconds" ma:hidden="true" ma:readOnly="true" name="MediaLengthInSeconds" nillable="true" ma:index="15" ma:displayName="MediaLengthInSeconds">
      <xsd:simpleType>
        <xsd:restriction base="dms:Unknown"/>
      </xsd:simpleType>
    </xsd:element>
  </xsd:schema>
  <xsd:schema xmlns="http://schemas.openxmlformats.org/package/2006/metadata/core-properties" xmlns:xsd="http://www.w3.org/2001/XMLSchema" xmlns:xsi="http://www.w3.org/2001/XMLSchema-instance" xmlns:dcterms="http://purl.org/dc/terms/" xmlns:dc="http://purl.org/dc/elements/1.1/" xmlns:odoc="http://schemas.microsoft.com/internal/obd" elementFormDefault="qualified" blockDefault="#all" attributeFormDefault="unqualified" targetNamespace="http://schemas.openxmlformats.org/package/2006/metadata/core-properties">
    <xsd:import namespace="http://purl.org/dc/elements/1.1/" schemaLocation="http://dublincore.org/schemas/xmls/qdc/2003/04/02/dc.xsd"/>
    <xsd:import namespace="http://purl.org/dc/terms/" schemaLocation="http://dublincore.org/schemas/xmls/qdc/2003/04/02/dcterms.xsd"/>
    <xsd:element type="CT_coreProperties" name="coreProperties"/>
    <xsd:complexType name="CT_coreProperties">
      <xsd:all>
        <xsd:element ref="dc:creator" maxOccurs="1" minOccurs="0"/>
        <xsd:element ref="dcterms:created" maxOccurs="1" minOccurs="0"/>
        <xsd:element ref="dc:identifier" maxOccurs="1" minOccurs="0"/>
        <xsd:element type="xsd:string" name="contentType" maxOccurs="1" minOccurs="0" ma:index="0" ma:displayName="Content Type"/>
        <xsd:element ref="dc:title" maxOccurs="1" minOccurs="0" ma:index="4" ma:displayName="Title"/>
        <xsd:element ref="dc:subject" maxOccurs="1" minOccurs="0"/>
        <xsd:element ref="dc:description" maxOccurs="1" minOccurs="0"/>
        <xsd:element type="xsd:string" name="keywords" maxOccurs="1" minOccurs="0"/>
        <xsd:element ref="dc:language" maxOccurs="1" minOccurs="0"/>
        <xsd:element type="xsd:string" name="category" maxOccurs="1" minOccurs="0"/>
        <xsd:element type="xsd:string" name="version" maxOccurs="1" minOccurs="0"/>
        <xsd:element type="xsd:string" name="revision" maxOccurs="1" minOccurs="0">
          <xsd:annotation>
            <xsd:documentation>
                        This value indicates the number of saves or revisions. The application is responsible for updating this value after each revision.
                    </xsd:documentation>
          </xsd:annotation>
        </xsd:element>
        <xsd:element type="xsd:string" name="lastModifiedBy" maxOccurs="1" minOccurs="0"/>
        <xsd:element ref="dcterms:modified" maxOccurs="1" minOccurs="0"/>
        <xsd:element type="xsd:string" name="contentStatus" maxOccurs="1" minOccurs="0"/>
      </xsd:all>
    </xsd:complexType>
  </xsd:schema>
  <xs:schema xmlns:xs="http://www.w3.org/2001/XMLSchema" xmlns:pc="http://schemas.microsoft.com/office/infopath/2007/PartnerControls" elementFormDefault="qualified" attributeFormDefault="unqualified" targetNamespace="http://schemas.microsoft.com/office/infopath/2007/PartnerControls">
    <xs:element name="Person">
      <xs:complexType>
        <xs:sequence>
          <xs:element ref="pc:DisplayName" minOccurs="0"/>
          <xs:element ref="pc:AccountId" minOccurs="0"/>
          <xs:element ref="pc:AccountType" minOccurs="0"/>
        </xs:sequence>
      </xs:complexType>
    </xs:element>
    <xs:element type="xs:string" name="DisplayName"/>
    <xs:element type="xs:string" name="AccountId"/>
    <xs:element type="xs:string" name="AccountType"/>
    <xs:element name="BDCAssociatedEntity">
      <xs:complexType>
        <xs:sequence>
          <xs:element ref="pc:BDCEntity" maxOccurs="unbounded" minOccurs="0"/>
        </xs:sequence>
        <xs:attribute ref="pc:EntityNamespace"/>
        <xs:attribute ref="pc:EntityName"/>
        <xs:attribute ref="pc:SystemInstanceName"/>
        <xs:attribute ref="pc:AssociationName"/>
      </xs:complexType>
    </xs:element>
    <xs:attribute type="xs:string" name="EntityNamespace"/>
    <xs:attribute type="xs:string" name="EntityName"/>
    <xs:attribute type="xs:string" name="SystemInstanceName"/>
    <xs:attribute type="xs:string" name="AssociationName"/>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type="xs:string" name="EntityDisplayName"/>
    <xs:element type="xs:string" name="EntityInstanceReference"/>
    <xs:element type="xs:string" name="EntityId1"/>
    <xs:element type="xs:string" name="EntityId2"/>
    <xs:element type="xs:string" name="EntityId3"/>
    <xs:element type="xs:string" name="EntityId4"/>
    <xs:element type="xs:string" name="EntityId5"/>
    <xs:element name="Terms">
      <xs:complexType>
        <xs:sequence>
          <xs:element ref="pc:TermInfo" maxOccurs="unbounded" minOccurs="0"/>
        </xs:sequence>
      </xs:complexType>
    </xs:element>
    <xs:element name="TermInfo">
      <xs:complexType>
        <xs:sequence>
          <xs:element ref="pc:TermName" minOccurs="0"/>
          <xs:element ref="pc:TermId" minOccurs="0"/>
        </xs:sequence>
      </xs:complexType>
    </xs:element>
    <xs:element type="xs:string" name="TermName"/>
    <xs:element type="xs:string" name="TermId"/>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69.xml><?xml version="1.0" encoding="utf-8"?>
<ds:datastoreItem xmlns:ds="http://schemas.openxmlformats.org/officeDocument/2006/customXml" ds:itemID="{DBF10E60-0120-4457-B96D-77112D22769A}">
  <ds:schemaRefs/>
</ds:datastoreItem>
</file>

<file path=customXml/itemProps70.xml><?xml version="1.0" encoding="utf-8"?>
<ds:datastoreItem xmlns:ds="http://schemas.openxmlformats.org/officeDocument/2006/customXml" ds:itemID="{108DA6C9-3241-4FBF-A49B-4E2E9A34937A}">
  <ds:schemaRefs/>
</ds:datastoreItem>
</file>

<file path=customXml/itemProps71.xml><?xml version="1.0" encoding="utf-8"?>
<ds:datastoreItem xmlns:ds="http://schemas.openxmlformats.org/officeDocument/2006/customXml" ds:itemID="{588293E8-61AC-4F7A-94AD-9B004BC7DB1D}">
  <ds:schemaRefs/>
</ds:datastoreItem>
</file>

<file path=docProps/app.xml><?xml version="1.0" encoding="utf-8"?>
<Properties xmlns="http://schemas.openxmlformats.org/officeDocument/2006/extended-properties" xmlns:vt="http://schemas.openxmlformats.org/officeDocument/2006/docPropsVTypes">
  <TotalTime>0</TotalTime>
  <Words>28718</Words>
  <Application>WPS 演示</Application>
  <PresentationFormat>宽屏</PresentationFormat>
  <Paragraphs>2088</Paragraphs>
  <Slides>46</Slides>
  <Notes>30</Notes>
  <HiddenSlides>0</HiddenSlides>
  <MMClips>0</MMClips>
  <ScaleCrop>false</ScaleCrop>
  <HeadingPairs>
    <vt:vector size="8" baseType="variant">
      <vt:variant>
        <vt:lpstr>已用的字体</vt:lpstr>
      </vt:variant>
      <vt:variant>
        <vt:i4>49</vt:i4>
      </vt:variant>
      <vt:variant>
        <vt:lpstr>主题</vt:lpstr>
      </vt:variant>
      <vt:variant>
        <vt:i4>6</vt:i4>
      </vt:variant>
      <vt:variant>
        <vt:lpstr>嵌入 OLE 服务器</vt:lpstr>
      </vt:variant>
      <vt:variant>
        <vt:i4>10</vt:i4>
      </vt:variant>
      <vt:variant>
        <vt:lpstr>幻灯片标题</vt:lpstr>
      </vt:variant>
      <vt:variant>
        <vt:i4>46</vt:i4>
      </vt:variant>
    </vt:vector>
  </HeadingPairs>
  <TitlesOfParts>
    <vt:vector size="111" baseType="lpstr">
      <vt:lpstr>Arial</vt:lpstr>
      <vt:lpstr>宋体</vt:lpstr>
      <vt:lpstr>Wingdings</vt:lpstr>
      <vt:lpstr>System Font Regular</vt:lpstr>
      <vt:lpstr>Thonburi</vt:lpstr>
      <vt:lpstr>Noto Sans Light</vt:lpstr>
      <vt:lpstr>苹方-简</vt:lpstr>
      <vt:lpstr>Noto Sans</vt:lpstr>
      <vt:lpstr>微软雅黑</vt:lpstr>
      <vt:lpstr>汉仪旗黑</vt:lpstr>
      <vt:lpstr>AR Fruda Sans Flat</vt:lpstr>
      <vt:lpstr>Arial Black</vt:lpstr>
      <vt:lpstr>Courier New</vt:lpstr>
      <vt:lpstr>Optima</vt:lpstr>
      <vt:lpstr>微软雅黑</vt:lpstr>
      <vt:lpstr>Arial</vt:lpstr>
      <vt:lpstr>Pfizer Tomorrow</vt:lpstr>
      <vt:lpstr>Arial Narrow</vt:lpstr>
      <vt:lpstr>微软雅黑</vt:lpstr>
      <vt:lpstr>Calibri</vt:lpstr>
      <vt:lpstr>Calibri</vt:lpstr>
      <vt:lpstr>Helvetica Neue</vt:lpstr>
      <vt:lpstr>楷体_GB2312</vt:lpstr>
      <vt:lpstr>汉仪楷体简</vt:lpstr>
      <vt:lpstr>Noto Sans CJK SC Regular</vt:lpstr>
      <vt:lpstr>Times New Roman</vt:lpstr>
      <vt:lpstr>宋体</vt:lpstr>
      <vt:lpstr>Arial Unicode MS</vt:lpstr>
      <vt:lpstr>等线</vt:lpstr>
      <vt:lpstr>汉仪中等线KW</vt:lpstr>
      <vt:lpstr>等线</vt:lpstr>
      <vt:lpstr>思源宋体 CN Heavy</vt:lpstr>
      <vt:lpstr>汉仪书宋二KW</vt:lpstr>
      <vt:lpstr>等线</vt:lpstr>
      <vt:lpstr>Roboto Regular</vt:lpstr>
      <vt:lpstr>思源黑体 CN Regular</vt:lpstr>
      <vt:lpstr>Bebas Neue</vt:lpstr>
      <vt:lpstr>Verdana</vt:lpstr>
      <vt:lpstr>Pfizer Diatype Black</vt:lpstr>
      <vt:lpstr>华文行楷</vt:lpstr>
      <vt:lpstr>Apple Color Emoji</vt:lpstr>
      <vt:lpstr>冬青黑体简体中文</vt:lpstr>
      <vt:lpstr>汉仪中黑KW</vt:lpstr>
      <vt:lpstr>Noto Sans CJK SC Regular</vt:lpstr>
      <vt:lpstr>Roboto Regular</vt:lpstr>
      <vt:lpstr>Wingdings</vt:lpstr>
      <vt:lpstr>思源黑体 CN Regular</vt:lpstr>
      <vt:lpstr>楷体_GB2312</vt:lpstr>
      <vt:lpstr>宋体-简</vt:lpstr>
      <vt:lpstr>1_自定义设计方案</vt:lpstr>
      <vt:lpstr>2_Tema de Office</vt:lpstr>
      <vt:lpstr>EMBLAVEO Template</vt:lpstr>
      <vt:lpstr>1_Diseño personalizado</vt:lpstr>
      <vt:lpstr>2_Diseño personalizado</vt:lpstr>
      <vt:lpstr>自定义设计方案</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ICU患者耐药菌感染治疗策略拓维 ——思福诺®开启CRE全酶型覆盖治疗新篇章</vt:lpstr>
      <vt:lpstr>PowerPoint 演示文稿</vt:lpstr>
      <vt:lpstr>目录</vt:lpstr>
      <vt:lpstr>抗菌药物耐药性已成为全球重点公共卫生威胁，其中ICU患者是多重耐药菌感染高发人群</vt:lpstr>
      <vt:lpstr>碳青霉烯类抗生素作为多重耐药革兰氏阴性菌的一线经验疗法，却同样难以避免耐药的出现</vt:lpstr>
      <vt:lpstr>碳青霉烯类耐药的机制多样，产碳青霉烯酶是其中重要组成</vt:lpstr>
      <vt:lpstr>金属-β-内酰胺酶 (MBLs) 是碳青霉烯酶的重要亚型</vt:lpstr>
      <vt:lpstr>产MBL耐药菌全球广泛传播</vt:lpstr>
      <vt:lpstr>PowerPoint 演示文稿</vt:lpstr>
      <vt:lpstr>金属酶常见亚型与肠杆菌科细菌的联系1,2</vt:lpstr>
      <vt:lpstr>PowerPoint 演示文稿</vt:lpstr>
      <vt:lpstr>中国产MBL菌株在CRE中占比高于欧美国家，2024CHINET数据：CR-ECL和CR-ECO中产MBL菌株占比分别高达90%及78.4%</vt:lpstr>
      <vt:lpstr>共产酶挑战： CRE中7.4%的酶型为共产KPC+MBL，进一步加大了临床应对难度</vt:lpstr>
      <vt:lpstr>MBL-CRE在ICU中检出率高， 感染高发部位主要包括血液、呼吸道及腹腔等，感染病情重</vt:lpstr>
      <vt:lpstr>入住ICU是耐碳青霉烯类肠杆菌（CRE）及嗜麦芽窄食单胞菌（SMA）感染的重要风险因素之一</vt:lpstr>
      <vt:lpstr>中国多中心研究：NDM是血液病成年患者肠道定植CRE中主要的碳青霉烯酶类型</vt:lpstr>
      <vt:lpstr>2023年WHO指出： 传统抗生素无法有效治疗产MBL菌株（耐碳青霉烯类肠杆菌（CRE）及嗜麦芽窄食单胞菌（SMA））引起的感染1</vt:lpstr>
      <vt:lpstr>ICU耐药挑战：CRE 与 SMA 在HAP/VAP和cIAI患者常见耐药菌中占比较高</vt:lpstr>
      <vt:lpstr>CRE及SMA感染与患者死亡率增加有关，对ICU患者生命健康造成严重威胁</vt:lpstr>
      <vt:lpstr>CRE感染显著加重ICU患者的疾病负担，MBL亚型住院时间风险突出</vt:lpstr>
      <vt:lpstr>诊疗挑战：CRE及SMA检出率逐年上升，但治疗选择相当有限</vt:lpstr>
      <vt:lpstr>诊疗挑战：多粘菌素等药物存在安全问题及有效性不足等局限</vt:lpstr>
      <vt:lpstr>多项指南推荐氨曲南联合头孢他啶-阿维巴坦*治疗CRE/MBL及SMA，但临床证据质量低，且可能进一步加剧多重耐药菌株风险</vt:lpstr>
      <vt:lpstr>目录</vt:lpstr>
      <vt:lpstr>“首个”单药治疗MBL-CRE的新型β-内酰胺酶抑制剂复合制剂 氨曲南-阿维巴坦获批中国上市，开创抗感染治疗新格局</vt:lpstr>
      <vt:lpstr>氨曲南-阿维巴坦全面覆盖CRE全酶型，多重优势，是MBL-CRE感染治疗一线首选</vt:lpstr>
      <vt:lpstr>抑酶谱：氨曲南-阿维巴坦抑酶谱广，全面覆盖CRE全酶型—ABCD</vt:lpstr>
      <vt:lpstr>抑酶谱：目前新型抗生素中仅氨曲南-阿维巴坦 全酶型覆盖CRE，具有可靠活性且指南推荐</vt:lpstr>
      <vt:lpstr>作用机制：氨曲南对MBL稳定，可使细菌裂解和死亡， 阿维巴坦保护氨曲南不被水解，高效杀菌</vt:lpstr>
      <vt:lpstr>抗菌活性：氨曲南-阿维巴坦️对MBL-CRE具有较强的体外抗菌活性， 敏感率高于多黏菌素和替加环素</vt:lpstr>
      <vt:lpstr>抗菌活性：不同科室、感染部位的MBL-CRE分离株 均对氨曲南-阿维巴坦️的敏感率高</vt:lpstr>
      <vt:lpstr>抗菌活性：高敏感-产KPC、MBL及共产酶KPC+MBL 的CRE分离株对氨曲南-阿维巴坦的耐药率均为0%</vt:lpstr>
      <vt:lpstr>抗菌活性：高敏感-氨曲南/阿维巴坦 对不同酶型CRE及“三剑客”耐药CRE的敏感率近100%</vt:lpstr>
      <vt:lpstr>REVISIT研究：评估氨曲南-阿维巴坦️治疗GNB (包括产MBL的MDR-GNB)引起的严重感染的疗效、安全性</vt:lpstr>
      <vt:lpstr> REVISIT研究： 思福诺®（氨曲南-阿维巴坦）️的临床治愈率与美罗培南±多黏菌素E相当</vt:lpstr>
      <vt:lpstr>REVISIT研究：思福诺®（氨曲南-阿维巴坦）治疗28天时 全因死亡率较美罗培南±多黏菌素E更低</vt:lpstr>
      <vt:lpstr>REVISIT研究： 思福诺®（氨曲南-阿维巴坦️）无治疗相关的严重不良事件，耐受性良好</vt:lpstr>
      <vt:lpstr>ASSEMBLE研究：评估思福诺®（氨曲南-阿维巴坦️）治疗 产MBL的GNB严重感染的疗效、安全性及耐受性</vt:lpstr>
      <vt:lpstr>ASSEMBLE研究：思福诺®（氨曲南-阿维巴坦）相较于BAT， 临床治愈率更高，28天全因死亡率更低</vt:lpstr>
      <vt:lpstr>全面覆盖：思福诺®（氨曲南-阿维巴坦）体外可有效抑制MBL-CRE与嗜麦芽窄食单胞菌，且全面覆盖各类β-内酰胺酶（A、B、C、D）</vt:lpstr>
      <vt:lpstr>PK/PD：思福诺®（氨曲南-阿维巴坦）静脉输注可实现快速、完全的生物利用度，且药物间相互作用可能性小，确保疗效及安全性</vt:lpstr>
      <vt:lpstr>PK/PD：思福诺®（氨曲南-阿维巴坦）治疗cIAI及HAP/VAP患者 在首次给药间隔和稳态时的联合PTA≥96.7%*</vt:lpstr>
      <vt:lpstr>指南共识：中国CRE感染诊治与防控专家共识 推荐思福诺®（氨曲南-阿维巴坦）治疗MBL-CRE感染</vt:lpstr>
      <vt:lpstr>指南共识：2025新版《细菌药物敏感试验执行标准和典型报告解读（第三版）》 推荐思福诺®（氨曲南-阿维巴坦）是MBL-CRE治疗的一线首选</vt:lpstr>
      <vt:lpstr>思福诺®（氨曲南/阿维巴坦）有效针对MBL耐药问题， 全面覆盖CRE全酶型，是CRE治疗的一线首选</vt:lpstr>
      <vt:lpstr>谢 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ﬁrst* β-lactam/β-lactamase inhibitor combination designed with metallo-β-lactamases (MBLs) in mind</dc:title>
  <dc:creator>Perez, Jimena</dc:creator>
  <cp:lastModifiedBy>Jayson-Lee</cp:lastModifiedBy>
  <cp:revision>31</cp:revision>
  <dcterms:created xsi:type="dcterms:W3CDTF">2025-10-17T04:24:25Z</dcterms:created>
  <dcterms:modified xsi:type="dcterms:W3CDTF">2025-10-17T04:2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4-05-15T18:10:07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df3a2fd3-b1b9-4b2f-a17a-3fd6f70d25d1</vt:lpwstr>
  </property>
  <property fmtid="{D5CDD505-2E9C-101B-9397-08002B2CF9AE}" pid="8" name="MSIP_Label_4791b42f-c435-42ca-9531-75a3f42aae3d_ContentBits">
    <vt:lpwstr>0</vt:lpwstr>
  </property>
  <property fmtid="{D5CDD505-2E9C-101B-9397-08002B2CF9AE}" pid="9" name="ContentTypeId">
    <vt:lpwstr>0x01010070E5262D80869940B94492218C67F940</vt:lpwstr>
  </property>
  <property fmtid="{D5CDD505-2E9C-101B-9397-08002B2CF9AE}" pid="10" name="MediaServiceImageTags">
    <vt:lpwstr/>
  </property>
  <property fmtid="{D5CDD505-2E9C-101B-9397-08002B2CF9AE}" pid="11" name="ICV">
    <vt:lpwstr>A1986F3CDBE8DB6AB648DA688B01FD4C_43</vt:lpwstr>
  </property>
  <property fmtid="{D5CDD505-2E9C-101B-9397-08002B2CF9AE}" pid="12" name="KSOProductBuildVer">
    <vt:lpwstr>2052-12.1.23141.23141</vt:lpwstr>
  </property>
</Properties>
</file>